
<file path=[Content_Types].xml><?xml version="1.0" encoding="utf-8"?>
<Types xmlns="http://schemas.openxmlformats.org/package/2006/content-types">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2.xml" ContentType="application/vnd.openxmlformats-officedocument.theme+xml"/>
  <Override PartName="/ppt/tags/tag115.xml" ContentType="application/vnd.openxmlformats-officedocument.presentationml.tags+xml"/>
  <Override PartName="/ppt/tags/tag116.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1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73" r:id="rId5"/>
  </p:sldMasterIdLst>
  <p:notesMasterIdLst>
    <p:notesMasterId r:id="rId33"/>
  </p:notesMasterIdLst>
  <p:handoutMasterIdLst>
    <p:handoutMasterId r:id="rId34"/>
  </p:handoutMasterIdLst>
  <p:sldIdLst>
    <p:sldId id="256" r:id="rId6"/>
    <p:sldId id="2134805825" r:id="rId7"/>
    <p:sldId id="2134805824" r:id="rId8"/>
    <p:sldId id="2076137944" r:id="rId9"/>
    <p:sldId id="2076137945" r:id="rId10"/>
    <p:sldId id="2076137946" r:id="rId11"/>
    <p:sldId id="533" r:id="rId12"/>
    <p:sldId id="769" r:id="rId13"/>
    <p:sldId id="527" r:id="rId14"/>
    <p:sldId id="541" r:id="rId15"/>
    <p:sldId id="259" r:id="rId16"/>
    <p:sldId id="2134805869" r:id="rId17"/>
    <p:sldId id="543" r:id="rId18"/>
    <p:sldId id="539" r:id="rId19"/>
    <p:sldId id="538" r:id="rId20"/>
    <p:sldId id="2134805890" r:id="rId21"/>
    <p:sldId id="537" r:id="rId22"/>
    <p:sldId id="2076137954" r:id="rId23"/>
    <p:sldId id="2134805892" r:id="rId24"/>
    <p:sldId id="528" r:id="rId25"/>
    <p:sldId id="2076137941" r:id="rId26"/>
    <p:sldId id="2134959405" r:id="rId27"/>
    <p:sldId id="2134959407" r:id="rId28"/>
    <p:sldId id="2134805870" r:id="rId29"/>
    <p:sldId id="2134805872" r:id="rId30"/>
    <p:sldId id="2134805897" r:id="rId31"/>
    <p:sldId id="2134805815" r:id="rId32"/>
  </p:sldIdLst>
  <p:sldSz cx="12192000" cy="6858000"/>
  <p:notesSz cx="6858000" cy="9144000"/>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10" clrIdx="0">
    <p:extLst>
      <p:ext uri="{19B8F6BF-5375-455C-9EA6-DF929625EA0E}">
        <p15:presenceInfo xmlns:p15="http://schemas.microsoft.com/office/powerpoint/2012/main" userId="Microsoft Office User" providerId="None"/>
      </p:ext>
    </p:extLst>
  </p:cmAuthor>
  <p:cmAuthor id="2" name="Joshua Myers" initials="JM" lastIdx="7" clrIdx="1">
    <p:extLst>
      <p:ext uri="{19B8F6BF-5375-455C-9EA6-DF929625EA0E}">
        <p15:presenceInfo xmlns:p15="http://schemas.microsoft.com/office/powerpoint/2012/main" userId="S::jmyers@anthology.com::1f5efb11-4620-4afa-a47a-70bab008120e" providerId="AD"/>
      </p:ext>
    </p:extLst>
  </p:cmAuthor>
  <p:cmAuthor id="3" name="Amy Davidson" initials="AD" lastIdx="6" clrIdx="2">
    <p:extLst>
      <p:ext uri="{19B8F6BF-5375-455C-9EA6-DF929625EA0E}">
        <p15:presenceInfo xmlns:p15="http://schemas.microsoft.com/office/powerpoint/2012/main" userId="S::adavidson@anthology.com::29b31da2-7498-4d96-966e-7f755ca45f4d" providerId="AD"/>
      </p:ext>
    </p:extLst>
  </p:cmAuthor>
  <p:cmAuthor id="4" name="Eric Roberts" initials="ER" lastIdx="16" clrIdx="3">
    <p:extLst>
      <p:ext uri="{19B8F6BF-5375-455C-9EA6-DF929625EA0E}">
        <p15:presenceInfo xmlns:p15="http://schemas.microsoft.com/office/powerpoint/2012/main" userId="S::eroberts@anthology.com::faca7fa1-d87e-431f-aeb3-83d91881cead" providerId="AD"/>
      </p:ext>
    </p:extLst>
  </p:cmAuthor>
  <p:cmAuthor id="5" name="Mirko Widenhorn" initials="MW" lastIdx="2" clrIdx="4">
    <p:extLst>
      <p:ext uri="{19B8F6BF-5375-455C-9EA6-DF929625EA0E}">
        <p15:presenceInfo xmlns:p15="http://schemas.microsoft.com/office/powerpoint/2012/main" userId="S::mwidenhorn@anthology.com::5b1212ca-d3cd-4fba-a3c5-d07427e86c7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2455" autoAdjust="0"/>
    <p:restoredTop sz="87152" autoAdjust="0"/>
  </p:normalViewPr>
  <p:slideViewPr>
    <p:cSldViewPr snapToGrid="0">
      <p:cViewPr varScale="1">
        <p:scale>
          <a:sx n="91" d="100"/>
          <a:sy n="91" d="100"/>
        </p:scale>
        <p:origin x="84" y="156"/>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3936" y="152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theme" Target="theme/theme1.xml"/><Relationship Id="rId21" Type="http://schemas.openxmlformats.org/officeDocument/2006/relationships/slide" Target="slides/slide16.xml"/><Relationship Id="rId34" Type="http://schemas.openxmlformats.org/officeDocument/2006/relationships/handoutMaster" Target="handoutMasters/handoutMaster1.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commentAuthors" Target="commentAuthor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ags" Target="tags/tag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notesMaster" Target="notesMasters/notesMaster1.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ne Hawkeswood" userId="63bada2e-462c-4af3-bfba-3429ca74680e" providerId="ADAL" clId="{5CBEBD61-70E5-4B10-AC43-99635424D01F}"/>
    <pc:docChg chg="addSld sldOrd">
      <pc:chgData name="Jane Hawkeswood" userId="63bada2e-462c-4af3-bfba-3429ca74680e" providerId="ADAL" clId="{5CBEBD61-70E5-4B10-AC43-99635424D01F}" dt="2023-05-09T03:37:29.248" v="1" actId="680"/>
      <pc:docMkLst>
        <pc:docMk/>
      </pc:docMkLst>
      <pc:sldChg chg="ord">
        <pc:chgData name="Jane Hawkeswood" userId="63bada2e-462c-4af3-bfba-3429ca74680e" providerId="ADAL" clId="{5CBEBD61-70E5-4B10-AC43-99635424D01F}" dt="2023-05-09T03:37:18.840" v="0" actId="20578"/>
        <pc:sldMkLst>
          <pc:docMk/>
          <pc:sldMk cId="3932490446" sldId="537"/>
        </pc:sldMkLst>
      </pc:sldChg>
      <pc:sldChg chg="new">
        <pc:chgData name="Jane Hawkeswood" userId="63bada2e-462c-4af3-bfba-3429ca74680e" providerId="ADAL" clId="{5CBEBD61-70E5-4B10-AC43-99635424D01F}" dt="2023-05-09T03:37:29.248" v="1" actId="680"/>
        <pc:sldMkLst>
          <pc:docMk/>
          <pc:sldMk cId="1574829288" sldId="2134959408"/>
        </pc:sldMkLst>
      </pc:sldChg>
    </pc:docChg>
  </pc:docChgLst>
  <pc:docChgLst>
    <pc:chgData name="Jane Hawkeswood" userId="63bada2e-462c-4af3-bfba-3429ca74680e" providerId="ADAL" clId="{9DE7A3A8-52E5-4FB1-B8ED-CB69D4A10B04}"/>
    <pc:docChg chg="undo custSel modSld">
      <pc:chgData name="Jane Hawkeswood" userId="63bada2e-462c-4af3-bfba-3429ca74680e" providerId="ADAL" clId="{9DE7A3A8-52E5-4FB1-B8ED-CB69D4A10B04}" dt="2023-05-09T00:41:41.050" v="22" actId="13244"/>
      <pc:docMkLst>
        <pc:docMk/>
      </pc:docMkLst>
      <pc:sldChg chg="modSp mod">
        <pc:chgData name="Jane Hawkeswood" userId="63bada2e-462c-4af3-bfba-3429ca74680e" providerId="ADAL" clId="{9DE7A3A8-52E5-4FB1-B8ED-CB69D4A10B04}" dt="2023-05-09T00:41:41.050" v="22" actId="13244"/>
        <pc:sldMkLst>
          <pc:docMk/>
          <pc:sldMk cId="4075949090" sldId="533"/>
        </pc:sldMkLst>
        <pc:spChg chg="ord">
          <ac:chgData name="Jane Hawkeswood" userId="63bada2e-462c-4af3-bfba-3429ca74680e" providerId="ADAL" clId="{9DE7A3A8-52E5-4FB1-B8ED-CB69D4A10B04}" dt="2023-05-09T00:40:57.850" v="14" actId="13244"/>
          <ac:spMkLst>
            <pc:docMk/>
            <pc:sldMk cId="4075949090" sldId="533"/>
            <ac:spMk id="9" creationId="{0AECE9F9-9442-B5CD-79F2-517C1D4060A9}"/>
          </ac:spMkLst>
        </pc:spChg>
        <pc:spChg chg="ord">
          <ac:chgData name="Jane Hawkeswood" userId="63bada2e-462c-4af3-bfba-3429ca74680e" providerId="ADAL" clId="{9DE7A3A8-52E5-4FB1-B8ED-CB69D4A10B04}" dt="2023-05-09T00:41:34.259" v="21" actId="13244"/>
          <ac:spMkLst>
            <pc:docMk/>
            <pc:sldMk cId="4075949090" sldId="533"/>
            <ac:spMk id="11" creationId="{0FCC27E3-11D4-7A3F-139B-30636E19287C}"/>
          </ac:spMkLst>
        </pc:spChg>
        <pc:spChg chg="ord">
          <ac:chgData name="Jane Hawkeswood" userId="63bada2e-462c-4af3-bfba-3429ca74680e" providerId="ADAL" clId="{9DE7A3A8-52E5-4FB1-B8ED-CB69D4A10B04}" dt="2023-05-09T00:41:09.659" v="19" actId="13244"/>
          <ac:spMkLst>
            <pc:docMk/>
            <pc:sldMk cId="4075949090" sldId="533"/>
            <ac:spMk id="13" creationId="{5CEE6CDD-40ED-317C-8477-FAE24D02E9A0}"/>
          </ac:spMkLst>
        </pc:spChg>
        <pc:spChg chg="ord">
          <ac:chgData name="Jane Hawkeswood" userId="63bada2e-462c-4af3-bfba-3429ca74680e" providerId="ADAL" clId="{9DE7A3A8-52E5-4FB1-B8ED-CB69D4A10B04}" dt="2023-05-09T00:41:07.531" v="18" actId="13244"/>
          <ac:spMkLst>
            <pc:docMk/>
            <pc:sldMk cId="4075949090" sldId="533"/>
            <ac:spMk id="15" creationId="{84CA7859-5D35-7676-06B1-BABA9CC46010}"/>
          </ac:spMkLst>
        </pc:spChg>
        <pc:spChg chg="ord">
          <ac:chgData name="Jane Hawkeswood" userId="63bada2e-462c-4af3-bfba-3429ca74680e" providerId="ADAL" clId="{9DE7A3A8-52E5-4FB1-B8ED-CB69D4A10B04}" dt="2023-05-09T00:41:05.562" v="17" actId="13244"/>
          <ac:spMkLst>
            <pc:docMk/>
            <pc:sldMk cId="4075949090" sldId="533"/>
            <ac:spMk id="17" creationId="{55B2930E-B648-0938-4A2A-07F7AFCAD06D}"/>
          </ac:spMkLst>
        </pc:spChg>
        <pc:spChg chg="ord">
          <ac:chgData name="Jane Hawkeswood" userId="63bada2e-462c-4af3-bfba-3429ca74680e" providerId="ADAL" clId="{9DE7A3A8-52E5-4FB1-B8ED-CB69D4A10B04}" dt="2023-05-09T00:41:03.506" v="16" actId="13244"/>
          <ac:spMkLst>
            <pc:docMk/>
            <pc:sldMk cId="4075949090" sldId="533"/>
            <ac:spMk id="19" creationId="{9EAF4BF6-AE05-7F17-A87E-5F0582D6B982}"/>
          </ac:spMkLst>
        </pc:spChg>
        <pc:spChg chg="ord">
          <ac:chgData name="Jane Hawkeswood" userId="63bada2e-462c-4af3-bfba-3429ca74680e" providerId="ADAL" clId="{9DE7A3A8-52E5-4FB1-B8ED-CB69D4A10B04}" dt="2023-05-09T00:41:01.348" v="15" actId="13244"/>
          <ac:spMkLst>
            <pc:docMk/>
            <pc:sldMk cId="4075949090" sldId="533"/>
            <ac:spMk id="21" creationId="{3BBC2C75-E852-77F1-5104-96A344425D64}"/>
          </ac:spMkLst>
        </pc:spChg>
        <pc:spChg chg="ord">
          <ac:chgData name="Jane Hawkeswood" userId="63bada2e-462c-4af3-bfba-3429ca74680e" providerId="ADAL" clId="{9DE7A3A8-52E5-4FB1-B8ED-CB69D4A10B04}" dt="2023-05-09T00:41:41.050" v="22" actId="13244"/>
          <ac:spMkLst>
            <pc:docMk/>
            <pc:sldMk cId="4075949090" sldId="533"/>
            <ac:spMk id="23" creationId="{9737A1CE-E142-6C92-3F79-EB3EAC29A709}"/>
          </ac:spMkLst>
        </pc:spChg>
        <pc:spChg chg="ord">
          <ac:chgData name="Jane Hawkeswood" userId="63bada2e-462c-4af3-bfba-3429ca74680e" providerId="ADAL" clId="{9DE7A3A8-52E5-4FB1-B8ED-CB69D4A10B04}" dt="2023-05-09T00:40:53.803" v="13" actId="13244"/>
          <ac:spMkLst>
            <pc:docMk/>
            <pc:sldMk cId="4075949090" sldId="533"/>
            <ac:spMk id="25" creationId="{BECC73CC-593A-3305-A45D-E128E28B982F}"/>
          </ac:spMkLst>
        </pc:spChg>
        <pc:spChg chg="mod ord">
          <ac:chgData name="Jane Hawkeswood" userId="63bada2e-462c-4af3-bfba-3429ca74680e" providerId="ADAL" clId="{9DE7A3A8-52E5-4FB1-B8ED-CB69D4A10B04}" dt="2023-05-09T00:40:45.580" v="12" actId="13244"/>
          <ac:spMkLst>
            <pc:docMk/>
            <pc:sldMk cId="4075949090" sldId="533"/>
            <ac:spMk id="26" creationId="{C4AE52EA-BC0D-0E73-5872-2DD2FA790098}"/>
          </ac:spMkLst>
        </pc:spChg>
        <pc:picChg chg="mod ord">
          <ac:chgData name="Jane Hawkeswood" userId="63bada2e-462c-4af3-bfba-3429ca74680e" providerId="ADAL" clId="{9DE7A3A8-52E5-4FB1-B8ED-CB69D4A10B04}" dt="2023-05-09T00:41:13.637" v="20" actId="13244"/>
          <ac:picMkLst>
            <pc:docMk/>
            <pc:sldMk cId="4075949090" sldId="533"/>
            <ac:picMk id="10" creationId="{48E05549-E672-59EB-0D6D-DA5BD5DB0EED}"/>
          </ac:picMkLst>
        </pc:picChg>
        <pc:picChg chg="mod">
          <ac:chgData name="Jane Hawkeswood" userId="63bada2e-462c-4af3-bfba-3429ca74680e" providerId="ADAL" clId="{9DE7A3A8-52E5-4FB1-B8ED-CB69D4A10B04}" dt="2023-05-09T00:37:49.672" v="9" actId="1076"/>
          <ac:picMkLst>
            <pc:docMk/>
            <pc:sldMk cId="4075949090" sldId="533"/>
            <ac:picMk id="24" creationId="{023D0878-BCE5-9D20-46E2-F390A155A5E2}"/>
          </ac:picMkLst>
        </pc:picChg>
      </pc:sldChg>
    </pc:docChg>
  </pc:docChgLst>
</pc:chgInfo>
</file>

<file path=ppt/handoutMasters/_rels/handoutMaster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9A3A1043-0D00-4BCE-BAD1-9CBE1C04D8C9}"/>
              </a:ext>
            </a:extLst>
          </p:cNvPr>
          <p:cNvSpPr>
            <a:spLocks noGrp="1"/>
          </p:cNvSpPr>
          <p:nvPr>
            <p:ph type="ftr" sz="quarter" idx="2"/>
          </p:nvPr>
        </p:nvSpPr>
        <p:spPr>
          <a:xfrm>
            <a:off x="0" y="-1"/>
            <a:ext cx="6123214" cy="458787"/>
          </a:xfrm>
          <a:prstGeom prst="rect">
            <a:avLst/>
          </a:prstGeom>
        </p:spPr>
        <p:txBody>
          <a:bodyPr vert="horz" lIns="91440" tIns="45720" rIns="91440" bIns="45720" rtlCol="0" anchor="ctr"/>
          <a:lstStyle>
            <a:lvl1pPr algn="l">
              <a:defRPr sz="1200"/>
            </a:lvl1pPr>
          </a:lstStyle>
          <a:p>
            <a:endParaRPr lang="en-US" sz="1000"/>
          </a:p>
        </p:txBody>
      </p:sp>
      <p:sp>
        <p:nvSpPr>
          <p:cNvPr id="5" name="Slide Number Placeholder 4">
            <a:extLst>
              <a:ext uri="{FF2B5EF4-FFF2-40B4-BE49-F238E27FC236}">
                <a16:creationId xmlns:a16="http://schemas.microsoft.com/office/drawing/2014/main" id="{2434AF02-F8BE-4B26-B29D-456C00091E06}"/>
              </a:ext>
            </a:extLst>
          </p:cNvPr>
          <p:cNvSpPr>
            <a:spLocks noGrp="1"/>
          </p:cNvSpPr>
          <p:nvPr>
            <p:ph type="sldNum" sz="quarter" idx="3"/>
          </p:nvPr>
        </p:nvSpPr>
        <p:spPr>
          <a:xfrm>
            <a:off x="6123214" y="0"/>
            <a:ext cx="734786" cy="458787"/>
          </a:xfrm>
          <a:prstGeom prst="rect">
            <a:avLst/>
          </a:prstGeom>
        </p:spPr>
        <p:txBody>
          <a:bodyPr vert="horz" lIns="91440" tIns="45720" rIns="91440" bIns="45720" rtlCol="0" anchor="ctr"/>
          <a:lstStyle>
            <a:lvl1pPr algn="r">
              <a:defRPr sz="1200"/>
            </a:lvl1pPr>
          </a:lstStyle>
          <a:p>
            <a:fld id="{82DCD2D4-B13C-4259-B2B2-3349081D568D}" type="slidenum">
              <a:rPr lang="en-US" sz="1000"/>
              <a:t>‹#›</a:t>
            </a:fld>
            <a:endParaRPr lang="en-US" sz="1000"/>
          </a:p>
        </p:txBody>
      </p:sp>
      <p:pic>
        <p:nvPicPr>
          <p:cNvPr id="6" name="Picture 5">
            <a:extLst>
              <a:ext uri="{FF2B5EF4-FFF2-40B4-BE49-F238E27FC236}">
                <a16:creationId xmlns:a16="http://schemas.microsoft.com/office/drawing/2014/main" id="{EBA9FC24-219D-4CF9-A58C-1EDD8323A4E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13413" y="8434228"/>
            <a:ext cx="819602" cy="480378"/>
          </a:xfrm>
          <a:prstGeom prst="rect">
            <a:avLst/>
          </a:prstGeom>
        </p:spPr>
      </p:pic>
    </p:spTree>
    <p:extLst>
      <p:ext uri="{BB962C8B-B14F-4D97-AF65-F5344CB8AC3E}">
        <p14:creationId xmlns:p14="http://schemas.microsoft.com/office/powerpoint/2010/main" val="5032231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20486" y="579664"/>
            <a:ext cx="3037114" cy="1708377"/>
          </a:xfrm>
          <a:prstGeom prst="rect">
            <a:avLst/>
          </a:prstGeom>
          <a:noFill/>
          <a:ln w="3175">
            <a:solidFill>
              <a:schemeClr val="tx2"/>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20486" y="2408917"/>
            <a:ext cx="5551714" cy="5592083"/>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0"/>
            <a:ext cx="5861956" cy="458787"/>
          </a:xfrm>
          <a:prstGeom prst="rect">
            <a:avLst/>
          </a:prstGeom>
        </p:spPr>
        <p:txBody>
          <a:bodyPr vert="horz" lIns="91440" tIns="45720" rIns="91440" bIns="45720" rtlCol="0" anchor="ctr"/>
          <a:lstStyle>
            <a:lvl1pPr algn="l">
              <a:defRPr sz="1000"/>
            </a:lvl1pPr>
          </a:lstStyle>
          <a:p>
            <a:endParaRPr lang="en-US" sz="1000"/>
          </a:p>
        </p:txBody>
      </p:sp>
      <p:sp>
        <p:nvSpPr>
          <p:cNvPr id="7" name="Slide Number Placeholder 6"/>
          <p:cNvSpPr>
            <a:spLocks noGrp="1"/>
          </p:cNvSpPr>
          <p:nvPr>
            <p:ph type="sldNum" sz="quarter" idx="5"/>
          </p:nvPr>
        </p:nvSpPr>
        <p:spPr>
          <a:xfrm>
            <a:off x="5861956" y="-1"/>
            <a:ext cx="996045" cy="458787"/>
          </a:xfrm>
          <a:prstGeom prst="rect">
            <a:avLst/>
          </a:prstGeom>
        </p:spPr>
        <p:txBody>
          <a:bodyPr vert="horz" lIns="91440" tIns="45720" rIns="91440" bIns="45720" rtlCol="0" anchor="ctr"/>
          <a:lstStyle>
            <a:lvl1pPr algn="r">
              <a:defRPr sz="1000"/>
            </a:lvl1pPr>
          </a:lstStyle>
          <a:p>
            <a:fld id="{03912913-C710-47E0-B94F-98BCD4BCF7D6}" type="slidenum">
              <a:rPr lang="en-US"/>
              <a:pPr/>
              <a:t>‹#›</a:t>
            </a:fld>
            <a:endParaRPr lang="en-US" sz="1000"/>
          </a:p>
        </p:txBody>
      </p:sp>
      <p:pic>
        <p:nvPicPr>
          <p:cNvPr id="8" name="Picture 7">
            <a:extLst>
              <a:ext uri="{FF2B5EF4-FFF2-40B4-BE49-F238E27FC236}">
                <a16:creationId xmlns:a16="http://schemas.microsoft.com/office/drawing/2014/main" id="{10829058-B4D2-42EB-8F57-D10118AC124C}"/>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713413" y="8434228"/>
            <a:ext cx="819602" cy="480378"/>
          </a:xfrm>
          <a:prstGeom prst="rect">
            <a:avLst/>
          </a:prstGeom>
        </p:spPr>
      </p:pic>
    </p:spTree>
    <p:extLst>
      <p:ext uri="{BB962C8B-B14F-4D97-AF65-F5344CB8AC3E}">
        <p14:creationId xmlns:p14="http://schemas.microsoft.com/office/powerpoint/2010/main" val="17022064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www.anthology.com/fycd"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www.anthology.com/fix-your-content-day/communications-pack" TargetMode="Externa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3" Type="http://schemas.openxmlformats.org/officeDocument/2006/relationships/hyperlink" Target="https://usergroup.ally.ac/"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3" Type="http://schemas.openxmlformats.org/officeDocument/2006/relationships/hyperlink" Target="https://help.blackboard.com/Ally" TargetMode="External"/><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31733A2-9C7D-5646-9ED2-E15674234A6D}" type="slidenum">
              <a:rPr lang="en-US"/>
              <a:pPr/>
              <a:t>1</a:t>
            </a:fld>
            <a:endParaRPr lang="en-US"/>
          </a:p>
        </p:txBody>
      </p:sp>
    </p:spTree>
    <p:extLst>
      <p:ext uri="{BB962C8B-B14F-4D97-AF65-F5344CB8AC3E}">
        <p14:creationId xmlns:p14="http://schemas.microsoft.com/office/powerpoint/2010/main" val="248237830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8613" y="458788"/>
            <a:ext cx="3660775" cy="2060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A6F4022-7AF7-B44C-87BB-B0E6322D823A}"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42157499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r>
              <a:rPr lang="en-US" dirty="0">
                <a:hlinkClick r:id="rId3"/>
              </a:rPr>
              <a:t>https://www.anthology.com/fycd</a:t>
            </a:r>
            <a:endParaRPr lang="en-US" dirty="0"/>
          </a:p>
          <a:p>
            <a:endParaRPr lang="en-US" dirty="0"/>
          </a:p>
          <a:p>
            <a:r>
              <a:rPr lang="en-US" dirty="0">
                <a:hlinkClick r:id="rId4"/>
              </a:rPr>
              <a:t>https://www.anthology.com/fix-your-content-day/communications-pack</a:t>
            </a:r>
            <a:endParaRPr lang="en-US" dirty="0"/>
          </a:p>
        </p:txBody>
      </p:sp>
      <p:sp>
        <p:nvSpPr>
          <p:cNvPr id="4" name="Slide Number Placeholder 3"/>
          <p:cNvSpPr>
            <a:spLocks noGrp="1"/>
          </p:cNvSpPr>
          <p:nvPr>
            <p:ph type="sldNum" sz="quarter" idx="5"/>
          </p:nvPr>
        </p:nvSpPr>
        <p:spPr/>
        <p:txBody>
          <a:bodyPr/>
          <a:lstStyle/>
          <a:p>
            <a:fld id="{31418F33-C558-5449-9D1D-1361F6E08DE1}" type="slidenum">
              <a:rPr lang="en-US" smtClean="0"/>
              <a:t>11</a:t>
            </a:fld>
            <a:endParaRPr lang="en-US"/>
          </a:p>
        </p:txBody>
      </p:sp>
    </p:spTree>
    <p:extLst>
      <p:ext uri="{BB962C8B-B14F-4D97-AF65-F5344CB8AC3E}">
        <p14:creationId xmlns:p14="http://schemas.microsoft.com/office/powerpoint/2010/main" val="21735239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pPr>
              <a:lnSpc>
                <a:spcPct val="110000"/>
              </a:lnSpc>
            </a:pPr>
            <a:endParaRPr lang="en-US" sz="1200" dirty="0"/>
          </a:p>
        </p:txBody>
      </p:sp>
      <p:sp>
        <p:nvSpPr>
          <p:cNvPr id="4" name="Slide Number Placeholder 3"/>
          <p:cNvSpPr>
            <a:spLocks noGrp="1"/>
          </p:cNvSpPr>
          <p:nvPr>
            <p:ph type="sldNum" sz="quarter" idx="5"/>
          </p:nvPr>
        </p:nvSpPr>
        <p:spPr/>
        <p:txBody>
          <a:bodyPr/>
          <a:lstStyle/>
          <a:p>
            <a:fld id="{231733A2-9C7D-5646-9ED2-E15674234A6D}" type="slidenum">
              <a:rPr lang="en-US" smtClean="0"/>
              <a:pPr/>
              <a:t>12</a:t>
            </a:fld>
            <a:endParaRPr lang="en-US"/>
          </a:p>
        </p:txBody>
      </p:sp>
    </p:spTree>
    <p:extLst>
      <p:ext uri="{BB962C8B-B14F-4D97-AF65-F5344CB8AC3E}">
        <p14:creationId xmlns:p14="http://schemas.microsoft.com/office/powerpoint/2010/main" val="16818137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8613" y="458788"/>
            <a:ext cx="3660775" cy="2060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A6F4022-7AF7-B44C-87BB-B0E6322D823A}"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233030687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8613" y="458788"/>
            <a:ext cx="3660775" cy="2060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A6F4022-7AF7-B44C-87BB-B0E6322D823A}" type="slidenum">
              <a:rPr lang="en-US" smtClean="0">
                <a:solidFill>
                  <a:prstClr val="black"/>
                </a:solidFill>
              </a:rPr>
              <a:pPr/>
              <a:t>14</a:t>
            </a:fld>
            <a:endParaRPr lang="en-US">
              <a:solidFill>
                <a:prstClr val="black"/>
              </a:solidFill>
            </a:endParaRPr>
          </a:p>
        </p:txBody>
      </p:sp>
    </p:spTree>
    <p:extLst>
      <p:ext uri="{BB962C8B-B14F-4D97-AF65-F5344CB8AC3E}">
        <p14:creationId xmlns:p14="http://schemas.microsoft.com/office/powerpoint/2010/main" val="33192346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8613" y="458788"/>
            <a:ext cx="3660775" cy="2060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A6F4022-7AF7-B44C-87BB-B0E6322D823A}" type="slidenum">
              <a:rPr lang="en-US" smtClean="0">
                <a:solidFill>
                  <a:prstClr val="black"/>
                </a:solidFill>
              </a:rPr>
              <a:pPr/>
              <a:t>15</a:t>
            </a:fld>
            <a:endParaRPr lang="en-US">
              <a:solidFill>
                <a:prstClr val="black"/>
              </a:solidFill>
            </a:endParaRPr>
          </a:p>
        </p:txBody>
      </p:sp>
    </p:spTree>
    <p:extLst>
      <p:ext uri="{BB962C8B-B14F-4D97-AF65-F5344CB8AC3E}">
        <p14:creationId xmlns:p14="http://schemas.microsoft.com/office/powerpoint/2010/main" val="317659921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pPr>
              <a:lnSpc>
                <a:spcPct val="110000"/>
              </a:lnSpc>
            </a:pPr>
            <a:endParaRPr lang="en-US" sz="1200" dirty="0"/>
          </a:p>
        </p:txBody>
      </p:sp>
      <p:sp>
        <p:nvSpPr>
          <p:cNvPr id="4" name="Slide Number Placeholder 3"/>
          <p:cNvSpPr>
            <a:spLocks noGrp="1"/>
          </p:cNvSpPr>
          <p:nvPr>
            <p:ph type="sldNum" sz="quarter" idx="5"/>
          </p:nvPr>
        </p:nvSpPr>
        <p:spPr/>
        <p:txBody>
          <a:bodyPr/>
          <a:lstStyle/>
          <a:p>
            <a:fld id="{231733A2-9C7D-5646-9ED2-E15674234A6D}" type="slidenum">
              <a:rPr lang="en-US" smtClean="0"/>
              <a:pPr/>
              <a:t>16</a:t>
            </a:fld>
            <a:endParaRPr lang="en-US"/>
          </a:p>
        </p:txBody>
      </p:sp>
    </p:spTree>
    <p:extLst>
      <p:ext uri="{BB962C8B-B14F-4D97-AF65-F5344CB8AC3E}">
        <p14:creationId xmlns:p14="http://schemas.microsoft.com/office/powerpoint/2010/main" val="383552729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8613" y="458788"/>
            <a:ext cx="3660775" cy="20605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A6F4022-7AF7-B44C-87BB-B0E6322D823A}" type="slidenum">
              <a:rPr lang="en-US" smtClean="0">
                <a:solidFill>
                  <a:prstClr val="black"/>
                </a:solidFill>
              </a:rPr>
              <a:pPr/>
              <a:t>17</a:t>
            </a:fld>
            <a:endParaRPr lang="en-US">
              <a:solidFill>
                <a:prstClr val="black"/>
              </a:solidFill>
            </a:endParaRPr>
          </a:p>
        </p:txBody>
      </p:sp>
    </p:spTree>
    <p:extLst>
      <p:ext uri="{BB962C8B-B14F-4D97-AF65-F5344CB8AC3E}">
        <p14:creationId xmlns:p14="http://schemas.microsoft.com/office/powerpoint/2010/main" val="28513185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03912913-C710-47E0-B94F-98BCD4BCF7D6}" type="slidenum">
              <a:rPr lang="en-US" smtClean="0"/>
              <a:pPr/>
              <a:t>18</a:t>
            </a:fld>
            <a:endParaRPr lang="en-US" sz="1000"/>
          </a:p>
        </p:txBody>
      </p:sp>
    </p:spTree>
    <p:extLst>
      <p:ext uri="{BB962C8B-B14F-4D97-AF65-F5344CB8AC3E}">
        <p14:creationId xmlns:p14="http://schemas.microsoft.com/office/powerpoint/2010/main" val="424406307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8613" y="458788"/>
            <a:ext cx="3660775" cy="2060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A6F4022-7AF7-B44C-87BB-B0E6322D823A}"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766724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31733A2-9C7D-5646-9ED2-E15674234A6D}" type="slidenum">
              <a:rPr lang="en-US" smtClean="0"/>
              <a:pPr/>
              <a:t>2</a:t>
            </a:fld>
            <a:endParaRPr lang="en-US"/>
          </a:p>
        </p:txBody>
      </p:sp>
    </p:spTree>
    <p:extLst>
      <p:ext uri="{BB962C8B-B14F-4D97-AF65-F5344CB8AC3E}">
        <p14:creationId xmlns:p14="http://schemas.microsoft.com/office/powerpoint/2010/main" val="5748096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8613" y="458788"/>
            <a:ext cx="3660775" cy="2060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A6F4022-7AF7-B44C-87BB-B0E6322D823A}"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23709791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1A6F4022-7AF7-B44C-87BB-B0E6322D823A}" type="slidenum">
              <a:rPr lang="en-US" smtClean="0"/>
              <a:t>21</a:t>
            </a:fld>
            <a:endParaRPr lang="en-US"/>
          </a:p>
        </p:txBody>
      </p:sp>
    </p:spTree>
    <p:extLst>
      <p:ext uri="{BB962C8B-B14F-4D97-AF65-F5344CB8AC3E}">
        <p14:creationId xmlns:p14="http://schemas.microsoft.com/office/powerpoint/2010/main" val="67898112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1A6F4022-7AF7-B44C-87BB-B0E6322D823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6621400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pPr>
              <a:lnSpc>
                <a:spcPct val="110000"/>
              </a:lnSpc>
            </a:pPr>
            <a:endParaRPr lang="en-US" sz="1200" dirty="0"/>
          </a:p>
        </p:txBody>
      </p:sp>
      <p:sp>
        <p:nvSpPr>
          <p:cNvPr id="4" name="Slide Number Placeholder 3"/>
          <p:cNvSpPr>
            <a:spLocks noGrp="1"/>
          </p:cNvSpPr>
          <p:nvPr>
            <p:ph type="sldNum" sz="quarter" idx="5"/>
          </p:nvPr>
        </p:nvSpPr>
        <p:spPr/>
        <p:txBody>
          <a:bodyPr/>
          <a:lstStyle/>
          <a:p>
            <a:fld id="{231733A2-9C7D-5646-9ED2-E15674234A6D}" type="slidenum">
              <a:rPr lang="en-US" smtClean="0"/>
              <a:pPr/>
              <a:t>23</a:t>
            </a:fld>
            <a:endParaRPr lang="en-US"/>
          </a:p>
        </p:txBody>
      </p:sp>
    </p:spTree>
    <p:extLst>
      <p:ext uri="{BB962C8B-B14F-4D97-AF65-F5344CB8AC3E}">
        <p14:creationId xmlns:p14="http://schemas.microsoft.com/office/powerpoint/2010/main" val="88880946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200" dirty="0">
                <a:latin typeface="Helvetica" pitchFamily="2" charset="0"/>
                <a:hlinkClick r:id="rId3">
                  <a:extLst>
                    <a:ext uri="{A12FA001-AC4F-418D-AE19-62706E023703}">
                      <ahyp:hlinkClr xmlns:ahyp="http://schemas.microsoft.com/office/drawing/2018/hyperlinkcolor" val="tx"/>
                    </a:ext>
                  </a:extLst>
                </a:hlinkClick>
              </a:rPr>
              <a:t>https://usergroup.ally.ac</a:t>
            </a:r>
            <a:r>
              <a:rPr lang="en-US" sz="1200" dirty="0">
                <a:latin typeface="Helvetica" pitchFamily="2" charset="0"/>
              </a:rPr>
              <a:t> </a:t>
            </a:r>
          </a:p>
          <a:p>
            <a:pPr>
              <a:lnSpc>
                <a:spcPct val="110000"/>
              </a:lnSpc>
            </a:pPr>
            <a:endParaRPr lang="en-US" sz="1200" dirty="0"/>
          </a:p>
        </p:txBody>
      </p:sp>
      <p:sp>
        <p:nvSpPr>
          <p:cNvPr id="4" name="Slide Number Placeholder 3"/>
          <p:cNvSpPr>
            <a:spLocks noGrp="1"/>
          </p:cNvSpPr>
          <p:nvPr>
            <p:ph type="sldNum" sz="quarter" idx="5"/>
          </p:nvPr>
        </p:nvSpPr>
        <p:spPr/>
        <p:txBody>
          <a:bodyPr/>
          <a:lstStyle/>
          <a:p>
            <a:fld id="{231733A2-9C7D-5646-9ED2-E15674234A6D}" type="slidenum">
              <a:rPr lang="en-US" smtClean="0"/>
              <a:pPr/>
              <a:t>24</a:t>
            </a:fld>
            <a:endParaRPr lang="en-US"/>
          </a:p>
        </p:txBody>
      </p:sp>
    </p:spTree>
    <p:extLst>
      <p:ext uri="{BB962C8B-B14F-4D97-AF65-F5344CB8AC3E}">
        <p14:creationId xmlns:p14="http://schemas.microsoft.com/office/powerpoint/2010/main" val="368552125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lang="en-US" sz="1200" u="sng" dirty="0">
                <a:latin typeface="Helvetica" pitchFamily="2" charset="0"/>
                <a:hlinkClick r:id="rId3">
                  <a:extLst>
                    <a:ext uri="{A12FA001-AC4F-418D-AE19-62706E023703}">
                      <ahyp:hlinkClr xmlns:ahyp="http://schemas.microsoft.com/office/drawing/2018/hyperlinkcolor" val="tx"/>
                    </a:ext>
                  </a:extLst>
                </a:hlinkClick>
              </a:rPr>
              <a:t>https://help.blackboard.com/Ally</a:t>
            </a:r>
            <a:r>
              <a:rPr lang="en-US" sz="1200" u="sng" dirty="0">
                <a:latin typeface="Helvetica" pitchFamily="2" charset="0"/>
              </a:rPr>
              <a:t> </a:t>
            </a:r>
            <a:endParaRPr lang="en-US" sz="1200" dirty="0">
              <a:latin typeface="Helvetica" pitchFamily="2" charset="0"/>
            </a:endParaRPr>
          </a:p>
          <a:p>
            <a:pPr>
              <a:lnSpc>
                <a:spcPct val="110000"/>
              </a:lnSpc>
            </a:pPr>
            <a:endParaRPr lang="en-US" sz="1200" dirty="0"/>
          </a:p>
        </p:txBody>
      </p:sp>
      <p:sp>
        <p:nvSpPr>
          <p:cNvPr id="4" name="Slide Number Placeholder 3"/>
          <p:cNvSpPr>
            <a:spLocks noGrp="1"/>
          </p:cNvSpPr>
          <p:nvPr>
            <p:ph type="sldNum" sz="quarter" idx="5"/>
          </p:nvPr>
        </p:nvSpPr>
        <p:spPr/>
        <p:txBody>
          <a:bodyPr/>
          <a:lstStyle/>
          <a:p>
            <a:fld id="{231733A2-9C7D-5646-9ED2-E15674234A6D}" type="slidenum">
              <a:rPr lang="en-US" smtClean="0"/>
              <a:pPr/>
              <a:t>25</a:t>
            </a:fld>
            <a:endParaRPr lang="en-US"/>
          </a:p>
        </p:txBody>
      </p:sp>
    </p:spTree>
    <p:extLst>
      <p:ext uri="{BB962C8B-B14F-4D97-AF65-F5344CB8AC3E}">
        <p14:creationId xmlns:p14="http://schemas.microsoft.com/office/powerpoint/2010/main" val="27463867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3912913-C710-47E0-B94F-98BCD4BCF7D6}" type="slidenum">
              <a:rPr lang="en-US" smtClean="0"/>
              <a:pPr/>
              <a:t>26</a:t>
            </a:fld>
            <a:endParaRPr lang="en-US" sz="1000"/>
          </a:p>
        </p:txBody>
      </p:sp>
    </p:spTree>
    <p:extLst>
      <p:ext uri="{BB962C8B-B14F-4D97-AF65-F5344CB8AC3E}">
        <p14:creationId xmlns:p14="http://schemas.microsoft.com/office/powerpoint/2010/main" val="17058648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3912913-C710-47E0-B94F-98BCD4BCF7D6}" type="slidenum">
              <a:rPr lang="en-US" smtClean="0"/>
              <a:pPr/>
              <a:t>27</a:t>
            </a:fld>
            <a:endParaRPr lang="en-US" sz="1000"/>
          </a:p>
        </p:txBody>
      </p:sp>
    </p:spTree>
    <p:extLst>
      <p:ext uri="{BB962C8B-B14F-4D97-AF65-F5344CB8AC3E}">
        <p14:creationId xmlns:p14="http://schemas.microsoft.com/office/powerpoint/2010/main" val="330237410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pPr>
              <a:lnSpc>
                <a:spcPct val="110000"/>
              </a:lnSpc>
            </a:pPr>
            <a:endParaRPr lang="en-US" sz="1200" dirty="0"/>
          </a:p>
        </p:txBody>
      </p:sp>
      <p:sp>
        <p:nvSpPr>
          <p:cNvPr id="4" name="Slide Number Placeholder 3"/>
          <p:cNvSpPr>
            <a:spLocks noGrp="1"/>
          </p:cNvSpPr>
          <p:nvPr>
            <p:ph type="sldNum" sz="quarter" idx="5"/>
          </p:nvPr>
        </p:nvSpPr>
        <p:spPr/>
        <p:txBody>
          <a:bodyPr/>
          <a:lstStyle/>
          <a:p>
            <a:fld id="{231733A2-9C7D-5646-9ED2-E15674234A6D}" type="slidenum">
              <a:rPr lang="en-US" smtClean="0"/>
              <a:pPr/>
              <a:t>3</a:t>
            </a:fld>
            <a:endParaRPr lang="en-US"/>
          </a:p>
        </p:txBody>
      </p:sp>
    </p:spTree>
    <p:extLst>
      <p:ext uri="{BB962C8B-B14F-4D97-AF65-F5344CB8AC3E}">
        <p14:creationId xmlns:p14="http://schemas.microsoft.com/office/powerpoint/2010/main" val="1207108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A6F4022-7AF7-B44C-87BB-B0E6322D823A}" type="slidenum">
              <a:rPr lang="en-US" smtClean="0"/>
              <a:t>4</a:t>
            </a:fld>
            <a:endParaRPr lang="en-US"/>
          </a:p>
        </p:txBody>
      </p:sp>
    </p:spTree>
    <p:extLst>
      <p:ext uri="{BB962C8B-B14F-4D97-AF65-F5344CB8AC3E}">
        <p14:creationId xmlns:p14="http://schemas.microsoft.com/office/powerpoint/2010/main" val="1879693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A6F4022-7AF7-B44C-87BB-B0E6322D823A}" type="slidenum">
              <a:rPr lang="en-US" smtClean="0"/>
              <a:t>5</a:t>
            </a:fld>
            <a:endParaRPr lang="en-US"/>
          </a:p>
        </p:txBody>
      </p:sp>
    </p:spTree>
    <p:extLst>
      <p:ext uri="{BB962C8B-B14F-4D97-AF65-F5344CB8AC3E}">
        <p14:creationId xmlns:p14="http://schemas.microsoft.com/office/powerpoint/2010/main" val="9300465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20713" y="579438"/>
            <a:ext cx="3036887" cy="17081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A6F4022-7AF7-B44C-87BB-B0E6322D823A}" type="slidenum">
              <a:rPr lang="en-US" smtClean="0"/>
              <a:t>6</a:t>
            </a:fld>
            <a:endParaRPr lang="en-US"/>
          </a:p>
        </p:txBody>
      </p:sp>
    </p:spTree>
    <p:extLst>
      <p:ext uri="{BB962C8B-B14F-4D97-AF65-F5344CB8AC3E}">
        <p14:creationId xmlns:p14="http://schemas.microsoft.com/office/powerpoint/2010/main" val="138285687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8613" y="458788"/>
            <a:ext cx="3660775" cy="2060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A6F4022-7AF7-B44C-87BB-B0E6322D823A}"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110138972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3AA6F28-A7E0-4FDB-9828-C3D2D393B511}" type="slidenum">
              <a:rPr lang="en-US" smtClean="0"/>
              <a:t>8</a:t>
            </a:fld>
            <a:endParaRPr lang="en-US"/>
          </a:p>
        </p:txBody>
      </p:sp>
    </p:spTree>
    <p:extLst>
      <p:ext uri="{BB962C8B-B14F-4D97-AF65-F5344CB8AC3E}">
        <p14:creationId xmlns:p14="http://schemas.microsoft.com/office/powerpoint/2010/main" val="98245534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98613" y="458788"/>
            <a:ext cx="3660775" cy="20605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A6F4022-7AF7-B44C-87BB-B0E6322D823A}"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6590657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47.png"/><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23.png"/><Relationship Id="rId1" Type="http://schemas.openxmlformats.org/officeDocument/2006/relationships/slideMaster" Target="../slideMasters/slideMaster2.xml"/><Relationship Id="rId5" Type="http://schemas.openxmlformats.org/officeDocument/2006/relationships/image" Target="../media/image35.png"/><Relationship Id="rId4" Type="http://schemas.openxmlformats.org/officeDocument/2006/relationships/image" Target="../media/image34.png"/></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23.png"/><Relationship Id="rId1" Type="http://schemas.openxmlformats.org/officeDocument/2006/relationships/slideMaster" Target="../slideMasters/slideMaster2.xml"/><Relationship Id="rId5" Type="http://schemas.openxmlformats.org/officeDocument/2006/relationships/image" Target="../media/image38.png"/><Relationship Id="rId4" Type="http://schemas.openxmlformats.org/officeDocument/2006/relationships/image" Target="../media/image37.png"/></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40.png"/></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2.xml"/><Relationship Id="rId5" Type="http://schemas.openxmlformats.org/officeDocument/2006/relationships/image" Target="../media/image26.png"/><Relationship Id="rId4" Type="http://schemas.openxmlformats.org/officeDocument/2006/relationships/image" Target="../media/image25.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23.png"/><Relationship Id="rId1" Type="http://schemas.openxmlformats.org/officeDocument/2006/relationships/slideMaster" Target="../slideMasters/slideMaster2.xml"/><Relationship Id="rId5" Type="http://schemas.openxmlformats.org/officeDocument/2006/relationships/image" Target="../media/image43.png"/><Relationship Id="rId4" Type="http://schemas.openxmlformats.org/officeDocument/2006/relationships/image" Target="../media/image42.png"/></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9.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2.emf"/><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8.xml"/><Relationship Id="rId1" Type="http://schemas.openxmlformats.org/officeDocument/2006/relationships/tags" Target="../tags/tag47.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tags" Target="../tags/tag49.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2.xml"/><Relationship Id="rId1" Type="http://schemas.openxmlformats.org/officeDocument/2006/relationships/tags" Target="../tags/tag51.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tags" Target="../tags/tag5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tags" Target="../tags/tag55.xml"/><Relationship Id="rId5" Type="http://schemas.openxmlformats.org/officeDocument/2006/relationships/image" Target="../media/image5.png"/><Relationship Id="rId4" Type="http://schemas.openxmlformats.org/officeDocument/2006/relationships/image" Target="../media/image4.jpeg"/></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8.xml"/><Relationship Id="rId1" Type="http://schemas.openxmlformats.org/officeDocument/2006/relationships/tags" Target="../tags/tag57.xml"/><Relationship Id="rId5" Type="http://schemas.openxmlformats.org/officeDocument/2006/relationships/image" Target="../media/image5.png"/><Relationship Id="rId4" Type="http://schemas.openxmlformats.org/officeDocument/2006/relationships/image" Target="../media/image6.jpe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0.xml"/><Relationship Id="rId1" Type="http://schemas.openxmlformats.org/officeDocument/2006/relationships/tags" Target="../tags/tag59.xml"/><Relationship Id="rId5" Type="http://schemas.openxmlformats.org/officeDocument/2006/relationships/image" Target="../media/image5.png"/><Relationship Id="rId4" Type="http://schemas.openxmlformats.org/officeDocument/2006/relationships/image" Target="../media/image7.png"/></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2.xml"/><Relationship Id="rId1" Type="http://schemas.openxmlformats.org/officeDocument/2006/relationships/tags" Target="../tags/tag61.xml"/><Relationship Id="rId5" Type="http://schemas.openxmlformats.org/officeDocument/2006/relationships/image" Target="../media/image5.png"/><Relationship Id="rId4" Type="http://schemas.openxmlformats.org/officeDocument/2006/relationships/image" Target="../media/image7.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tags" Target="../tags/tag63.xml"/><Relationship Id="rId4" Type="http://schemas.openxmlformats.org/officeDocument/2006/relationships/image" Target="../media/image8.jpeg"/></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6.xml"/><Relationship Id="rId1" Type="http://schemas.openxmlformats.org/officeDocument/2006/relationships/tags" Target="../tags/tag65.xml"/><Relationship Id="rId4" Type="http://schemas.openxmlformats.org/officeDocument/2006/relationships/image" Target="../media/image9.jpeg"/></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8.xml"/><Relationship Id="rId1" Type="http://schemas.openxmlformats.org/officeDocument/2006/relationships/tags" Target="../tags/tag67.xml"/><Relationship Id="rId4" Type="http://schemas.openxmlformats.org/officeDocument/2006/relationships/image" Target="../media/image10.jpeg"/></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0.xml"/><Relationship Id="rId1" Type="http://schemas.openxmlformats.org/officeDocument/2006/relationships/tags" Target="../tags/tag69.xml"/><Relationship Id="rId4" Type="http://schemas.openxmlformats.org/officeDocument/2006/relationships/image" Target="../media/image11.jpeg"/></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2.xml"/><Relationship Id="rId1" Type="http://schemas.openxmlformats.org/officeDocument/2006/relationships/tags" Target="../tags/tag71.xml"/><Relationship Id="rId4" Type="http://schemas.openxmlformats.org/officeDocument/2006/relationships/image" Target="../media/image12.jpeg"/></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4.xml"/><Relationship Id="rId1" Type="http://schemas.openxmlformats.org/officeDocument/2006/relationships/tags" Target="../tags/tag7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tags" Target="../tags/tag75.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8.xml"/><Relationship Id="rId1" Type="http://schemas.openxmlformats.org/officeDocument/2006/relationships/tags" Target="../tags/tag77.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0.xml"/><Relationship Id="rId1" Type="http://schemas.openxmlformats.org/officeDocument/2006/relationships/tags" Target="../tags/tag79.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2.xml"/><Relationship Id="rId1" Type="http://schemas.openxmlformats.org/officeDocument/2006/relationships/tags" Target="../tags/tag8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4.xml"/><Relationship Id="rId1" Type="http://schemas.openxmlformats.org/officeDocument/2006/relationships/tags" Target="../tags/tag83.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6.xml"/><Relationship Id="rId1" Type="http://schemas.openxmlformats.org/officeDocument/2006/relationships/tags" Target="../tags/tag85.xml"/><Relationship Id="rId4" Type="http://schemas.openxmlformats.org/officeDocument/2006/relationships/image" Target="../media/image7.png"/></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8.xml"/><Relationship Id="rId1" Type="http://schemas.openxmlformats.org/officeDocument/2006/relationships/tags" Target="../tags/tag87.xml"/><Relationship Id="rId4" Type="http://schemas.openxmlformats.org/officeDocument/2006/relationships/image" Target="../media/image7.png"/></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0.xml"/><Relationship Id="rId1" Type="http://schemas.openxmlformats.org/officeDocument/2006/relationships/tags" Target="../tags/tag89.xml"/><Relationship Id="rId4" Type="http://schemas.openxmlformats.org/officeDocument/2006/relationships/image" Target="../media/image7.png"/></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2.xml"/><Relationship Id="rId1" Type="http://schemas.openxmlformats.org/officeDocument/2006/relationships/tags" Target="../tags/tag91.xml"/><Relationship Id="rId4" Type="http://schemas.openxmlformats.org/officeDocument/2006/relationships/image" Target="../media/image7.png"/></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4.xml"/><Relationship Id="rId1" Type="http://schemas.openxmlformats.org/officeDocument/2006/relationships/tags" Target="../tags/tag93.xml"/><Relationship Id="rId4" Type="http://schemas.openxmlformats.org/officeDocument/2006/relationships/image" Target="../media/image7.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6.xml"/><Relationship Id="rId1" Type="http://schemas.openxmlformats.org/officeDocument/2006/relationships/tags" Target="../tags/tag95.xml"/><Relationship Id="rId4" Type="http://schemas.openxmlformats.org/officeDocument/2006/relationships/image" Target="../media/image13.emf"/></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tags" Target="../tags/tag97.xml"/><Relationship Id="rId5" Type="http://schemas.openxmlformats.org/officeDocument/2006/relationships/image" Target="../media/image15.emf"/><Relationship Id="rId4" Type="http://schemas.openxmlformats.org/officeDocument/2006/relationships/image" Target="../media/image14.jpeg"/></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0.xml"/><Relationship Id="rId1" Type="http://schemas.openxmlformats.org/officeDocument/2006/relationships/tags" Target="../tags/tag99.xml"/><Relationship Id="rId5" Type="http://schemas.openxmlformats.org/officeDocument/2006/relationships/image" Target="../media/image15.emf"/><Relationship Id="rId4" Type="http://schemas.openxmlformats.org/officeDocument/2006/relationships/image" Target="../media/image16.jpeg"/></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2.xml"/><Relationship Id="rId1" Type="http://schemas.openxmlformats.org/officeDocument/2006/relationships/tags" Target="../tags/tag101.xml"/><Relationship Id="rId5" Type="http://schemas.openxmlformats.org/officeDocument/2006/relationships/image" Target="../media/image17.jpeg"/><Relationship Id="rId4" Type="http://schemas.openxmlformats.org/officeDocument/2006/relationships/image" Target="../media/image15.emf"/></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4.xml"/><Relationship Id="rId1" Type="http://schemas.openxmlformats.org/officeDocument/2006/relationships/tags" Target="../tags/tag103.xml"/><Relationship Id="rId5" Type="http://schemas.openxmlformats.org/officeDocument/2006/relationships/image" Target="../media/image15.emf"/><Relationship Id="rId4" Type="http://schemas.openxmlformats.org/officeDocument/2006/relationships/image" Target="../media/image18.jpeg"/></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15.emf"/><Relationship Id="rId4" Type="http://schemas.openxmlformats.org/officeDocument/2006/relationships/image" Target="../media/image19.jpeg"/></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8.xml"/><Relationship Id="rId1" Type="http://schemas.openxmlformats.org/officeDocument/2006/relationships/tags" Target="../tags/tag107.xml"/><Relationship Id="rId5" Type="http://schemas.openxmlformats.org/officeDocument/2006/relationships/image" Target="../media/image15.emf"/><Relationship Id="rId4" Type="http://schemas.openxmlformats.org/officeDocument/2006/relationships/image" Target="../media/image20.jpeg"/></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0.xml"/><Relationship Id="rId1" Type="http://schemas.openxmlformats.org/officeDocument/2006/relationships/tags" Target="../tags/tag109.xml"/><Relationship Id="rId5" Type="http://schemas.openxmlformats.org/officeDocument/2006/relationships/image" Target="../media/image15.emf"/><Relationship Id="rId4" Type="http://schemas.openxmlformats.org/officeDocument/2006/relationships/image" Target="../media/image21.jpeg"/></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2.xml"/><Relationship Id="rId1" Type="http://schemas.openxmlformats.org/officeDocument/2006/relationships/tags" Target="../tags/tag111.xml"/><Relationship Id="rId4" Type="http://schemas.openxmlformats.org/officeDocument/2006/relationships/image" Target="../media/image15.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slideMaster" Target="../slideMasters/slideMaster1.xml"/><Relationship Id="rId1" Type="http://schemas.openxmlformats.org/officeDocument/2006/relationships/tags" Target="../tags/tag11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2.jpe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1.xml"/><Relationship Id="rId4" Type="http://schemas.openxmlformats.org/officeDocument/2006/relationships/image" Target="../media/image26.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2.xml"/><Relationship Id="rId4" Type="http://schemas.openxmlformats.org/officeDocument/2006/relationships/image" Target="../media/image29.png"/></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7.png"/><Relationship Id="rId1" Type="http://schemas.openxmlformats.org/officeDocument/2006/relationships/slideMaster" Target="../slideMasters/slideMaster2.xml"/><Relationship Id="rId5" Type="http://schemas.openxmlformats.org/officeDocument/2006/relationships/image" Target="../media/image32.png"/><Relationship Id="rId4" Type="http://schemas.openxmlformats.org/officeDocument/2006/relationships/image" Target="../media/image31.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image" Target="../media/image33.png"/><Relationship Id="rId1" Type="http://schemas.openxmlformats.org/officeDocument/2006/relationships/slideMaster" Target="../slideMasters/slideMaster2.xml"/><Relationship Id="rId4" Type="http://schemas.openxmlformats.org/officeDocument/2006/relationships/image" Target="../media/image35.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38.png"/></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26.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Master" Target="../slideMasters/slideMaster2.xml"/><Relationship Id="rId4" Type="http://schemas.openxmlformats.org/officeDocument/2006/relationships/image" Target="../media/image43.png"/></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6.xml"/><Relationship Id="rId1" Type="http://schemas.openxmlformats.org/officeDocument/2006/relationships/tags" Target="../tags/tag11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resenter">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C6F0F82D-DAB4-F442-A1EF-4FFF90321E59}"/>
              </a:ext>
              <a:ext uri="{C183D7F6-B498-43B3-948B-1728B52AA6E4}">
                <adec:decorative xmlns:adec="http://schemas.microsoft.com/office/drawing/2017/decorative" val="1"/>
              </a:ext>
            </a:extLst>
          </p:cNvPr>
          <p:cNvSpPr/>
          <p:nvPr userDrawn="1"/>
        </p:nvSpPr>
        <p:spPr>
          <a:xfrm>
            <a:off x="0" y="0"/>
            <a:ext cx="5462649" cy="61769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29" name="Rectangle 28">
            <a:extLst>
              <a:ext uri="{FF2B5EF4-FFF2-40B4-BE49-F238E27FC236}">
                <a16:creationId xmlns:a16="http://schemas.microsoft.com/office/drawing/2014/main" id="{E3AD3F1B-6514-1946-9D1A-5523E60EB659}"/>
              </a:ext>
              <a:ext uri="{C183D7F6-B498-43B3-948B-1728B52AA6E4}">
                <adec:decorative xmlns:adec="http://schemas.microsoft.com/office/drawing/2017/decorative" val="1"/>
              </a:ext>
            </a:extLst>
          </p:cNvPr>
          <p:cNvSpPr/>
          <p:nvPr userDrawn="1"/>
        </p:nvSpPr>
        <p:spPr>
          <a:xfrm>
            <a:off x="2256182" y="2096646"/>
            <a:ext cx="2602319" cy="2514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30" name="Rectangle 29">
            <a:extLst>
              <a:ext uri="{FF2B5EF4-FFF2-40B4-BE49-F238E27FC236}">
                <a16:creationId xmlns:a16="http://schemas.microsoft.com/office/drawing/2014/main" id="{B7245169-8F76-8C4A-BCB7-A88BE50181AA}"/>
              </a:ext>
              <a:ext uri="{C183D7F6-B498-43B3-948B-1728B52AA6E4}">
                <adec:decorative xmlns:adec="http://schemas.microsoft.com/office/drawing/2017/decorative" val="1"/>
              </a:ext>
            </a:extLst>
          </p:cNvPr>
          <p:cNvSpPr/>
          <p:nvPr userDrawn="1"/>
        </p:nvSpPr>
        <p:spPr>
          <a:xfrm>
            <a:off x="2346719" y="2096646"/>
            <a:ext cx="2511783" cy="251460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31" name="TextBox 30">
            <a:extLst>
              <a:ext uri="{FF2B5EF4-FFF2-40B4-BE49-F238E27FC236}">
                <a16:creationId xmlns:a16="http://schemas.microsoft.com/office/drawing/2014/main" id="{38DBF907-AC21-9141-8503-A925D9043E04}"/>
              </a:ext>
              <a:ext uri="{C183D7F6-B498-43B3-948B-1728B52AA6E4}">
                <adec:decorative xmlns:adec="http://schemas.microsoft.com/office/drawing/2017/decorative" val="1"/>
              </a:ext>
            </a:extLst>
          </p:cNvPr>
          <p:cNvSpPr txBox="1"/>
          <p:nvPr userDrawn="1"/>
        </p:nvSpPr>
        <p:spPr>
          <a:xfrm>
            <a:off x="2954294" y="3169280"/>
            <a:ext cx="129663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Nunito Sans Light" pitchFamily="2" charset="77"/>
                <a:ea typeface="Roboto Medium" panose="02000000000000000000" pitchFamily="2" charset="0"/>
                <a:cs typeface="Roboto Medium" panose="02000000000000000000" pitchFamily="2" charset="0"/>
              </a:rPr>
              <a:t>Headshot</a:t>
            </a:r>
          </a:p>
        </p:txBody>
      </p:sp>
      <p:sp>
        <p:nvSpPr>
          <p:cNvPr id="32" name="Name">
            <a:extLst>
              <a:ext uri="{FF2B5EF4-FFF2-40B4-BE49-F238E27FC236}">
                <a16:creationId xmlns:a16="http://schemas.microsoft.com/office/drawing/2014/main" id="{8F289818-772D-A140-AA34-CF35FE3184CE}"/>
              </a:ext>
            </a:extLst>
          </p:cNvPr>
          <p:cNvSpPr>
            <a:spLocks noGrp="1"/>
          </p:cNvSpPr>
          <p:nvPr>
            <p:ph type="body" sz="quarter" idx="17"/>
          </p:nvPr>
        </p:nvSpPr>
        <p:spPr>
          <a:xfrm>
            <a:off x="6096000" y="2383822"/>
            <a:ext cx="4279900" cy="457200"/>
          </a:xfrm>
        </p:spPr>
        <p:txBody>
          <a:bodyPr anchor="b" anchorCtr="0"/>
          <a:lstStyle>
            <a:lvl1pPr marL="0" indent="0" algn="l">
              <a:buClr>
                <a:schemeClr val="accent4"/>
              </a:buClr>
              <a:buFontTx/>
              <a:buNone/>
              <a:defRPr sz="2000" b="0" i="0" spc="0">
                <a:latin typeface="+mj-lt"/>
                <a:ea typeface="Roboto Medium" panose="02000000000000000000" pitchFamily="2" charset="0"/>
                <a:cs typeface="Roboto Medium" panose="02000000000000000000" pitchFamily="2" charset="0"/>
              </a:defRPr>
            </a:lvl1pPr>
          </a:lstStyle>
          <a:p>
            <a:pPr lvl="0"/>
            <a:r>
              <a:rPr lang="en-US"/>
              <a:t>Click to edit Master text styles</a:t>
            </a:r>
          </a:p>
        </p:txBody>
      </p:sp>
      <p:sp>
        <p:nvSpPr>
          <p:cNvPr id="33" name="Title">
            <a:extLst>
              <a:ext uri="{FF2B5EF4-FFF2-40B4-BE49-F238E27FC236}">
                <a16:creationId xmlns:a16="http://schemas.microsoft.com/office/drawing/2014/main" id="{B4C7420B-45DC-474D-99FE-866DCAFF6544}"/>
              </a:ext>
            </a:extLst>
          </p:cNvPr>
          <p:cNvSpPr>
            <a:spLocks noGrp="1"/>
          </p:cNvSpPr>
          <p:nvPr>
            <p:ph type="body" sz="quarter" idx="18"/>
          </p:nvPr>
        </p:nvSpPr>
        <p:spPr>
          <a:xfrm>
            <a:off x="6096000" y="3025024"/>
            <a:ext cx="4279900" cy="320040"/>
          </a:xfrm>
        </p:spPr>
        <p:txBody>
          <a:bodyPr anchor="b" anchorCtr="0"/>
          <a:lstStyle>
            <a:lvl1pPr marL="0" indent="0" algn="l">
              <a:buFontTx/>
              <a:buNone/>
              <a:defRPr sz="2000" b="0" i="0">
                <a:latin typeface="+mn-lt"/>
              </a:defRPr>
            </a:lvl1pPr>
          </a:lstStyle>
          <a:p>
            <a:pPr lvl="0"/>
            <a:r>
              <a:rPr lang="en-US"/>
              <a:t>Click to edit Master text styles</a:t>
            </a:r>
          </a:p>
        </p:txBody>
      </p:sp>
      <p:sp>
        <p:nvSpPr>
          <p:cNvPr id="48" name="Title">
            <a:extLst>
              <a:ext uri="{FF2B5EF4-FFF2-40B4-BE49-F238E27FC236}">
                <a16:creationId xmlns:a16="http://schemas.microsoft.com/office/drawing/2014/main" id="{F5C5D172-A280-E343-A9FF-76539997ADDC}"/>
              </a:ext>
            </a:extLst>
          </p:cNvPr>
          <p:cNvSpPr>
            <a:spLocks noGrp="1"/>
          </p:cNvSpPr>
          <p:nvPr>
            <p:ph type="body" sz="quarter" idx="22"/>
          </p:nvPr>
        </p:nvSpPr>
        <p:spPr>
          <a:xfrm>
            <a:off x="6096000" y="3410507"/>
            <a:ext cx="4279900" cy="320040"/>
          </a:xfrm>
        </p:spPr>
        <p:txBody>
          <a:bodyPr anchor="b" anchorCtr="0"/>
          <a:lstStyle>
            <a:lvl1pPr marL="0" indent="0" algn="l">
              <a:buFontTx/>
              <a:buNone/>
              <a:defRPr sz="2000" b="0" i="0">
                <a:latin typeface="+mn-lt"/>
              </a:defRPr>
            </a:lvl1pPr>
          </a:lstStyle>
          <a:p>
            <a:pPr lvl="0"/>
            <a:r>
              <a:rPr lang="en-US"/>
              <a:t>Click to edit Master text styles</a:t>
            </a:r>
          </a:p>
        </p:txBody>
      </p:sp>
      <p:sp>
        <p:nvSpPr>
          <p:cNvPr id="40" name="Contact Info">
            <a:extLst>
              <a:ext uri="{FF2B5EF4-FFF2-40B4-BE49-F238E27FC236}">
                <a16:creationId xmlns:a16="http://schemas.microsoft.com/office/drawing/2014/main" id="{6F4BB36E-4DA6-BD40-87B9-AC4AAB97D171}"/>
              </a:ext>
            </a:extLst>
          </p:cNvPr>
          <p:cNvSpPr>
            <a:spLocks noGrp="1"/>
          </p:cNvSpPr>
          <p:nvPr>
            <p:ph type="body" sz="quarter" idx="29"/>
          </p:nvPr>
        </p:nvSpPr>
        <p:spPr>
          <a:xfrm>
            <a:off x="6096000" y="3914549"/>
            <a:ext cx="4279900" cy="320040"/>
          </a:xfrm>
        </p:spPr>
        <p:txBody>
          <a:bodyPr anchor="b" anchorCtr="0"/>
          <a:lstStyle>
            <a:lvl1pPr marL="0" indent="0" algn="l">
              <a:buFontTx/>
              <a:buNone/>
              <a:defRPr sz="1600" b="0" i="0">
                <a:latin typeface="+mn-lt"/>
              </a:defRPr>
            </a:lvl1pPr>
          </a:lstStyle>
          <a:p>
            <a:pPr lvl="0"/>
            <a:r>
              <a:rPr lang="en-US"/>
              <a:t>Click to edit Master text styles</a:t>
            </a:r>
          </a:p>
        </p:txBody>
      </p:sp>
      <p:sp>
        <p:nvSpPr>
          <p:cNvPr id="36" name="Picture Placeholder 5">
            <a:extLst>
              <a:ext uri="{FF2B5EF4-FFF2-40B4-BE49-F238E27FC236}">
                <a16:creationId xmlns:a16="http://schemas.microsoft.com/office/drawing/2014/main" id="{951E437E-C5AA-3740-8222-BE69F3897B3F}"/>
              </a:ext>
              <a:ext uri="{C183D7F6-B498-43B3-948B-1728B52AA6E4}">
                <adec:decorative xmlns:adec="http://schemas.microsoft.com/office/drawing/2017/decorative" val="1"/>
              </a:ext>
            </a:extLst>
          </p:cNvPr>
          <p:cNvSpPr>
            <a:spLocks noGrp="1"/>
          </p:cNvSpPr>
          <p:nvPr>
            <p:ph type="pic" sz="quarter" idx="28" hasCustomPrompt="1"/>
          </p:nvPr>
        </p:nvSpPr>
        <p:spPr>
          <a:xfrm>
            <a:off x="2346752" y="2096646"/>
            <a:ext cx="2511750" cy="2514600"/>
          </a:xfrm>
        </p:spPr>
        <p:txBody>
          <a:bodyPr tIns="274320"/>
          <a:lstStyle>
            <a:lvl1pPr algn="ctr">
              <a:buNone/>
              <a:defRPr b="0" i="0"/>
            </a:lvl1pPr>
          </a:lstStyle>
          <a:p>
            <a:r>
              <a:rPr lang="en-US"/>
              <a:t>Click icon to insert image</a:t>
            </a:r>
          </a:p>
        </p:txBody>
      </p:sp>
      <p:sp>
        <p:nvSpPr>
          <p:cNvPr id="2" name="Date Placeholder 1" hidden="1">
            <a:extLst>
              <a:ext uri="{FF2B5EF4-FFF2-40B4-BE49-F238E27FC236}">
                <a16:creationId xmlns:a16="http://schemas.microsoft.com/office/drawing/2014/main" id="{BEC7E80B-BEA4-402F-83AA-50D9834C817E}"/>
              </a:ext>
            </a:extLst>
          </p:cNvPr>
          <p:cNvSpPr>
            <a:spLocks noGrp="1"/>
          </p:cNvSpPr>
          <p:nvPr>
            <p:ph type="dt" sz="half" idx="3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6" name="Footer Placeholder 5" hidden="1">
            <a:extLst>
              <a:ext uri="{FF2B5EF4-FFF2-40B4-BE49-F238E27FC236}">
                <a16:creationId xmlns:a16="http://schemas.microsoft.com/office/drawing/2014/main" id="{65FAC813-B34C-46E5-BA68-FE76BFC664A6}"/>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3" name="Logo protection area" hidden="1">
            <a:extLst>
              <a:ext uri="{FF2B5EF4-FFF2-40B4-BE49-F238E27FC236}">
                <a16:creationId xmlns:a16="http://schemas.microsoft.com/office/drawing/2014/main" id="{AB64CC43-6CA7-47D5-9DD9-C2EDD9A77B01}"/>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4" name="Layout protection area" hidden="1">
            <a:extLst>
              <a:ext uri="{FF2B5EF4-FFF2-40B4-BE49-F238E27FC236}">
                <a16:creationId xmlns:a16="http://schemas.microsoft.com/office/drawing/2014/main" id="{6D2EF5E1-D905-4BE3-B616-3494E88FD74B}"/>
              </a:ext>
            </a:extLst>
          </p:cNvPr>
          <p:cNvSpPr/>
          <p:nvPr userDrawn="1">
            <p:custDataLst>
              <p:tags r:id="rId2"/>
            </p:custDataLst>
          </p:nvPr>
        </p:nvSpPr>
        <p:spPr>
          <a:xfrm>
            <a:off x="0" y="0"/>
            <a:ext cx="12176098" cy="604361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7" name="Slide Number Placeholder 6">
            <a:extLst>
              <a:ext uri="{FF2B5EF4-FFF2-40B4-BE49-F238E27FC236}">
                <a16:creationId xmlns:a16="http://schemas.microsoft.com/office/drawing/2014/main" id="{7F380CA8-A72A-4D2A-9CC8-3A5723A3AB1D}"/>
              </a:ext>
            </a:extLst>
          </p:cNvPr>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393790869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600200"/>
            <a:ext cx="10790238" cy="4443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hidden="1">
            <a:extLst>
              <a:ext uri="{FF2B5EF4-FFF2-40B4-BE49-F238E27FC236}">
                <a16:creationId xmlns:a16="http://schemas.microsoft.com/office/drawing/2014/main" id="{8153539E-D099-44E0-AC29-B74CC82B36B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7" name="Footer Placeholder 6" hidden="1">
            <a:extLst>
              <a:ext uri="{FF2B5EF4-FFF2-40B4-BE49-F238E27FC236}">
                <a16:creationId xmlns:a16="http://schemas.microsoft.com/office/drawing/2014/main" id="{E2E13BFE-6D61-497B-A0E4-FA06616A4277}"/>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0" name="Logo protection area" hidden="1">
            <a:extLst>
              <a:ext uri="{FF2B5EF4-FFF2-40B4-BE49-F238E27FC236}">
                <a16:creationId xmlns:a16="http://schemas.microsoft.com/office/drawing/2014/main" id="{7260B781-E1A9-4555-BAEE-99144EF1DCD7}"/>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2" name="Layout Protection area" hidden="1">
            <a:extLst>
              <a:ext uri="{FF2B5EF4-FFF2-40B4-BE49-F238E27FC236}">
                <a16:creationId xmlns:a16="http://schemas.microsoft.com/office/drawing/2014/main" id="{381E4F0A-A432-4918-9B69-F5EA1B24858D}"/>
              </a:ext>
            </a:extLst>
          </p:cNvPr>
          <p:cNvSpPr/>
          <p:nvPr userDrawn="1">
            <p:custDataLst>
              <p:tags r:id="rId2"/>
            </p:custDataLst>
          </p:nvPr>
        </p:nvSpPr>
        <p:spPr>
          <a:xfrm>
            <a:off x="664420" y="1572242"/>
            <a:ext cx="10841780" cy="449963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9" name="Slide Number Placeholder 8">
            <a:extLst>
              <a:ext uri="{FF2B5EF4-FFF2-40B4-BE49-F238E27FC236}">
                <a16:creationId xmlns:a16="http://schemas.microsoft.com/office/drawing/2014/main" id="{1674D08F-C59E-41EA-9DED-3ACD8C9096F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1794260982"/>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Right phot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85801" y="291164"/>
            <a:ext cx="5067300" cy="763921"/>
          </a:xfrm>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1" y="1512889"/>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438901" y="0"/>
            <a:ext cx="5067300" cy="6172200"/>
          </a:xfrm>
        </p:spPr>
        <p:txBody>
          <a:bodyPr anchor="ctr"/>
          <a:lstStyle>
            <a:lvl1pPr marL="0" indent="0" algn="ctr">
              <a:buFontTx/>
              <a:buNone/>
              <a:defRPr/>
            </a:lvl1pPr>
          </a:lstStyle>
          <a:p>
            <a:r>
              <a:rPr lang="en-US"/>
              <a:t>Click icon to add picture</a:t>
            </a:r>
          </a:p>
        </p:txBody>
      </p:sp>
    </p:spTree>
    <p:extLst>
      <p:ext uri="{BB962C8B-B14F-4D97-AF65-F5344CB8AC3E}">
        <p14:creationId xmlns:p14="http://schemas.microsoft.com/office/powerpoint/2010/main" val="1740475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Left phot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438901" y="291164"/>
            <a:ext cx="5067300" cy="763921"/>
          </a:xfrm>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438901" y="1512889"/>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85802" y="0"/>
            <a:ext cx="5067300" cy="6172200"/>
          </a:xfrm>
        </p:spPr>
        <p:txBody>
          <a:bodyPr anchor="ctr"/>
          <a:lstStyle>
            <a:lvl1pPr marL="0" indent="0" algn="ctr">
              <a:buFontTx/>
              <a:buNone/>
              <a:defRPr/>
            </a:lvl1pPr>
          </a:lstStyle>
          <a:p>
            <a:r>
              <a:rPr lang="en-US"/>
              <a:t>Click icon to add picture</a:t>
            </a:r>
          </a:p>
        </p:txBody>
      </p:sp>
    </p:spTree>
    <p:extLst>
      <p:ext uri="{BB962C8B-B14F-4D97-AF65-F5344CB8AC3E}">
        <p14:creationId xmlns:p14="http://schemas.microsoft.com/office/powerpoint/2010/main" val="831489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Desktop screensho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EE61D8BA-E221-A125-81DF-429264D551D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099760" y="1376117"/>
            <a:ext cx="6405429" cy="4810161"/>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45" name="Content Placeholder 10">
            <a:extLst>
              <a:ext uri="{FF2B5EF4-FFF2-40B4-BE49-F238E27FC236}">
                <a16:creationId xmlns:a16="http://schemas.microsoft.com/office/drawing/2014/main" id="{91512ACD-98F8-1DF9-A26C-08BAD30630A0}"/>
              </a:ext>
            </a:extLst>
          </p:cNvPr>
          <p:cNvSpPr>
            <a:spLocks noGrp="1"/>
          </p:cNvSpPr>
          <p:nvPr>
            <p:ph sz="quarter" idx="13"/>
          </p:nvPr>
        </p:nvSpPr>
        <p:spPr>
          <a:xfrm>
            <a:off x="685801" y="1512889"/>
            <a:ext cx="3728665"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1" name="Picture Placeholder 10">
            <a:extLst>
              <a:ext uri="{FF2B5EF4-FFF2-40B4-BE49-F238E27FC236}">
                <a16:creationId xmlns:a16="http://schemas.microsoft.com/office/drawing/2014/main" id="{B123846E-28CF-F1A3-7A94-7E35AC0FF255}"/>
              </a:ext>
            </a:extLst>
          </p:cNvPr>
          <p:cNvSpPr>
            <a:spLocks noGrp="1"/>
          </p:cNvSpPr>
          <p:nvPr>
            <p:ph type="pic" sz="quarter" idx="11"/>
          </p:nvPr>
        </p:nvSpPr>
        <p:spPr>
          <a:xfrm>
            <a:off x="5257800" y="1524590"/>
            <a:ext cx="6090867" cy="3808823"/>
          </a:xfrm>
          <a:solidFill>
            <a:schemeClr val="bg1"/>
          </a:solidFill>
        </p:spPr>
        <p:txBody>
          <a:bodyPr anchor="t"/>
          <a:lstStyle>
            <a:lvl1pPr marL="0" indent="0" algn="ctr">
              <a:buFontTx/>
              <a:buNone/>
              <a:defRPr>
                <a:solidFill>
                  <a:schemeClr val="tx1"/>
                </a:solidFill>
              </a:defRPr>
            </a:lvl1pPr>
          </a:lstStyle>
          <a:p>
            <a:r>
              <a:rPr lang="en-US"/>
              <a:t>Click icon to add picture</a:t>
            </a:r>
          </a:p>
        </p:txBody>
      </p:sp>
    </p:spTree>
    <p:extLst>
      <p:ext uri="{BB962C8B-B14F-4D97-AF65-F5344CB8AC3E}">
        <p14:creationId xmlns:p14="http://schemas.microsoft.com/office/powerpoint/2010/main" val="34043748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 phone screenshot">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22F87334-7DAB-C84A-0BD0-2AEE3DF66F46}"/>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7056387" y="1277668"/>
            <a:ext cx="2597120" cy="5230821"/>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a:xfrm>
            <a:off x="685800" y="291164"/>
            <a:ext cx="10820400" cy="763921"/>
          </a:xfrm>
        </p:spPr>
        <p:txBody>
          <a:bodyPr/>
          <a:lstStyle/>
          <a:p>
            <a:r>
              <a:rPr lang="en-US"/>
              <a:t>Click to edit Master title style</a:t>
            </a:r>
          </a:p>
        </p:txBody>
      </p:sp>
      <p:sp>
        <p:nvSpPr>
          <p:cNvPr id="45" name="Content Placeholder 10">
            <a:extLst>
              <a:ext uri="{FF2B5EF4-FFF2-40B4-BE49-F238E27FC236}">
                <a16:creationId xmlns:a16="http://schemas.microsoft.com/office/drawing/2014/main" id="{91512ACD-98F8-1DF9-A26C-08BAD30630A0}"/>
              </a:ext>
            </a:extLst>
          </p:cNvPr>
          <p:cNvSpPr>
            <a:spLocks noGrp="1"/>
          </p:cNvSpPr>
          <p:nvPr>
            <p:ph sz="quarter" idx="13"/>
          </p:nvPr>
        </p:nvSpPr>
        <p:spPr>
          <a:xfrm>
            <a:off x="685800" y="1512889"/>
            <a:ext cx="4523024"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10">
            <a:extLst>
              <a:ext uri="{FF2B5EF4-FFF2-40B4-BE49-F238E27FC236}">
                <a16:creationId xmlns:a16="http://schemas.microsoft.com/office/drawing/2014/main" id="{C3C7FFE0-FFF8-0555-2536-90FCAA157992}"/>
              </a:ext>
            </a:extLst>
          </p:cNvPr>
          <p:cNvSpPr>
            <a:spLocks noGrp="1"/>
          </p:cNvSpPr>
          <p:nvPr>
            <p:ph type="pic" sz="quarter" idx="14"/>
          </p:nvPr>
        </p:nvSpPr>
        <p:spPr>
          <a:xfrm>
            <a:off x="7233295" y="1854095"/>
            <a:ext cx="2248436" cy="4083000"/>
          </a:xfrm>
          <a:prstGeom prst="rect">
            <a:avLst/>
          </a:prstGeom>
          <a:solidFill>
            <a:schemeClr val="bg1"/>
          </a:solidFill>
        </p:spPr>
        <p:txBody>
          <a:bodyPr anchor="t"/>
          <a:lstStyle>
            <a:lvl1pPr algn="ctr">
              <a:buFontTx/>
              <a:buNone/>
              <a:defRPr>
                <a:solidFill>
                  <a:schemeClr val="tx1"/>
                </a:solidFill>
              </a:defRPr>
            </a:lvl1pPr>
          </a:lstStyle>
          <a:p>
            <a:r>
              <a:rPr lang="en-US"/>
              <a:t>Click icon to add picture</a:t>
            </a:r>
          </a:p>
        </p:txBody>
      </p:sp>
    </p:spTree>
    <p:extLst>
      <p:ext uri="{BB962C8B-B14F-4D97-AF65-F5344CB8AC3E}">
        <p14:creationId xmlns:p14="http://schemas.microsoft.com/office/powerpoint/2010/main" val="2100069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phone screenshots">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AF0B1F6B-C065-D8E5-188E-3A5AA25B29C0}"/>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5894624" y="1285349"/>
            <a:ext cx="2591992" cy="5220491"/>
          </a:xfrm>
          <a:prstGeom prst="rect">
            <a:avLst/>
          </a:prstGeom>
        </p:spPr>
      </p:pic>
      <p:pic>
        <p:nvPicPr>
          <p:cNvPr id="9" name="Picture 8">
            <a:extLst>
              <a:ext uri="{FF2B5EF4-FFF2-40B4-BE49-F238E27FC236}">
                <a16:creationId xmlns:a16="http://schemas.microsoft.com/office/drawing/2014/main" id="{176E6C2C-AF2C-2988-5FC7-26CCA58417A3}"/>
              </a:ext>
            </a:extLst>
          </p:cNvPr>
          <p:cNvPicPr>
            <a:picLocks noChangeAspect="1"/>
          </p:cNvPicPr>
          <p:nvPr userDrawn="1"/>
        </p:nvPicPr>
        <p:blipFill>
          <a:blip r:embed="rId2">
            <a:extLst>
              <a:ext uri="{28A0092B-C50C-407E-A947-70E740481C1C}">
                <a14:useLocalDpi xmlns:a14="http://schemas.microsoft.com/office/drawing/2010/main"/>
              </a:ext>
            </a:extLst>
          </a:blip>
          <a:srcRect/>
          <a:stretch/>
        </p:blipFill>
        <p:spPr>
          <a:xfrm>
            <a:off x="8914208" y="1285349"/>
            <a:ext cx="2591992" cy="5220491"/>
          </a:xfrm>
          <a:prstGeom prst="rect">
            <a:avLst/>
          </a:prstGeom>
        </p:spPr>
      </p:pic>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a:xfrm>
            <a:off x="685800" y="291164"/>
            <a:ext cx="10820400" cy="763921"/>
          </a:xfrm>
        </p:spPr>
        <p:txBody>
          <a:bodyPr/>
          <a:lstStyle/>
          <a:p>
            <a:r>
              <a:rPr lang="en-US"/>
              <a:t>Click to edit Master title style</a:t>
            </a:r>
          </a:p>
        </p:txBody>
      </p:sp>
      <p:sp>
        <p:nvSpPr>
          <p:cNvPr id="45" name="Content Placeholder 10">
            <a:extLst>
              <a:ext uri="{FF2B5EF4-FFF2-40B4-BE49-F238E27FC236}">
                <a16:creationId xmlns:a16="http://schemas.microsoft.com/office/drawing/2014/main" id="{91512ACD-98F8-1DF9-A26C-08BAD30630A0}"/>
              </a:ext>
            </a:extLst>
          </p:cNvPr>
          <p:cNvSpPr>
            <a:spLocks noGrp="1"/>
          </p:cNvSpPr>
          <p:nvPr>
            <p:ph sz="quarter" idx="13"/>
          </p:nvPr>
        </p:nvSpPr>
        <p:spPr>
          <a:xfrm>
            <a:off x="685800" y="1512889"/>
            <a:ext cx="4523024"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Picture Placeholder 10">
            <a:extLst>
              <a:ext uri="{FF2B5EF4-FFF2-40B4-BE49-F238E27FC236}">
                <a16:creationId xmlns:a16="http://schemas.microsoft.com/office/drawing/2014/main" id="{C3C7FFE0-FFF8-0555-2536-90FCAA157992}"/>
              </a:ext>
            </a:extLst>
          </p:cNvPr>
          <p:cNvSpPr>
            <a:spLocks noGrp="1"/>
          </p:cNvSpPr>
          <p:nvPr>
            <p:ph type="pic" sz="quarter" idx="14"/>
          </p:nvPr>
        </p:nvSpPr>
        <p:spPr>
          <a:xfrm>
            <a:off x="6066403" y="1854095"/>
            <a:ext cx="2248436" cy="4083000"/>
          </a:xfrm>
          <a:prstGeom prst="rect">
            <a:avLst/>
          </a:prstGeom>
          <a:solidFill>
            <a:schemeClr val="bg1"/>
          </a:solidFill>
        </p:spPr>
        <p:txBody>
          <a:bodyPr anchor="t"/>
          <a:lstStyle>
            <a:lvl1pPr algn="ctr">
              <a:buFontTx/>
              <a:buNone/>
              <a:defRPr>
                <a:solidFill>
                  <a:schemeClr val="tx1"/>
                </a:solidFill>
              </a:defRPr>
            </a:lvl1pPr>
          </a:lstStyle>
          <a:p>
            <a:r>
              <a:rPr lang="en-US"/>
              <a:t>Click icon to add picture</a:t>
            </a:r>
          </a:p>
        </p:txBody>
      </p:sp>
      <p:sp>
        <p:nvSpPr>
          <p:cNvPr id="11" name="Picture Placeholder 10">
            <a:extLst>
              <a:ext uri="{FF2B5EF4-FFF2-40B4-BE49-F238E27FC236}">
                <a16:creationId xmlns:a16="http://schemas.microsoft.com/office/drawing/2014/main" id="{2F6CF489-FEF2-3377-6E9C-8A6F69B0BBF2}"/>
              </a:ext>
            </a:extLst>
          </p:cNvPr>
          <p:cNvSpPr>
            <a:spLocks noGrp="1"/>
          </p:cNvSpPr>
          <p:nvPr>
            <p:ph type="pic" sz="quarter" idx="15"/>
          </p:nvPr>
        </p:nvSpPr>
        <p:spPr>
          <a:xfrm>
            <a:off x="9085987" y="1854095"/>
            <a:ext cx="2248436" cy="4083000"/>
          </a:xfrm>
          <a:prstGeom prst="rect">
            <a:avLst/>
          </a:prstGeom>
          <a:solidFill>
            <a:schemeClr val="bg1"/>
          </a:solidFill>
        </p:spPr>
        <p:txBody>
          <a:bodyPr anchor="t"/>
          <a:lstStyle>
            <a:lvl1pPr algn="ctr">
              <a:buFontTx/>
              <a:buNone/>
              <a:defRPr>
                <a:solidFill>
                  <a:schemeClr val="tx1"/>
                </a:solidFill>
              </a:defRPr>
            </a:lvl1pPr>
          </a:lstStyle>
          <a:p>
            <a:r>
              <a:rPr lang="en-US"/>
              <a:t>Click icon to add picture</a:t>
            </a:r>
          </a:p>
        </p:txBody>
      </p:sp>
    </p:spTree>
    <p:extLst>
      <p:ext uri="{BB962C8B-B14F-4D97-AF65-F5344CB8AC3E}">
        <p14:creationId xmlns:p14="http://schemas.microsoft.com/office/powerpoint/2010/main" val="3023399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 present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458B068-4A37-1379-BA4D-B9FF41934F9C}"/>
              </a:ext>
            </a:extLst>
          </p:cNvPr>
          <p:cNvSpPr/>
          <p:nvPr userDrawn="1"/>
        </p:nvSpPr>
        <p:spPr>
          <a:xfrm>
            <a:off x="0" y="1512888"/>
            <a:ext cx="12192000" cy="465931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11" name="Picture Placeholder 10">
            <a:extLst>
              <a:ext uri="{FF2B5EF4-FFF2-40B4-BE49-F238E27FC236}">
                <a16:creationId xmlns:a16="http://schemas.microsoft.com/office/drawing/2014/main" id="{C8330049-5DC1-9BE1-3086-3724A629E245}"/>
              </a:ext>
            </a:extLst>
          </p:cNvPr>
          <p:cNvSpPr>
            <a:spLocks noGrp="1"/>
          </p:cNvSpPr>
          <p:nvPr>
            <p:ph type="pic" sz="quarter" idx="10"/>
          </p:nvPr>
        </p:nvSpPr>
        <p:spPr>
          <a:xfrm>
            <a:off x="685800" y="2198847"/>
            <a:ext cx="3287395" cy="3287395"/>
          </a:xfrm>
          <a:solidFill>
            <a:schemeClr val="bg1"/>
          </a:solidFill>
        </p:spPr>
        <p:txBody>
          <a:bodyPr anchor="ctr"/>
          <a:lstStyle>
            <a:lvl1pPr marL="0" indent="0" algn="ctr">
              <a:buFontTx/>
              <a:buNone/>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4659154" y="2198847"/>
            <a:ext cx="6847047" cy="3287395"/>
          </a:xfrm>
        </p:spPr>
        <p:txBody>
          <a:bodyPr anchor="ctr">
            <a:noAutofit/>
          </a:bodyPr>
          <a:lstStyle>
            <a:lvl1pPr marL="0" indent="0" algn="l">
              <a:spcAft>
                <a:spcPts val="600"/>
              </a:spcAft>
              <a:buFontTx/>
              <a:buNone/>
              <a:defRPr sz="2800">
                <a:solidFill>
                  <a:schemeClr val="bg1"/>
                </a:solidFill>
                <a:latin typeface="+mj-lt"/>
              </a:defRPr>
            </a:lvl1pPr>
            <a:lvl2pPr marL="0" indent="0" algn="l">
              <a:spcAft>
                <a:spcPts val="600"/>
              </a:spcAft>
              <a:buFontTx/>
              <a:buNone/>
              <a:defRPr sz="2000">
                <a:solidFill>
                  <a:schemeClr val="bg1"/>
                </a:solidFill>
              </a:defRPr>
            </a:lvl2pPr>
            <a:lvl3pPr marL="0" indent="0" algn="l">
              <a:spcAft>
                <a:spcPts val="600"/>
              </a:spcAft>
              <a:buFontTx/>
              <a:buNone/>
              <a:defRPr sz="2000">
                <a:solidFill>
                  <a:schemeClr val="bg1"/>
                </a:solidFill>
              </a:defRPr>
            </a:lvl3pPr>
            <a:lvl4pPr marL="0" indent="0" algn="l">
              <a:spcAft>
                <a:spcPts val="600"/>
              </a:spcAft>
              <a:buFontTx/>
              <a:buNone/>
              <a:defRPr sz="2000">
                <a:solidFill>
                  <a:schemeClr val="bg1"/>
                </a:solidFill>
              </a:defRPr>
            </a:lvl4pPr>
            <a:lvl5pPr marL="0" indent="0" algn="l">
              <a:spcAft>
                <a:spcPts val="600"/>
              </a:spcAft>
              <a:buFontTx/>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84981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2 present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A458B068-4A37-1379-BA4D-B9FF41934F9C}"/>
              </a:ext>
            </a:extLst>
          </p:cNvPr>
          <p:cNvSpPr/>
          <p:nvPr userDrawn="1"/>
        </p:nvSpPr>
        <p:spPr>
          <a:xfrm>
            <a:off x="0" y="1512888"/>
            <a:ext cx="12192000" cy="4659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11" name="Picture Placeholder 10">
            <a:extLst>
              <a:ext uri="{FF2B5EF4-FFF2-40B4-BE49-F238E27FC236}">
                <a16:creationId xmlns:a16="http://schemas.microsoft.com/office/drawing/2014/main" id="{C8330049-5DC1-9BE1-3086-3724A629E245}"/>
              </a:ext>
            </a:extLst>
          </p:cNvPr>
          <p:cNvSpPr>
            <a:spLocks noGrp="1"/>
          </p:cNvSpPr>
          <p:nvPr>
            <p:ph type="pic" sz="quarter" idx="10"/>
          </p:nvPr>
        </p:nvSpPr>
        <p:spPr>
          <a:xfrm>
            <a:off x="2210596"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1" y="4063049"/>
            <a:ext cx="5067300" cy="1926273"/>
          </a:xfrm>
        </p:spPr>
        <p:txBody>
          <a:bodyPr>
            <a:noAutofit/>
          </a:bodyPr>
          <a:lstStyle>
            <a:lvl1pPr marL="0" indent="0" algn="ctr">
              <a:spcAft>
                <a:spcPts val="600"/>
              </a:spcAft>
              <a:buFontTx/>
              <a:buNone/>
              <a:defRPr sz="2400">
                <a:latin typeface="+mj-lt"/>
              </a:defRPr>
            </a:lvl1pPr>
            <a:lvl2pPr marL="0" indent="0" algn="ctr">
              <a:spcAft>
                <a:spcPts val="600"/>
              </a:spcAft>
              <a:buFontTx/>
              <a:buNone/>
              <a:defRPr sz="1600"/>
            </a:lvl2pPr>
            <a:lvl3pPr marL="0" indent="0" algn="ctr">
              <a:spcAft>
                <a:spcPts val="600"/>
              </a:spcAft>
              <a:buFontTx/>
              <a:buNone/>
              <a:defRPr sz="1600"/>
            </a:lvl3pPr>
            <a:lvl4pPr marL="0" indent="0" algn="ctr">
              <a:spcAft>
                <a:spcPts val="600"/>
              </a:spcAft>
              <a:buFontTx/>
              <a:buNone/>
              <a:defRPr sz="1600"/>
            </a:lvl4pPr>
            <a:lvl5pPr marL="0" indent="0" algn="ctr">
              <a:spcAft>
                <a:spcPts val="600"/>
              </a:spcAft>
              <a:buFontTx/>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Picture Placeholder 10">
            <a:extLst>
              <a:ext uri="{FF2B5EF4-FFF2-40B4-BE49-F238E27FC236}">
                <a16:creationId xmlns:a16="http://schemas.microsoft.com/office/drawing/2014/main" id="{C55D5E14-B4A0-82AA-0E2C-3E22FBBCE4C7}"/>
              </a:ext>
            </a:extLst>
          </p:cNvPr>
          <p:cNvSpPr>
            <a:spLocks noGrp="1"/>
          </p:cNvSpPr>
          <p:nvPr>
            <p:ph type="pic" sz="quarter" idx="12"/>
          </p:nvPr>
        </p:nvSpPr>
        <p:spPr>
          <a:xfrm>
            <a:off x="7963696"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6438901" y="4063049"/>
            <a:ext cx="5067300" cy="1926273"/>
          </a:xfrm>
        </p:spPr>
        <p:txBody>
          <a:bodyPr>
            <a:noAutofit/>
          </a:bodyPr>
          <a:lstStyle>
            <a:lvl1pPr marL="0" indent="0" algn="ctr">
              <a:spcAft>
                <a:spcPts val="600"/>
              </a:spcAft>
              <a:buFontTx/>
              <a:buNone/>
              <a:defRPr sz="2400">
                <a:latin typeface="+mj-lt"/>
              </a:defRPr>
            </a:lvl1pPr>
            <a:lvl2pPr marL="0" indent="0" algn="ctr">
              <a:spcAft>
                <a:spcPts val="600"/>
              </a:spcAft>
              <a:buFontTx/>
              <a:buNone/>
              <a:defRPr sz="1600"/>
            </a:lvl2pPr>
            <a:lvl3pPr marL="0" indent="0" algn="ctr">
              <a:spcAft>
                <a:spcPts val="600"/>
              </a:spcAft>
              <a:buFontTx/>
              <a:buNone/>
              <a:defRPr sz="1600"/>
            </a:lvl3pPr>
            <a:lvl4pPr marL="0" indent="0" algn="ctr">
              <a:spcAft>
                <a:spcPts val="600"/>
              </a:spcAft>
              <a:buFontTx/>
              <a:buNone/>
              <a:defRPr sz="1600"/>
            </a:lvl4pPr>
            <a:lvl5pPr marL="0" indent="0" algn="ctr">
              <a:spcAft>
                <a:spcPts val="600"/>
              </a:spcAft>
              <a:buFontTx/>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Rectangle 26">
            <a:extLst>
              <a:ext uri="{FF2B5EF4-FFF2-40B4-BE49-F238E27FC236}">
                <a16:creationId xmlns:a16="http://schemas.microsoft.com/office/drawing/2014/main" id="{290BAD14-E2B0-9D9E-34B1-2E11D29CCF7C}"/>
              </a:ext>
            </a:extLst>
          </p:cNvPr>
          <p:cNvSpPr/>
          <p:nvPr userDrawn="1"/>
        </p:nvSpPr>
        <p:spPr>
          <a:xfrm>
            <a:off x="2762251"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28" name="Rectangle 27">
            <a:extLst>
              <a:ext uri="{FF2B5EF4-FFF2-40B4-BE49-F238E27FC236}">
                <a16:creationId xmlns:a16="http://schemas.microsoft.com/office/drawing/2014/main" id="{EB286A98-CF41-C65A-14C0-2294A2C49AE5}"/>
              </a:ext>
            </a:extLst>
          </p:cNvPr>
          <p:cNvSpPr/>
          <p:nvPr userDrawn="1"/>
        </p:nvSpPr>
        <p:spPr>
          <a:xfrm>
            <a:off x="8515351"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Tree>
    <p:extLst>
      <p:ext uri="{BB962C8B-B14F-4D97-AF65-F5344CB8AC3E}">
        <p14:creationId xmlns:p14="http://schemas.microsoft.com/office/powerpoint/2010/main" val="12302030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3 present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A458B068-4A37-1379-BA4D-B9FF41934F9C}"/>
              </a:ext>
            </a:extLst>
          </p:cNvPr>
          <p:cNvSpPr/>
          <p:nvPr userDrawn="1"/>
        </p:nvSpPr>
        <p:spPr>
          <a:xfrm>
            <a:off x="0" y="1512888"/>
            <a:ext cx="12192000" cy="4659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11" name="Picture Placeholder 10">
            <a:extLst>
              <a:ext uri="{FF2B5EF4-FFF2-40B4-BE49-F238E27FC236}">
                <a16:creationId xmlns:a16="http://schemas.microsoft.com/office/drawing/2014/main" id="{C8330049-5DC1-9BE1-3086-3724A629E245}"/>
              </a:ext>
            </a:extLst>
          </p:cNvPr>
          <p:cNvSpPr>
            <a:spLocks noGrp="1"/>
          </p:cNvSpPr>
          <p:nvPr>
            <p:ph type="pic" sz="quarter" idx="10"/>
          </p:nvPr>
        </p:nvSpPr>
        <p:spPr>
          <a:xfrm>
            <a:off x="1251745"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4063049"/>
            <a:ext cx="3149600" cy="1926273"/>
          </a:xfrm>
        </p:spPr>
        <p:txBody>
          <a:bodyPr>
            <a:noAutofit/>
          </a:bodyPr>
          <a:lstStyle>
            <a:lvl1pPr marL="0" indent="0" algn="ctr">
              <a:spcAft>
                <a:spcPts val="600"/>
              </a:spcAft>
              <a:buFontTx/>
              <a:buNone/>
              <a:defRPr sz="2400">
                <a:latin typeface="+mj-lt"/>
              </a:defRPr>
            </a:lvl1pPr>
            <a:lvl2pPr marL="0" indent="0" algn="ctr">
              <a:spcAft>
                <a:spcPts val="600"/>
              </a:spcAft>
              <a:buFontTx/>
              <a:buNone/>
              <a:defRPr sz="1600"/>
            </a:lvl2pPr>
            <a:lvl3pPr marL="0" indent="0" algn="ctr">
              <a:spcAft>
                <a:spcPts val="600"/>
              </a:spcAft>
              <a:buFontTx/>
              <a:buNone/>
              <a:defRPr sz="1600"/>
            </a:lvl3pPr>
            <a:lvl4pPr marL="0" indent="0" algn="ctr">
              <a:spcAft>
                <a:spcPts val="600"/>
              </a:spcAft>
              <a:buFontTx/>
              <a:buNone/>
              <a:defRPr sz="1600"/>
            </a:lvl4pPr>
            <a:lvl5pPr marL="0" indent="0" algn="ctr">
              <a:spcAft>
                <a:spcPts val="600"/>
              </a:spcAft>
              <a:buFontTx/>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Picture Placeholder 10">
            <a:extLst>
              <a:ext uri="{FF2B5EF4-FFF2-40B4-BE49-F238E27FC236}">
                <a16:creationId xmlns:a16="http://schemas.microsoft.com/office/drawing/2014/main" id="{C55D5E14-B4A0-82AA-0E2C-3E22FBBCE4C7}"/>
              </a:ext>
            </a:extLst>
          </p:cNvPr>
          <p:cNvSpPr>
            <a:spLocks noGrp="1"/>
          </p:cNvSpPr>
          <p:nvPr>
            <p:ph type="pic" sz="quarter" idx="12"/>
          </p:nvPr>
        </p:nvSpPr>
        <p:spPr>
          <a:xfrm>
            <a:off x="5072541"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4506595" y="4063049"/>
            <a:ext cx="3149600" cy="1926273"/>
          </a:xfrm>
        </p:spPr>
        <p:txBody>
          <a:bodyPr>
            <a:noAutofit/>
          </a:bodyPr>
          <a:lstStyle>
            <a:lvl1pPr marL="0" indent="0" algn="ctr">
              <a:spcAft>
                <a:spcPts val="600"/>
              </a:spcAft>
              <a:buFontTx/>
              <a:buNone/>
              <a:defRPr sz="2400">
                <a:latin typeface="+mj-lt"/>
              </a:defRPr>
            </a:lvl1pPr>
            <a:lvl2pPr marL="0" indent="0" algn="ctr">
              <a:spcAft>
                <a:spcPts val="600"/>
              </a:spcAft>
              <a:buFontTx/>
              <a:buNone/>
              <a:defRPr sz="1600"/>
            </a:lvl2pPr>
            <a:lvl3pPr marL="0" indent="0" algn="ctr">
              <a:spcAft>
                <a:spcPts val="600"/>
              </a:spcAft>
              <a:buFontTx/>
              <a:buNone/>
              <a:defRPr sz="1600"/>
            </a:lvl3pPr>
            <a:lvl4pPr marL="0" indent="0" algn="ctr">
              <a:spcAft>
                <a:spcPts val="600"/>
              </a:spcAft>
              <a:buFontTx/>
              <a:buNone/>
              <a:defRPr sz="1600"/>
            </a:lvl4pPr>
            <a:lvl5pPr marL="0" indent="0" algn="ctr">
              <a:spcAft>
                <a:spcPts val="600"/>
              </a:spcAft>
              <a:buFontTx/>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Picture Placeholder 10">
            <a:extLst>
              <a:ext uri="{FF2B5EF4-FFF2-40B4-BE49-F238E27FC236}">
                <a16:creationId xmlns:a16="http://schemas.microsoft.com/office/drawing/2014/main" id="{4B540A39-E819-7E77-0B7A-4FB7F349368C}"/>
              </a:ext>
            </a:extLst>
          </p:cNvPr>
          <p:cNvSpPr>
            <a:spLocks noGrp="1"/>
          </p:cNvSpPr>
          <p:nvPr>
            <p:ph type="pic" sz="quarter" idx="14"/>
          </p:nvPr>
        </p:nvSpPr>
        <p:spPr>
          <a:xfrm>
            <a:off x="8893336"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8327391" y="4063049"/>
            <a:ext cx="3149600" cy="1926273"/>
          </a:xfrm>
        </p:spPr>
        <p:txBody>
          <a:bodyPr>
            <a:noAutofit/>
          </a:bodyPr>
          <a:lstStyle>
            <a:lvl1pPr marL="0" indent="0" algn="ctr">
              <a:spcAft>
                <a:spcPts val="600"/>
              </a:spcAft>
              <a:buFontTx/>
              <a:buNone/>
              <a:defRPr sz="2400">
                <a:latin typeface="+mj-lt"/>
              </a:defRPr>
            </a:lvl1pPr>
            <a:lvl2pPr marL="0" indent="0" algn="ctr">
              <a:spcAft>
                <a:spcPts val="600"/>
              </a:spcAft>
              <a:buFontTx/>
              <a:buNone/>
              <a:defRPr sz="1600"/>
            </a:lvl2pPr>
            <a:lvl3pPr marL="0" indent="0" algn="ctr">
              <a:spcAft>
                <a:spcPts val="600"/>
              </a:spcAft>
              <a:buFontTx/>
              <a:buNone/>
              <a:defRPr sz="1600"/>
            </a:lvl3pPr>
            <a:lvl4pPr marL="0" indent="0" algn="ctr">
              <a:spcAft>
                <a:spcPts val="600"/>
              </a:spcAft>
              <a:buFontTx/>
              <a:buNone/>
              <a:defRPr sz="1600"/>
            </a:lvl4pPr>
            <a:lvl5pPr marL="0" indent="0" algn="ctr">
              <a:spcAft>
                <a:spcPts val="600"/>
              </a:spcAft>
              <a:buFontTx/>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Rectangle 26">
            <a:extLst>
              <a:ext uri="{FF2B5EF4-FFF2-40B4-BE49-F238E27FC236}">
                <a16:creationId xmlns:a16="http://schemas.microsoft.com/office/drawing/2014/main" id="{290BAD14-E2B0-9D9E-34B1-2E11D29CCF7C}"/>
              </a:ext>
            </a:extLst>
          </p:cNvPr>
          <p:cNvSpPr/>
          <p:nvPr userDrawn="1"/>
        </p:nvSpPr>
        <p:spPr>
          <a:xfrm>
            <a:off x="1803400"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28" name="Rectangle 27">
            <a:extLst>
              <a:ext uri="{FF2B5EF4-FFF2-40B4-BE49-F238E27FC236}">
                <a16:creationId xmlns:a16="http://schemas.microsoft.com/office/drawing/2014/main" id="{EB286A98-CF41-C65A-14C0-2294A2C49AE5}"/>
              </a:ext>
            </a:extLst>
          </p:cNvPr>
          <p:cNvSpPr/>
          <p:nvPr userDrawn="1"/>
        </p:nvSpPr>
        <p:spPr>
          <a:xfrm>
            <a:off x="5624195"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29" name="Rectangle 28">
            <a:extLst>
              <a:ext uri="{FF2B5EF4-FFF2-40B4-BE49-F238E27FC236}">
                <a16:creationId xmlns:a16="http://schemas.microsoft.com/office/drawing/2014/main" id="{051583EF-8C95-7B75-AC82-402AF4D82BB6}"/>
              </a:ext>
            </a:extLst>
          </p:cNvPr>
          <p:cNvSpPr/>
          <p:nvPr userDrawn="1"/>
        </p:nvSpPr>
        <p:spPr>
          <a:xfrm>
            <a:off x="9444991"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Tree>
    <p:extLst>
      <p:ext uri="{BB962C8B-B14F-4D97-AF65-F5344CB8AC3E}">
        <p14:creationId xmlns:p14="http://schemas.microsoft.com/office/powerpoint/2010/main" val="3725662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 present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A458B068-4A37-1379-BA4D-B9FF41934F9C}"/>
              </a:ext>
            </a:extLst>
          </p:cNvPr>
          <p:cNvSpPr/>
          <p:nvPr userDrawn="1"/>
        </p:nvSpPr>
        <p:spPr>
          <a:xfrm>
            <a:off x="0" y="1512888"/>
            <a:ext cx="12192000" cy="4659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11" name="Picture Placeholder 10">
            <a:extLst>
              <a:ext uri="{FF2B5EF4-FFF2-40B4-BE49-F238E27FC236}">
                <a16:creationId xmlns:a16="http://schemas.microsoft.com/office/drawing/2014/main" id="{C8330049-5DC1-9BE1-3086-3724A629E245}"/>
              </a:ext>
            </a:extLst>
          </p:cNvPr>
          <p:cNvSpPr>
            <a:spLocks noGrp="1"/>
          </p:cNvSpPr>
          <p:nvPr>
            <p:ph type="pic" sz="quarter" idx="10"/>
          </p:nvPr>
        </p:nvSpPr>
        <p:spPr>
          <a:xfrm>
            <a:off x="960916"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1" y="4063049"/>
            <a:ext cx="2567940"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Picture Placeholder 10">
            <a:extLst>
              <a:ext uri="{FF2B5EF4-FFF2-40B4-BE49-F238E27FC236}">
                <a16:creationId xmlns:a16="http://schemas.microsoft.com/office/drawing/2014/main" id="{C55D5E14-B4A0-82AA-0E2C-3E22FBBCE4C7}"/>
              </a:ext>
            </a:extLst>
          </p:cNvPr>
          <p:cNvSpPr>
            <a:spLocks noGrp="1"/>
          </p:cNvSpPr>
          <p:nvPr>
            <p:ph type="pic" sz="quarter" idx="12"/>
          </p:nvPr>
        </p:nvSpPr>
        <p:spPr>
          <a:xfrm>
            <a:off x="3711736"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3436621" y="4063049"/>
            <a:ext cx="2567940"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Picture Placeholder 10">
            <a:extLst>
              <a:ext uri="{FF2B5EF4-FFF2-40B4-BE49-F238E27FC236}">
                <a16:creationId xmlns:a16="http://schemas.microsoft.com/office/drawing/2014/main" id="{4B540A39-E819-7E77-0B7A-4FB7F349368C}"/>
              </a:ext>
            </a:extLst>
          </p:cNvPr>
          <p:cNvSpPr>
            <a:spLocks noGrp="1"/>
          </p:cNvSpPr>
          <p:nvPr>
            <p:ph type="pic" sz="quarter" idx="14"/>
          </p:nvPr>
        </p:nvSpPr>
        <p:spPr>
          <a:xfrm>
            <a:off x="6462556"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6187441" y="4063049"/>
            <a:ext cx="2567940"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Picture Placeholder 10">
            <a:extLst>
              <a:ext uri="{FF2B5EF4-FFF2-40B4-BE49-F238E27FC236}">
                <a16:creationId xmlns:a16="http://schemas.microsoft.com/office/drawing/2014/main" id="{FFE5623D-A697-68A9-E96F-37F0ABF3E571}"/>
              </a:ext>
            </a:extLst>
          </p:cNvPr>
          <p:cNvSpPr>
            <a:spLocks noGrp="1"/>
          </p:cNvSpPr>
          <p:nvPr>
            <p:ph type="pic" sz="quarter" idx="16"/>
          </p:nvPr>
        </p:nvSpPr>
        <p:spPr>
          <a:xfrm>
            <a:off x="9213376"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4" name="Text Placeholder 13">
            <a:extLst>
              <a:ext uri="{FF2B5EF4-FFF2-40B4-BE49-F238E27FC236}">
                <a16:creationId xmlns:a16="http://schemas.microsoft.com/office/drawing/2014/main" id="{8FBD5088-1055-4D2D-75C6-BBCAC6C0DA94}"/>
              </a:ext>
            </a:extLst>
          </p:cNvPr>
          <p:cNvSpPr>
            <a:spLocks noGrp="1"/>
          </p:cNvSpPr>
          <p:nvPr>
            <p:ph type="body" sz="quarter" idx="17"/>
          </p:nvPr>
        </p:nvSpPr>
        <p:spPr>
          <a:xfrm>
            <a:off x="8938261" y="4063049"/>
            <a:ext cx="2567940"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Rectangle 26">
            <a:extLst>
              <a:ext uri="{FF2B5EF4-FFF2-40B4-BE49-F238E27FC236}">
                <a16:creationId xmlns:a16="http://schemas.microsoft.com/office/drawing/2014/main" id="{290BAD14-E2B0-9D9E-34B1-2E11D29CCF7C}"/>
              </a:ext>
            </a:extLst>
          </p:cNvPr>
          <p:cNvSpPr/>
          <p:nvPr userDrawn="1"/>
        </p:nvSpPr>
        <p:spPr>
          <a:xfrm>
            <a:off x="1512571"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28" name="Rectangle 27">
            <a:extLst>
              <a:ext uri="{FF2B5EF4-FFF2-40B4-BE49-F238E27FC236}">
                <a16:creationId xmlns:a16="http://schemas.microsoft.com/office/drawing/2014/main" id="{EB286A98-CF41-C65A-14C0-2294A2C49AE5}"/>
              </a:ext>
            </a:extLst>
          </p:cNvPr>
          <p:cNvSpPr/>
          <p:nvPr userDrawn="1"/>
        </p:nvSpPr>
        <p:spPr>
          <a:xfrm>
            <a:off x="4263391"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29" name="Rectangle 28">
            <a:extLst>
              <a:ext uri="{FF2B5EF4-FFF2-40B4-BE49-F238E27FC236}">
                <a16:creationId xmlns:a16="http://schemas.microsoft.com/office/drawing/2014/main" id="{051583EF-8C95-7B75-AC82-402AF4D82BB6}"/>
              </a:ext>
            </a:extLst>
          </p:cNvPr>
          <p:cNvSpPr/>
          <p:nvPr userDrawn="1"/>
        </p:nvSpPr>
        <p:spPr>
          <a:xfrm>
            <a:off x="7014211"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31" name="Rectangle 30">
            <a:extLst>
              <a:ext uri="{FF2B5EF4-FFF2-40B4-BE49-F238E27FC236}">
                <a16:creationId xmlns:a16="http://schemas.microsoft.com/office/drawing/2014/main" id="{CC9406F9-E529-7156-9A4D-C11A0FD758AB}"/>
              </a:ext>
            </a:extLst>
          </p:cNvPr>
          <p:cNvSpPr/>
          <p:nvPr userDrawn="1"/>
        </p:nvSpPr>
        <p:spPr>
          <a:xfrm>
            <a:off x="9765029"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Tree>
    <p:extLst>
      <p:ext uri="{BB962C8B-B14F-4D97-AF65-F5344CB8AC3E}">
        <p14:creationId xmlns:p14="http://schemas.microsoft.com/office/powerpoint/2010/main" val="31586753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5 presenter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A458B068-4A37-1379-BA4D-B9FF41934F9C}"/>
              </a:ext>
            </a:extLst>
          </p:cNvPr>
          <p:cNvSpPr/>
          <p:nvPr userDrawn="1"/>
        </p:nvSpPr>
        <p:spPr>
          <a:xfrm>
            <a:off x="0" y="1512888"/>
            <a:ext cx="12192000" cy="4659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11" name="Picture Placeholder 10">
            <a:extLst>
              <a:ext uri="{FF2B5EF4-FFF2-40B4-BE49-F238E27FC236}">
                <a16:creationId xmlns:a16="http://schemas.microsoft.com/office/drawing/2014/main" id="{C8330049-5DC1-9BE1-3086-3724A629E245}"/>
              </a:ext>
            </a:extLst>
          </p:cNvPr>
          <p:cNvSpPr>
            <a:spLocks noGrp="1"/>
          </p:cNvSpPr>
          <p:nvPr>
            <p:ph type="pic" sz="quarter" idx="10"/>
          </p:nvPr>
        </p:nvSpPr>
        <p:spPr>
          <a:xfrm>
            <a:off x="685801"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4063049"/>
            <a:ext cx="2017776"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Picture Placeholder 10">
            <a:extLst>
              <a:ext uri="{FF2B5EF4-FFF2-40B4-BE49-F238E27FC236}">
                <a16:creationId xmlns:a16="http://schemas.microsoft.com/office/drawing/2014/main" id="{C55D5E14-B4A0-82AA-0E2C-3E22FBBCE4C7}"/>
              </a:ext>
            </a:extLst>
          </p:cNvPr>
          <p:cNvSpPr>
            <a:spLocks noGrp="1"/>
          </p:cNvSpPr>
          <p:nvPr>
            <p:ph type="pic" sz="quarter" idx="12"/>
          </p:nvPr>
        </p:nvSpPr>
        <p:spPr>
          <a:xfrm>
            <a:off x="2886457"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2886455" y="4063049"/>
            <a:ext cx="2017776"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Picture Placeholder 10">
            <a:extLst>
              <a:ext uri="{FF2B5EF4-FFF2-40B4-BE49-F238E27FC236}">
                <a16:creationId xmlns:a16="http://schemas.microsoft.com/office/drawing/2014/main" id="{4B540A39-E819-7E77-0B7A-4FB7F349368C}"/>
              </a:ext>
            </a:extLst>
          </p:cNvPr>
          <p:cNvSpPr>
            <a:spLocks noGrp="1"/>
          </p:cNvSpPr>
          <p:nvPr>
            <p:ph type="pic" sz="quarter" idx="14"/>
          </p:nvPr>
        </p:nvSpPr>
        <p:spPr>
          <a:xfrm>
            <a:off x="5087049"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5087047" y="4063049"/>
            <a:ext cx="2017776"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Picture Placeholder 10">
            <a:extLst>
              <a:ext uri="{FF2B5EF4-FFF2-40B4-BE49-F238E27FC236}">
                <a16:creationId xmlns:a16="http://schemas.microsoft.com/office/drawing/2014/main" id="{FFE5623D-A697-68A9-E96F-37F0ABF3E571}"/>
              </a:ext>
            </a:extLst>
          </p:cNvPr>
          <p:cNvSpPr>
            <a:spLocks noGrp="1"/>
          </p:cNvSpPr>
          <p:nvPr>
            <p:ph type="pic" sz="quarter" idx="16"/>
          </p:nvPr>
        </p:nvSpPr>
        <p:spPr>
          <a:xfrm>
            <a:off x="7287833"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4" name="Text Placeholder 13">
            <a:extLst>
              <a:ext uri="{FF2B5EF4-FFF2-40B4-BE49-F238E27FC236}">
                <a16:creationId xmlns:a16="http://schemas.microsoft.com/office/drawing/2014/main" id="{8FBD5088-1055-4D2D-75C6-BBCAC6C0DA94}"/>
              </a:ext>
            </a:extLst>
          </p:cNvPr>
          <p:cNvSpPr>
            <a:spLocks noGrp="1"/>
          </p:cNvSpPr>
          <p:nvPr>
            <p:ph type="body" sz="quarter" idx="17"/>
          </p:nvPr>
        </p:nvSpPr>
        <p:spPr>
          <a:xfrm>
            <a:off x="7287831" y="4063049"/>
            <a:ext cx="2017776"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Picture Placeholder 10">
            <a:extLst>
              <a:ext uri="{FF2B5EF4-FFF2-40B4-BE49-F238E27FC236}">
                <a16:creationId xmlns:a16="http://schemas.microsoft.com/office/drawing/2014/main" id="{7D4A6FA6-D4EA-73D2-9664-2C41BBF3A1D2}"/>
              </a:ext>
            </a:extLst>
          </p:cNvPr>
          <p:cNvSpPr>
            <a:spLocks noGrp="1"/>
          </p:cNvSpPr>
          <p:nvPr>
            <p:ph type="pic" sz="quarter" idx="18"/>
          </p:nvPr>
        </p:nvSpPr>
        <p:spPr>
          <a:xfrm>
            <a:off x="9488489"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6" name="Text Placeholder 13">
            <a:extLst>
              <a:ext uri="{FF2B5EF4-FFF2-40B4-BE49-F238E27FC236}">
                <a16:creationId xmlns:a16="http://schemas.microsoft.com/office/drawing/2014/main" id="{0BD4B39B-AC15-5134-8FB0-5E5D6734410D}"/>
              </a:ext>
            </a:extLst>
          </p:cNvPr>
          <p:cNvSpPr>
            <a:spLocks noGrp="1"/>
          </p:cNvSpPr>
          <p:nvPr>
            <p:ph type="body" sz="quarter" idx="19"/>
          </p:nvPr>
        </p:nvSpPr>
        <p:spPr>
          <a:xfrm>
            <a:off x="9488487" y="4063049"/>
            <a:ext cx="2017776"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Rectangle 26">
            <a:extLst>
              <a:ext uri="{FF2B5EF4-FFF2-40B4-BE49-F238E27FC236}">
                <a16:creationId xmlns:a16="http://schemas.microsoft.com/office/drawing/2014/main" id="{290BAD14-E2B0-9D9E-34B1-2E11D29CCF7C}"/>
              </a:ext>
            </a:extLst>
          </p:cNvPr>
          <p:cNvSpPr/>
          <p:nvPr userDrawn="1"/>
        </p:nvSpPr>
        <p:spPr>
          <a:xfrm>
            <a:off x="1237456"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28" name="Rectangle 27">
            <a:extLst>
              <a:ext uri="{FF2B5EF4-FFF2-40B4-BE49-F238E27FC236}">
                <a16:creationId xmlns:a16="http://schemas.microsoft.com/office/drawing/2014/main" id="{EB286A98-CF41-C65A-14C0-2294A2C49AE5}"/>
              </a:ext>
            </a:extLst>
          </p:cNvPr>
          <p:cNvSpPr/>
          <p:nvPr userDrawn="1"/>
        </p:nvSpPr>
        <p:spPr>
          <a:xfrm>
            <a:off x="3438111"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29" name="Rectangle 28">
            <a:extLst>
              <a:ext uri="{FF2B5EF4-FFF2-40B4-BE49-F238E27FC236}">
                <a16:creationId xmlns:a16="http://schemas.microsoft.com/office/drawing/2014/main" id="{051583EF-8C95-7B75-AC82-402AF4D82BB6}"/>
              </a:ext>
            </a:extLst>
          </p:cNvPr>
          <p:cNvSpPr/>
          <p:nvPr userDrawn="1"/>
        </p:nvSpPr>
        <p:spPr>
          <a:xfrm>
            <a:off x="5638703"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31" name="Rectangle 30">
            <a:extLst>
              <a:ext uri="{FF2B5EF4-FFF2-40B4-BE49-F238E27FC236}">
                <a16:creationId xmlns:a16="http://schemas.microsoft.com/office/drawing/2014/main" id="{CC9406F9-E529-7156-9A4D-C11A0FD758AB}"/>
              </a:ext>
            </a:extLst>
          </p:cNvPr>
          <p:cNvSpPr/>
          <p:nvPr userDrawn="1"/>
        </p:nvSpPr>
        <p:spPr>
          <a:xfrm>
            <a:off x="7839487"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32" name="Rectangle 31">
            <a:extLst>
              <a:ext uri="{FF2B5EF4-FFF2-40B4-BE49-F238E27FC236}">
                <a16:creationId xmlns:a16="http://schemas.microsoft.com/office/drawing/2014/main" id="{90BDC15C-F656-F56E-2050-89622A1130D5}"/>
              </a:ext>
            </a:extLst>
          </p:cNvPr>
          <p:cNvSpPr/>
          <p:nvPr userDrawn="1"/>
        </p:nvSpPr>
        <p:spPr>
          <a:xfrm>
            <a:off x="10040143"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Tree>
    <p:extLst>
      <p:ext uri="{BB962C8B-B14F-4D97-AF65-F5344CB8AC3E}">
        <p14:creationId xmlns:p14="http://schemas.microsoft.com/office/powerpoint/2010/main" val="929536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Screenshot">
    <p:spTree>
      <p:nvGrpSpPr>
        <p:cNvPr id="1" name=""/>
        <p:cNvGrpSpPr/>
        <p:nvPr/>
      </p:nvGrpSpPr>
      <p:grpSpPr>
        <a:xfrm>
          <a:off x="0" y="0"/>
          <a:ext cx="0" cy="0"/>
          <a:chOff x="0" y="0"/>
          <a:chExt cx="0" cy="0"/>
        </a:xfrm>
      </p:grpSpPr>
      <p:sp>
        <p:nvSpPr>
          <p:cNvPr id="10" name="Logo protection area" hidden="1">
            <a:extLst>
              <a:ext uri="{FF2B5EF4-FFF2-40B4-BE49-F238E27FC236}">
                <a16:creationId xmlns:a16="http://schemas.microsoft.com/office/drawing/2014/main" id="{7260B781-E1A9-4555-BAEE-99144EF1DCD7}"/>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2" name="Layout Protection area" hidden="1">
            <a:extLst>
              <a:ext uri="{FF2B5EF4-FFF2-40B4-BE49-F238E27FC236}">
                <a16:creationId xmlns:a16="http://schemas.microsoft.com/office/drawing/2014/main" id="{381E4F0A-A432-4918-9B69-F5EA1B24858D}"/>
              </a:ext>
            </a:extLst>
          </p:cNvPr>
          <p:cNvSpPr/>
          <p:nvPr userDrawn="1">
            <p:custDataLst>
              <p:tags r:id="rId2"/>
            </p:custDataLst>
          </p:nvPr>
        </p:nvSpPr>
        <p:spPr>
          <a:xfrm>
            <a:off x="664420" y="1572242"/>
            <a:ext cx="10841780" cy="449963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3" name="Title 7">
            <a:extLst>
              <a:ext uri="{FF2B5EF4-FFF2-40B4-BE49-F238E27FC236}">
                <a16:creationId xmlns:a16="http://schemas.microsoft.com/office/drawing/2014/main" id="{D823F5EA-E527-4E3C-9E1E-85967B4B3F59}"/>
              </a:ext>
            </a:extLst>
          </p:cNvPr>
          <p:cNvSpPr>
            <a:spLocks noGrp="1"/>
          </p:cNvSpPr>
          <p:nvPr>
            <p:ph type="title"/>
          </p:nvPr>
        </p:nvSpPr>
        <p:spPr>
          <a:xfrm>
            <a:off x="266701" y="291162"/>
            <a:ext cx="11209019" cy="699438"/>
          </a:xfrm>
        </p:spPr>
        <p:txBody>
          <a:bodyPr anchor="t"/>
          <a:lstStyle>
            <a:lvl1pPr>
              <a:defRPr sz="2000">
                <a:latin typeface="+mj-lt"/>
              </a:defRPr>
            </a:lvl1pPr>
          </a:lstStyle>
          <a:p>
            <a:r>
              <a:rPr lang="en-US"/>
              <a:t>Click to edit Master title style</a:t>
            </a:r>
          </a:p>
        </p:txBody>
      </p:sp>
      <p:sp>
        <p:nvSpPr>
          <p:cNvPr id="15" name="Picture Placeholder 3">
            <a:extLst>
              <a:ext uri="{FF2B5EF4-FFF2-40B4-BE49-F238E27FC236}">
                <a16:creationId xmlns:a16="http://schemas.microsoft.com/office/drawing/2014/main" id="{82F653FC-938F-4D9D-93E8-F893AEDBF01E}"/>
              </a:ext>
            </a:extLst>
          </p:cNvPr>
          <p:cNvSpPr>
            <a:spLocks noGrp="1"/>
          </p:cNvSpPr>
          <p:nvPr>
            <p:ph type="pic" sz="quarter" idx="13" hasCustomPrompt="1"/>
          </p:nvPr>
        </p:nvSpPr>
        <p:spPr>
          <a:xfrm>
            <a:off x="266700" y="1219200"/>
            <a:ext cx="11658599" cy="5372100"/>
          </a:xfrm>
          <a:prstGeom prst="rect">
            <a:avLst/>
          </a:prstGeom>
        </p:spPr>
        <p:txBody>
          <a:bodyPr/>
          <a:lstStyle>
            <a:lvl1pPr marL="0" indent="0">
              <a:buFontTx/>
              <a:buNone/>
              <a:defRPr/>
            </a:lvl1pPr>
          </a:lstStyle>
          <a:p>
            <a:r>
              <a:rPr lang="en-US"/>
              <a:t> </a:t>
            </a:r>
          </a:p>
        </p:txBody>
      </p:sp>
    </p:spTree>
    <p:extLst>
      <p:ext uri="{BB962C8B-B14F-4D97-AF65-F5344CB8AC3E}">
        <p14:creationId xmlns:p14="http://schemas.microsoft.com/office/powerpoint/2010/main" val="3012195684"/>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Statement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97D650F5-02C4-4367-7CCB-BF5C6356B05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2"/>
            <a:ext cx="12192000" cy="6857999"/>
          </a:xfrm>
          <a:prstGeom prst="rect">
            <a:avLst/>
          </a:prstGeom>
        </p:spPr>
      </p:pic>
      <p:sp>
        <p:nvSpPr>
          <p:cNvPr id="4" name="Rectangle 3">
            <a:extLst>
              <a:ext uri="{FF2B5EF4-FFF2-40B4-BE49-F238E27FC236}">
                <a16:creationId xmlns:a16="http://schemas.microsoft.com/office/drawing/2014/main" id="{F05185E2-9673-6C9D-2844-23102D01977B}"/>
              </a:ext>
            </a:extLst>
          </p:cNvPr>
          <p:cNvSpPr/>
          <p:nvPr userDrawn="1"/>
        </p:nvSpPr>
        <p:spPr>
          <a:xfrm>
            <a:off x="685802" y="685800"/>
            <a:ext cx="10820399" cy="54864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6" name="Text Placeholder 5">
            <a:extLst>
              <a:ext uri="{FF2B5EF4-FFF2-40B4-BE49-F238E27FC236}">
                <a16:creationId xmlns:a16="http://schemas.microsoft.com/office/drawing/2014/main" id="{1642A00F-54BB-8B45-F744-EDB5E6EC1D52}"/>
              </a:ext>
            </a:extLst>
          </p:cNvPr>
          <p:cNvSpPr>
            <a:spLocks noGrp="1"/>
          </p:cNvSpPr>
          <p:nvPr>
            <p:ph type="body" sz="quarter" idx="10"/>
          </p:nvPr>
        </p:nvSpPr>
        <p:spPr>
          <a:xfrm>
            <a:off x="1371602" y="1371600"/>
            <a:ext cx="9448799" cy="4114800"/>
          </a:xfrm>
        </p:spPr>
        <p:txBody>
          <a:bodyPr anchor="ctr">
            <a:normAutofit/>
          </a:bodyPr>
          <a:lstStyle>
            <a:lvl1pPr marL="0" indent="0">
              <a:lnSpc>
                <a:spcPct val="114000"/>
              </a:lnSpc>
              <a:buFontTx/>
              <a:buNone/>
              <a:defRPr sz="4800"/>
            </a:lvl1pPr>
            <a:lvl2pPr marL="228594" indent="0">
              <a:buFontTx/>
              <a:buNone/>
              <a:defRPr/>
            </a:lvl2pPr>
            <a:lvl3pPr marL="457189" indent="0">
              <a:buFontTx/>
              <a:buNone/>
              <a:defRPr/>
            </a:lvl3pPr>
            <a:lvl4pPr marL="685783" indent="0">
              <a:buFontTx/>
              <a:buNone/>
              <a:defRPr/>
            </a:lvl4pPr>
            <a:lvl5pPr marL="914377" indent="0">
              <a:buFontTx/>
              <a:buNone/>
              <a:defRPr/>
            </a:lvl5pPr>
          </a:lstStyle>
          <a:p>
            <a:pPr lvl="0"/>
            <a:r>
              <a:rPr lang="en-US"/>
              <a:t>Click to edit Master text styles</a:t>
            </a:r>
          </a:p>
        </p:txBody>
      </p:sp>
      <p:sp>
        <p:nvSpPr>
          <p:cNvPr id="9" name="Rectangle 8">
            <a:extLst>
              <a:ext uri="{FF2B5EF4-FFF2-40B4-BE49-F238E27FC236}">
                <a16:creationId xmlns:a16="http://schemas.microsoft.com/office/drawing/2014/main" id="{110F5277-A33D-418F-D2C6-D592A839955C}"/>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tx1"/>
                </a:solidFill>
                <a:effectLst/>
                <a:uLnTx/>
                <a:uFillTx/>
                <a:latin typeface="+mn-lt"/>
                <a:ea typeface="Roboto" panose="02000000000000000000" pitchFamily="2" charset="0"/>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Roboto" panose="02000000000000000000" pitchFamily="2" charset="0"/>
            </a:endParaRPr>
          </a:p>
        </p:txBody>
      </p:sp>
    </p:spTree>
    <p:extLst>
      <p:ext uri="{BB962C8B-B14F-4D97-AF65-F5344CB8AC3E}">
        <p14:creationId xmlns:p14="http://schemas.microsoft.com/office/powerpoint/2010/main" val="54592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B025453-BE26-F326-3D6A-465736963F4E}"/>
              </a:ext>
            </a:extLst>
          </p:cNvPr>
          <p:cNvSpPr/>
          <p:nvPr userDrawn="1"/>
        </p:nvSpPr>
        <p:spPr>
          <a:xfrm>
            <a:off x="685800" y="0"/>
            <a:ext cx="72136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10" name="Text Placeholder 9">
            <a:extLst>
              <a:ext uri="{FF2B5EF4-FFF2-40B4-BE49-F238E27FC236}">
                <a16:creationId xmlns:a16="http://schemas.microsoft.com/office/drawing/2014/main" id="{7C2B7EDE-3E4D-A42F-6EDB-938924D40BD5}"/>
              </a:ext>
            </a:extLst>
          </p:cNvPr>
          <p:cNvSpPr>
            <a:spLocks noGrp="1"/>
          </p:cNvSpPr>
          <p:nvPr>
            <p:ph type="body" sz="quarter" idx="10"/>
          </p:nvPr>
        </p:nvSpPr>
        <p:spPr>
          <a:xfrm>
            <a:off x="1371599" y="1282700"/>
            <a:ext cx="5842003" cy="4292600"/>
          </a:xfrm>
        </p:spPr>
        <p:txBody>
          <a:bodyPr anchor="ctr">
            <a:normAutofit/>
          </a:bodyPr>
          <a:lstStyle>
            <a:lvl1pPr marL="0" indent="0" algn="ctr">
              <a:buFontTx/>
              <a:buNone/>
              <a:defRPr sz="4800">
                <a:latin typeface="+mj-lt"/>
              </a:defRPr>
            </a:lvl1pPr>
            <a:lvl2pPr marL="0" indent="0" algn="ctr">
              <a:buFontTx/>
              <a:buNone/>
              <a:defRPr sz="4800"/>
            </a:lvl2pPr>
            <a:lvl3pPr marL="0" indent="0" algn="ctr">
              <a:buFontTx/>
              <a:buNone/>
              <a:defRPr sz="4800"/>
            </a:lvl3pPr>
            <a:lvl4pPr marL="0" indent="0" algn="ctr">
              <a:buFontTx/>
              <a:buNone/>
              <a:defRPr sz="4800"/>
            </a:lvl4pPr>
            <a:lvl5pPr marL="0" indent="0" algn="ctr">
              <a:buFontTx/>
              <a:buNone/>
              <a:defRPr sz="4800"/>
            </a:lvl5pPr>
          </a:lstStyle>
          <a:p>
            <a:pPr lvl="0"/>
            <a:r>
              <a:rPr lang="en-US"/>
              <a:t>Click to edit Master text styles</a:t>
            </a:r>
          </a:p>
        </p:txBody>
      </p:sp>
      <p:sp>
        <p:nvSpPr>
          <p:cNvPr id="18" name="Text Placeholder 9">
            <a:extLst>
              <a:ext uri="{FF2B5EF4-FFF2-40B4-BE49-F238E27FC236}">
                <a16:creationId xmlns:a16="http://schemas.microsoft.com/office/drawing/2014/main" id="{5561EF12-1FFB-2B94-BBCA-3B6687E7DACB}"/>
              </a:ext>
            </a:extLst>
          </p:cNvPr>
          <p:cNvSpPr>
            <a:spLocks noGrp="1"/>
          </p:cNvSpPr>
          <p:nvPr>
            <p:ph type="body" sz="quarter" idx="11"/>
          </p:nvPr>
        </p:nvSpPr>
        <p:spPr>
          <a:xfrm>
            <a:off x="8585200" y="1762126"/>
            <a:ext cx="2921000" cy="3333751"/>
          </a:xfrm>
        </p:spPr>
        <p:txBody>
          <a:bodyPr anchor="ctr"/>
          <a:lstStyle>
            <a:lvl1pPr marL="0" indent="0" algn="ctr">
              <a:buFontTx/>
              <a:buNone/>
              <a:defRPr sz="2800">
                <a:latin typeface="+mj-lt"/>
              </a:defRPr>
            </a:lvl1pPr>
            <a:lvl2pPr marL="0" indent="0" algn="ctr">
              <a:buFontTx/>
              <a:buNone/>
              <a:defRPr sz="1800"/>
            </a:lvl2pPr>
            <a:lvl3pPr marL="0" indent="0" algn="ctr">
              <a:buFontTx/>
              <a:buNone/>
              <a:defRPr sz="1800"/>
            </a:lvl3pPr>
            <a:lvl4pPr marL="0" indent="0" algn="ctr">
              <a:buFontTx/>
              <a:buNone/>
              <a:defRPr sz="1800"/>
            </a:lvl4pPr>
            <a:lvl5pPr marL="0" indent="0" algn="ctr">
              <a:buFontTx/>
              <a:buNone/>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5" name="Freeform 9">
            <a:extLst>
              <a:ext uri="{FF2B5EF4-FFF2-40B4-BE49-F238E27FC236}">
                <a16:creationId xmlns:a16="http://schemas.microsoft.com/office/drawing/2014/main" id="{E222D11C-6C38-D23E-DCE5-B1D60411FDDB}"/>
              </a:ext>
            </a:extLst>
          </p:cNvPr>
          <p:cNvSpPr>
            <a:spLocks noEditPoints="1"/>
          </p:cNvSpPr>
          <p:nvPr userDrawn="1"/>
        </p:nvSpPr>
        <p:spPr bwMode="auto">
          <a:xfrm>
            <a:off x="393903" y="1"/>
            <a:ext cx="2036287" cy="1282700"/>
          </a:xfrm>
          <a:custGeom>
            <a:avLst/>
            <a:gdLst>
              <a:gd name="T0" fmla="*/ 12959 w 13716"/>
              <a:gd name="T1" fmla="*/ 583 h 8640"/>
              <a:gd name="T2" fmla="*/ 11830 w 13716"/>
              <a:gd name="T3" fmla="*/ 907 h 8640"/>
              <a:gd name="T4" fmla="*/ 10967 w 13716"/>
              <a:gd name="T5" fmla="*/ 1404 h 8640"/>
              <a:gd name="T6" fmla="*/ 10386 w 13716"/>
              <a:gd name="T7" fmla="*/ 2104 h 8640"/>
              <a:gd name="T8" fmla="*/ 10105 w 13716"/>
              <a:gd name="T9" fmla="*/ 3048 h 8640"/>
              <a:gd name="T10" fmla="*/ 12111 w 13716"/>
              <a:gd name="T11" fmla="*/ 3281 h 8640"/>
              <a:gd name="T12" fmla="*/ 12811 w 13716"/>
              <a:gd name="T13" fmla="*/ 3704 h 8640"/>
              <a:gd name="T14" fmla="*/ 13335 w 13716"/>
              <a:gd name="T15" fmla="*/ 4301 h 8640"/>
              <a:gd name="T16" fmla="*/ 13647 w 13716"/>
              <a:gd name="T17" fmla="*/ 5095 h 8640"/>
              <a:gd name="T18" fmla="*/ 13702 w 13716"/>
              <a:gd name="T19" fmla="*/ 6121 h 8640"/>
              <a:gd name="T20" fmla="*/ 13414 w 13716"/>
              <a:gd name="T21" fmla="*/ 7115 h 8640"/>
              <a:gd name="T22" fmla="*/ 12821 w 13716"/>
              <a:gd name="T23" fmla="*/ 7883 h 8640"/>
              <a:gd name="T24" fmla="*/ 11979 w 13716"/>
              <a:gd name="T25" fmla="*/ 8394 h 8640"/>
              <a:gd name="T26" fmla="*/ 10960 w 13716"/>
              <a:gd name="T27" fmla="*/ 8630 h 8640"/>
              <a:gd name="T28" fmla="*/ 10173 w 13716"/>
              <a:gd name="T29" fmla="*/ 8613 h 8640"/>
              <a:gd name="T30" fmla="*/ 9571 w 13716"/>
              <a:gd name="T31" fmla="*/ 8483 h 8640"/>
              <a:gd name="T32" fmla="*/ 9024 w 13716"/>
              <a:gd name="T33" fmla="*/ 8246 h 8640"/>
              <a:gd name="T34" fmla="*/ 8547 w 13716"/>
              <a:gd name="T35" fmla="*/ 7916 h 8640"/>
              <a:gd name="T36" fmla="*/ 8140 w 13716"/>
              <a:gd name="T37" fmla="*/ 7496 h 8640"/>
              <a:gd name="T38" fmla="*/ 7805 w 13716"/>
              <a:gd name="T39" fmla="*/ 6997 h 8640"/>
              <a:gd name="T40" fmla="*/ 7550 w 13716"/>
              <a:gd name="T41" fmla="*/ 6421 h 8640"/>
              <a:gd name="T42" fmla="*/ 7322 w 13716"/>
              <a:gd name="T43" fmla="*/ 5383 h 8640"/>
              <a:gd name="T44" fmla="*/ 7313 w 13716"/>
              <a:gd name="T45" fmla="*/ 4130 h 8640"/>
              <a:gd name="T46" fmla="*/ 7484 w 13716"/>
              <a:gd name="T47" fmla="*/ 3117 h 8640"/>
              <a:gd name="T48" fmla="*/ 7811 w 13716"/>
              <a:gd name="T49" fmla="*/ 2209 h 8640"/>
              <a:gd name="T50" fmla="*/ 8296 w 13716"/>
              <a:gd name="T51" fmla="*/ 1411 h 8640"/>
              <a:gd name="T52" fmla="*/ 8934 w 13716"/>
              <a:gd name="T53" fmla="*/ 723 h 8640"/>
              <a:gd name="T54" fmla="*/ 9721 w 13716"/>
              <a:gd name="T55" fmla="*/ 154 h 8640"/>
              <a:gd name="T56" fmla="*/ 2314 w 13716"/>
              <a:gd name="T57" fmla="*/ 229 h 8640"/>
              <a:gd name="T58" fmla="*/ 1549 w 13716"/>
              <a:gd name="T59" fmla="*/ 816 h 8640"/>
              <a:gd name="T60" fmla="*/ 931 w 13716"/>
              <a:gd name="T61" fmla="*/ 1517 h 8640"/>
              <a:gd name="T62" fmla="*/ 470 w 13716"/>
              <a:gd name="T63" fmla="*/ 2335 h 8640"/>
              <a:gd name="T64" fmla="*/ 167 w 13716"/>
              <a:gd name="T65" fmla="*/ 3257 h 8640"/>
              <a:gd name="T66" fmla="*/ 18 w 13716"/>
              <a:gd name="T67" fmla="*/ 4281 h 8640"/>
              <a:gd name="T68" fmla="*/ 62 w 13716"/>
              <a:gd name="T69" fmla="*/ 5583 h 8640"/>
              <a:gd name="T70" fmla="*/ 299 w 13716"/>
              <a:gd name="T71" fmla="*/ 6509 h 8640"/>
              <a:gd name="T72" fmla="*/ 563 w 13716"/>
              <a:gd name="T73" fmla="*/ 7075 h 8640"/>
              <a:gd name="T74" fmla="*/ 907 w 13716"/>
              <a:gd name="T75" fmla="*/ 7562 h 8640"/>
              <a:gd name="T76" fmla="*/ 1324 w 13716"/>
              <a:gd name="T77" fmla="*/ 7967 h 8640"/>
              <a:gd name="T78" fmla="*/ 1812 w 13716"/>
              <a:gd name="T79" fmla="*/ 8285 h 8640"/>
              <a:gd name="T80" fmla="*/ 2369 w 13716"/>
              <a:gd name="T81" fmla="*/ 8504 h 8640"/>
              <a:gd name="T82" fmla="*/ 2982 w 13716"/>
              <a:gd name="T83" fmla="*/ 8622 h 8640"/>
              <a:gd name="T84" fmla="*/ 3830 w 13716"/>
              <a:gd name="T85" fmla="*/ 8613 h 8640"/>
              <a:gd name="T86" fmla="*/ 4830 w 13716"/>
              <a:gd name="T87" fmla="*/ 8340 h 8640"/>
              <a:gd name="T88" fmla="*/ 5640 w 13716"/>
              <a:gd name="T89" fmla="*/ 7788 h 8640"/>
              <a:gd name="T90" fmla="*/ 6191 w 13716"/>
              <a:gd name="T91" fmla="*/ 6988 h 8640"/>
              <a:gd name="T92" fmla="*/ 6424 w 13716"/>
              <a:gd name="T93" fmla="*/ 5962 h 8640"/>
              <a:gd name="T94" fmla="*/ 6330 w 13716"/>
              <a:gd name="T95" fmla="*/ 4971 h 8640"/>
              <a:gd name="T96" fmla="*/ 5987 w 13716"/>
              <a:gd name="T97" fmla="*/ 4205 h 8640"/>
              <a:gd name="T98" fmla="*/ 5436 w 13716"/>
              <a:gd name="T99" fmla="*/ 3632 h 8640"/>
              <a:gd name="T100" fmla="*/ 4713 w 13716"/>
              <a:gd name="T101" fmla="*/ 3231 h 8640"/>
              <a:gd name="T102" fmla="*/ 2840 w 13716"/>
              <a:gd name="T103" fmla="*/ 2894 h 8640"/>
              <a:gd name="T104" fmla="*/ 3166 w 13716"/>
              <a:gd name="T105" fmla="*/ 1990 h 8640"/>
              <a:gd name="T106" fmla="*/ 3788 w 13716"/>
              <a:gd name="T107" fmla="*/ 1318 h 8640"/>
              <a:gd name="T108" fmla="*/ 4692 w 13716"/>
              <a:gd name="T109" fmla="*/ 853 h 8640"/>
              <a:gd name="T110" fmla="*/ 5855 w 13716"/>
              <a:gd name="T111" fmla="*/ 546 h 8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716" h="8640">
                <a:moveTo>
                  <a:pt x="10005" y="0"/>
                </a:moveTo>
                <a:lnTo>
                  <a:pt x="13716" y="0"/>
                </a:lnTo>
                <a:lnTo>
                  <a:pt x="13716" y="457"/>
                </a:lnTo>
                <a:lnTo>
                  <a:pt x="13519" y="484"/>
                </a:lnTo>
                <a:lnTo>
                  <a:pt x="13329" y="514"/>
                </a:lnTo>
                <a:lnTo>
                  <a:pt x="13142" y="546"/>
                </a:lnTo>
                <a:lnTo>
                  <a:pt x="12959" y="583"/>
                </a:lnTo>
                <a:lnTo>
                  <a:pt x="12784" y="621"/>
                </a:lnTo>
                <a:lnTo>
                  <a:pt x="12610" y="660"/>
                </a:lnTo>
                <a:lnTo>
                  <a:pt x="12446" y="703"/>
                </a:lnTo>
                <a:lnTo>
                  <a:pt x="12282" y="753"/>
                </a:lnTo>
                <a:lnTo>
                  <a:pt x="12126" y="798"/>
                </a:lnTo>
                <a:lnTo>
                  <a:pt x="11977" y="853"/>
                </a:lnTo>
                <a:lnTo>
                  <a:pt x="11830" y="907"/>
                </a:lnTo>
                <a:lnTo>
                  <a:pt x="11692" y="967"/>
                </a:lnTo>
                <a:lnTo>
                  <a:pt x="11557" y="1033"/>
                </a:lnTo>
                <a:lnTo>
                  <a:pt x="11428" y="1096"/>
                </a:lnTo>
                <a:lnTo>
                  <a:pt x="11303" y="1167"/>
                </a:lnTo>
                <a:lnTo>
                  <a:pt x="11186" y="1242"/>
                </a:lnTo>
                <a:lnTo>
                  <a:pt x="11074" y="1318"/>
                </a:lnTo>
                <a:lnTo>
                  <a:pt x="10967" y="1404"/>
                </a:lnTo>
                <a:lnTo>
                  <a:pt x="10865" y="1489"/>
                </a:lnTo>
                <a:lnTo>
                  <a:pt x="10770" y="1579"/>
                </a:lnTo>
                <a:lnTo>
                  <a:pt x="10683" y="1673"/>
                </a:lnTo>
                <a:lnTo>
                  <a:pt x="10602" y="1775"/>
                </a:lnTo>
                <a:lnTo>
                  <a:pt x="10523" y="1880"/>
                </a:lnTo>
                <a:lnTo>
                  <a:pt x="10452" y="1990"/>
                </a:lnTo>
                <a:lnTo>
                  <a:pt x="10386" y="2104"/>
                </a:lnTo>
                <a:lnTo>
                  <a:pt x="10328" y="2222"/>
                </a:lnTo>
                <a:lnTo>
                  <a:pt x="10275" y="2348"/>
                </a:lnTo>
                <a:lnTo>
                  <a:pt x="10228" y="2476"/>
                </a:lnTo>
                <a:lnTo>
                  <a:pt x="10186" y="2611"/>
                </a:lnTo>
                <a:lnTo>
                  <a:pt x="10153" y="2749"/>
                </a:lnTo>
                <a:lnTo>
                  <a:pt x="10128" y="2894"/>
                </a:lnTo>
                <a:lnTo>
                  <a:pt x="10105" y="3048"/>
                </a:lnTo>
                <a:lnTo>
                  <a:pt x="11404" y="3048"/>
                </a:lnTo>
                <a:lnTo>
                  <a:pt x="11527" y="3078"/>
                </a:lnTo>
                <a:lnTo>
                  <a:pt x="11647" y="3111"/>
                </a:lnTo>
                <a:lnTo>
                  <a:pt x="11766" y="3149"/>
                </a:lnTo>
                <a:lnTo>
                  <a:pt x="11884" y="3188"/>
                </a:lnTo>
                <a:lnTo>
                  <a:pt x="12002" y="3231"/>
                </a:lnTo>
                <a:lnTo>
                  <a:pt x="12111" y="3281"/>
                </a:lnTo>
                <a:lnTo>
                  <a:pt x="12221" y="3330"/>
                </a:lnTo>
                <a:lnTo>
                  <a:pt x="12327" y="3381"/>
                </a:lnTo>
                <a:lnTo>
                  <a:pt x="12429" y="3438"/>
                </a:lnTo>
                <a:lnTo>
                  <a:pt x="12528" y="3500"/>
                </a:lnTo>
                <a:lnTo>
                  <a:pt x="12628" y="3564"/>
                </a:lnTo>
                <a:lnTo>
                  <a:pt x="12721" y="3632"/>
                </a:lnTo>
                <a:lnTo>
                  <a:pt x="12811" y="3704"/>
                </a:lnTo>
                <a:lnTo>
                  <a:pt x="12896" y="3779"/>
                </a:lnTo>
                <a:lnTo>
                  <a:pt x="12979" y="3855"/>
                </a:lnTo>
                <a:lnTo>
                  <a:pt x="13058" y="3936"/>
                </a:lnTo>
                <a:lnTo>
                  <a:pt x="13133" y="4020"/>
                </a:lnTo>
                <a:lnTo>
                  <a:pt x="13204" y="4112"/>
                </a:lnTo>
                <a:lnTo>
                  <a:pt x="13272" y="4205"/>
                </a:lnTo>
                <a:lnTo>
                  <a:pt x="13335" y="4301"/>
                </a:lnTo>
                <a:lnTo>
                  <a:pt x="13392" y="4404"/>
                </a:lnTo>
                <a:lnTo>
                  <a:pt x="13447" y="4507"/>
                </a:lnTo>
                <a:lnTo>
                  <a:pt x="13498" y="4620"/>
                </a:lnTo>
                <a:lnTo>
                  <a:pt x="13542" y="4731"/>
                </a:lnTo>
                <a:lnTo>
                  <a:pt x="13584" y="4849"/>
                </a:lnTo>
                <a:lnTo>
                  <a:pt x="13617" y="4971"/>
                </a:lnTo>
                <a:lnTo>
                  <a:pt x="13647" y="5095"/>
                </a:lnTo>
                <a:lnTo>
                  <a:pt x="13671" y="5227"/>
                </a:lnTo>
                <a:lnTo>
                  <a:pt x="13692" y="5364"/>
                </a:lnTo>
                <a:lnTo>
                  <a:pt x="13704" y="5502"/>
                </a:lnTo>
                <a:lnTo>
                  <a:pt x="13711" y="5649"/>
                </a:lnTo>
                <a:lnTo>
                  <a:pt x="13716" y="5795"/>
                </a:lnTo>
                <a:lnTo>
                  <a:pt x="13711" y="5962"/>
                </a:lnTo>
                <a:lnTo>
                  <a:pt x="13702" y="6121"/>
                </a:lnTo>
                <a:lnTo>
                  <a:pt x="13683" y="6277"/>
                </a:lnTo>
                <a:lnTo>
                  <a:pt x="13654" y="6425"/>
                </a:lnTo>
                <a:lnTo>
                  <a:pt x="13621" y="6575"/>
                </a:lnTo>
                <a:lnTo>
                  <a:pt x="13579" y="6715"/>
                </a:lnTo>
                <a:lnTo>
                  <a:pt x="13533" y="6856"/>
                </a:lnTo>
                <a:lnTo>
                  <a:pt x="13474" y="6988"/>
                </a:lnTo>
                <a:lnTo>
                  <a:pt x="13414" y="7115"/>
                </a:lnTo>
                <a:lnTo>
                  <a:pt x="13348" y="7239"/>
                </a:lnTo>
                <a:lnTo>
                  <a:pt x="13273" y="7358"/>
                </a:lnTo>
                <a:lnTo>
                  <a:pt x="13192" y="7472"/>
                </a:lnTo>
                <a:lnTo>
                  <a:pt x="13109" y="7584"/>
                </a:lnTo>
                <a:lnTo>
                  <a:pt x="13016" y="7689"/>
                </a:lnTo>
                <a:lnTo>
                  <a:pt x="12922" y="7788"/>
                </a:lnTo>
                <a:lnTo>
                  <a:pt x="12821" y="7883"/>
                </a:lnTo>
                <a:lnTo>
                  <a:pt x="12716" y="7971"/>
                </a:lnTo>
                <a:lnTo>
                  <a:pt x="12604" y="8054"/>
                </a:lnTo>
                <a:lnTo>
                  <a:pt x="12489" y="8133"/>
                </a:lnTo>
                <a:lnTo>
                  <a:pt x="12366" y="8208"/>
                </a:lnTo>
                <a:lnTo>
                  <a:pt x="12242" y="8276"/>
                </a:lnTo>
                <a:lnTo>
                  <a:pt x="12111" y="8340"/>
                </a:lnTo>
                <a:lnTo>
                  <a:pt x="11979" y="8394"/>
                </a:lnTo>
                <a:lnTo>
                  <a:pt x="11845" y="8445"/>
                </a:lnTo>
                <a:lnTo>
                  <a:pt x="11704" y="8492"/>
                </a:lnTo>
                <a:lnTo>
                  <a:pt x="11565" y="8528"/>
                </a:lnTo>
                <a:lnTo>
                  <a:pt x="11414" y="8564"/>
                </a:lnTo>
                <a:lnTo>
                  <a:pt x="11266" y="8592"/>
                </a:lnTo>
                <a:lnTo>
                  <a:pt x="11116" y="8613"/>
                </a:lnTo>
                <a:lnTo>
                  <a:pt x="10960" y="8630"/>
                </a:lnTo>
                <a:lnTo>
                  <a:pt x="10803" y="8636"/>
                </a:lnTo>
                <a:lnTo>
                  <a:pt x="10646" y="8640"/>
                </a:lnTo>
                <a:lnTo>
                  <a:pt x="10547" y="8640"/>
                </a:lnTo>
                <a:lnTo>
                  <a:pt x="10452" y="8636"/>
                </a:lnTo>
                <a:lnTo>
                  <a:pt x="10361" y="8630"/>
                </a:lnTo>
                <a:lnTo>
                  <a:pt x="10266" y="8622"/>
                </a:lnTo>
                <a:lnTo>
                  <a:pt x="10173" y="8613"/>
                </a:lnTo>
                <a:lnTo>
                  <a:pt x="10086" y="8601"/>
                </a:lnTo>
                <a:lnTo>
                  <a:pt x="9997" y="8585"/>
                </a:lnTo>
                <a:lnTo>
                  <a:pt x="9910" y="8570"/>
                </a:lnTo>
                <a:lnTo>
                  <a:pt x="9822" y="8549"/>
                </a:lnTo>
                <a:lnTo>
                  <a:pt x="9736" y="8528"/>
                </a:lnTo>
                <a:lnTo>
                  <a:pt x="9652" y="8504"/>
                </a:lnTo>
                <a:lnTo>
                  <a:pt x="9571" y="8483"/>
                </a:lnTo>
                <a:lnTo>
                  <a:pt x="9490" y="8451"/>
                </a:lnTo>
                <a:lnTo>
                  <a:pt x="9409" y="8423"/>
                </a:lnTo>
                <a:lnTo>
                  <a:pt x="9328" y="8390"/>
                </a:lnTo>
                <a:lnTo>
                  <a:pt x="9253" y="8360"/>
                </a:lnTo>
                <a:lnTo>
                  <a:pt x="9173" y="8322"/>
                </a:lnTo>
                <a:lnTo>
                  <a:pt x="9099" y="8285"/>
                </a:lnTo>
                <a:lnTo>
                  <a:pt x="9024" y="8246"/>
                </a:lnTo>
                <a:lnTo>
                  <a:pt x="8954" y="8204"/>
                </a:lnTo>
                <a:lnTo>
                  <a:pt x="8883" y="8159"/>
                </a:lnTo>
                <a:lnTo>
                  <a:pt x="8811" y="8115"/>
                </a:lnTo>
                <a:lnTo>
                  <a:pt x="8744" y="8069"/>
                </a:lnTo>
                <a:lnTo>
                  <a:pt x="8675" y="8019"/>
                </a:lnTo>
                <a:lnTo>
                  <a:pt x="8612" y="7967"/>
                </a:lnTo>
                <a:lnTo>
                  <a:pt x="8547" y="7916"/>
                </a:lnTo>
                <a:lnTo>
                  <a:pt x="8484" y="7863"/>
                </a:lnTo>
                <a:lnTo>
                  <a:pt x="8422" y="7803"/>
                </a:lnTo>
                <a:lnTo>
                  <a:pt x="8365" y="7746"/>
                </a:lnTo>
                <a:lnTo>
                  <a:pt x="8305" y="7688"/>
                </a:lnTo>
                <a:lnTo>
                  <a:pt x="8248" y="7626"/>
                </a:lnTo>
                <a:lnTo>
                  <a:pt x="8191" y="7562"/>
                </a:lnTo>
                <a:lnTo>
                  <a:pt x="8140" y="7496"/>
                </a:lnTo>
                <a:lnTo>
                  <a:pt x="8086" y="7428"/>
                </a:lnTo>
                <a:lnTo>
                  <a:pt x="8035" y="7362"/>
                </a:lnTo>
                <a:lnTo>
                  <a:pt x="7987" y="7295"/>
                </a:lnTo>
                <a:lnTo>
                  <a:pt x="7940" y="7220"/>
                </a:lnTo>
                <a:lnTo>
                  <a:pt x="7892" y="7150"/>
                </a:lnTo>
                <a:lnTo>
                  <a:pt x="7849" y="7075"/>
                </a:lnTo>
                <a:lnTo>
                  <a:pt x="7805" y="6997"/>
                </a:lnTo>
                <a:lnTo>
                  <a:pt x="7765" y="6919"/>
                </a:lnTo>
                <a:lnTo>
                  <a:pt x="7723" y="6841"/>
                </a:lnTo>
                <a:lnTo>
                  <a:pt x="7687" y="6760"/>
                </a:lnTo>
                <a:lnTo>
                  <a:pt x="7649" y="6677"/>
                </a:lnTo>
                <a:lnTo>
                  <a:pt x="7616" y="6595"/>
                </a:lnTo>
                <a:lnTo>
                  <a:pt x="7580" y="6509"/>
                </a:lnTo>
                <a:lnTo>
                  <a:pt x="7550" y="6421"/>
                </a:lnTo>
                <a:lnTo>
                  <a:pt x="7522" y="6334"/>
                </a:lnTo>
                <a:lnTo>
                  <a:pt x="7493" y="6245"/>
                </a:lnTo>
                <a:lnTo>
                  <a:pt x="7466" y="6155"/>
                </a:lnTo>
                <a:lnTo>
                  <a:pt x="7418" y="5969"/>
                </a:lnTo>
                <a:lnTo>
                  <a:pt x="7379" y="5780"/>
                </a:lnTo>
                <a:lnTo>
                  <a:pt x="7347" y="5583"/>
                </a:lnTo>
                <a:lnTo>
                  <a:pt x="7322" y="5383"/>
                </a:lnTo>
                <a:lnTo>
                  <a:pt x="7299" y="5176"/>
                </a:lnTo>
                <a:lnTo>
                  <a:pt x="7290" y="4968"/>
                </a:lnTo>
                <a:lnTo>
                  <a:pt x="7286" y="4755"/>
                </a:lnTo>
                <a:lnTo>
                  <a:pt x="7286" y="4594"/>
                </a:lnTo>
                <a:lnTo>
                  <a:pt x="7293" y="4437"/>
                </a:lnTo>
                <a:lnTo>
                  <a:pt x="7299" y="4281"/>
                </a:lnTo>
                <a:lnTo>
                  <a:pt x="7313" y="4130"/>
                </a:lnTo>
                <a:lnTo>
                  <a:pt x="7328" y="3981"/>
                </a:lnTo>
                <a:lnTo>
                  <a:pt x="7343" y="3831"/>
                </a:lnTo>
                <a:lnTo>
                  <a:pt x="7367" y="3683"/>
                </a:lnTo>
                <a:lnTo>
                  <a:pt x="7391" y="3537"/>
                </a:lnTo>
                <a:lnTo>
                  <a:pt x="7418" y="3395"/>
                </a:lnTo>
                <a:lnTo>
                  <a:pt x="7448" y="3257"/>
                </a:lnTo>
                <a:lnTo>
                  <a:pt x="7484" y="3117"/>
                </a:lnTo>
                <a:lnTo>
                  <a:pt x="7522" y="2979"/>
                </a:lnTo>
                <a:lnTo>
                  <a:pt x="7561" y="2848"/>
                </a:lnTo>
                <a:lnTo>
                  <a:pt x="7604" y="2717"/>
                </a:lnTo>
                <a:lnTo>
                  <a:pt x="7654" y="2585"/>
                </a:lnTo>
                <a:lnTo>
                  <a:pt x="7703" y="2459"/>
                </a:lnTo>
                <a:lnTo>
                  <a:pt x="7759" y="2335"/>
                </a:lnTo>
                <a:lnTo>
                  <a:pt x="7811" y="2209"/>
                </a:lnTo>
                <a:lnTo>
                  <a:pt x="7873" y="2086"/>
                </a:lnTo>
                <a:lnTo>
                  <a:pt x="7936" y="1967"/>
                </a:lnTo>
                <a:lnTo>
                  <a:pt x="8002" y="1853"/>
                </a:lnTo>
                <a:lnTo>
                  <a:pt x="8068" y="1739"/>
                </a:lnTo>
                <a:lnTo>
                  <a:pt x="8143" y="1628"/>
                </a:lnTo>
                <a:lnTo>
                  <a:pt x="8218" y="1517"/>
                </a:lnTo>
                <a:lnTo>
                  <a:pt x="8296" y="1411"/>
                </a:lnTo>
                <a:lnTo>
                  <a:pt x="8379" y="1305"/>
                </a:lnTo>
                <a:lnTo>
                  <a:pt x="8461" y="1203"/>
                </a:lnTo>
                <a:lnTo>
                  <a:pt x="8550" y="1104"/>
                </a:lnTo>
                <a:lnTo>
                  <a:pt x="8642" y="1005"/>
                </a:lnTo>
                <a:lnTo>
                  <a:pt x="8736" y="910"/>
                </a:lnTo>
                <a:lnTo>
                  <a:pt x="8831" y="816"/>
                </a:lnTo>
                <a:lnTo>
                  <a:pt x="8934" y="723"/>
                </a:lnTo>
                <a:lnTo>
                  <a:pt x="9035" y="636"/>
                </a:lnTo>
                <a:lnTo>
                  <a:pt x="9143" y="552"/>
                </a:lnTo>
                <a:lnTo>
                  <a:pt x="9253" y="466"/>
                </a:lnTo>
                <a:lnTo>
                  <a:pt x="9365" y="385"/>
                </a:lnTo>
                <a:lnTo>
                  <a:pt x="9479" y="309"/>
                </a:lnTo>
                <a:lnTo>
                  <a:pt x="9598" y="229"/>
                </a:lnTo>
                <a:lnTo>
                  <a:pt x="9721" y="154"/>
                </a:lnTo>
                <a:lnTo>
                  <a:pt x="9846" y="85"/>
                </a:lnTo>
                <a:lnTo>
                  <a:pt x="9972" y="16"/>
                </a:lnTo>
                <a:lnTo>
                  <a:pt x="10005" y="0"/>
                </a:lnTo>
                <a:close/>
                <a:moveTo>
                  <a:pt x="2687" y="16"/>
                </a:moveTo>
                <a:lnTo>
                  <a:pt x="2557" y="85"/>
                </a:lnTo>
                <a:lnTo>
                  <a:pt x="2432" y="154"/>
                </a:lnTo>
                <a:lnTo>
                  <a:pt x="2314" y="229"/>
                </a:lnTo>
                <a:lnTo>
                  <a:pt x="2195" y="309"/>
                </a:lnTo>
                <a:lnTo>
                  <a:pt x="2081" y="385"/>
                </a:lnTo>
                <a:lnTo>
                  <a:pt x="1968" y="466"/>
                </a:lnTo>
                <a:lnTo>
                  <a:pt x="1857" y="552"/>
                </a:lnTo>
                <a:lnTo>
                  <a:pt x="1751" y="636"/>
                </a:lnTo>
                <a:lnTo>
                  <a:pt x="1648" y="723"/>
                </a:lnTo>
                <a:lnTo>
                  <a:pt x="1549" y="816"/>
                </a:lnTo>
                <a:lnTo>
                  <a:pt x="1450" y="910"/>
                </a:lnTo>
                <a:lnTo>
                  <a:pt x="1356" y="1005"/>
                </a:lnTo>
                <a:lnTo>
                  <a:pt x="1267" y="1104"/>
                </a:lnTo>
                <a:lnTo>
                  <a:pt x="1180" y="1203"/>
                </a:lnTo>
                <a:lnTo>
                  <a:pt x="1094" y="1305"/>
                </a:lnTo>
                <a:lnTo>
                  <a:pt x="1013" y="1411"/>
                </a:lnTo>
                <a:lnTo>
                  <a:pt x="931" y="1517"/>
                </a:lnTo>
                <a:lnTo>
                  <a:pt x="857" y="1628"/>
                </a:lnTo>
                <a:lnTo>
                  <a:pt x="787" y="1739"/>
                </a:lnTo>
                <a:lnTo>
                  <a:pt x="715" y="1853"/>
                </a:lnTo>
                <a:lnTo>
                  <a:pt x="650" y="1967"/>
                </a:lnTo>
                <a:lnTo>
                  <a:pt x="587" y="2086"/>
                </a:lnTo>
                <a:lnTo>
                  <a:pt x="530" y="2209"/>
                </a:lnTo>
                <a:lnTo>
                  <a:pt x="470" y="2335"/>
                </a:lnTo>
                <a:lnTo>
                  <a:pt x="417" y="2459"/>
                </a:lnTo>
                <a:lnTo>
                  <a:pt x="369" y="2585"/>
                </a:lnTo>
                <a:lnTo>
                  <a:pt x="323" y="2717"/>
                </a:lnTo>
                <a:lnTo>
                  <a:pt x="276" y="2848"/>
                </a:lnTo>
                <a:lnTo>
                  <a:pt x="237" y="2979"/>
                </a:lnTo>
                <a:lnTo>
                  <a:pt x="200" y="3117"/>
                </a:lnTo>
                <a:lnTo>
                  <a:pt x="167" y="3257"/>
                </a:lnTo>
                <a:lnTo>
                  <a:pt x="137" y="3395"/>
                </a:lnTo>
                <a:lnTo>
                  <a:pt x="105" y="3537"/>
                </a:lnTo>
                <a:lnTo>
                  <a:pt x="81" y="3683"/>
                </a:lnTo>
                <a:lnTo>
                  <a:pt x="62" y="3831"/>
                </a:lnTo>
                <a:lnTo>
                  <a:pt x="44" y="3981"/>
                </a:lnTo>
                <a:lnTo>
                  <a:pt x="26" y="4130"/>
                </a:lnTo>
                <a:lnTo>
                  <a:pt x="18" y="4281"/>
                </a:lnTo>
                <a:lnTo>
                  <a:pt x="6" y="4437"/>
                </a:lnTo>
                <a:lnTo>
                  <a:pt x="5" y="4594"/>
                </a:lnTo>
                <a:lnTo>
                  <a:pt x="0" y="4755"/>
                </a:lnTo>
                <a:lnTo>
                  <a:pt x="6" y="4968"/>
                </a:lnTo>
                <a:lnTo>
                  <a:pt x="18" y="5176"/>
                </a:lnTo>
                <a:lnTo>
                  <a:pt x="33" y="5383"/>
                </a:lnTo>
                <a:lnTo>
                  <a:pt x="62" y="5583"/>
                </a:lnTo>
                <a:lnTo>
                  <a:pt x="95" y="5780"/>
                </a:lnTo>
                <a:lnTo>
                  <a:pt x="137" y="5969"/>
                </a:lnTo>
                <a:lnTo>
                  <a:pt x="182" y="6155"/>
                </a:lnTo>
                <a:lnTo>
                  <a:pt x="210" y="6245"/>
                </a:lnTo>
                <a:lnTo>
                  <a:pt x="237" y="6334"/>
                </a:lnTo>
                <a:lnTo>
                  <a:pt x="267" y="6421"/>
                </a:lnTo>
                <a:lnTo>
                  <a:pt x="299" y="6509"/>
                </a:lnTo>
                <a:lnTo>
                  <a:pt x="332" y="6595"/>
                </a:lnTo>
                <a:lnTo>
                  <a:pt x="366" y="6677"/>
                </a:lnTo>
                <a:lnTo>
                  <a:pt x="404" y="6760"/>
                </a:lnTo>
                <a:lnTo>
                  <a:pt x="441" y="6841"/>
                </a:lnTo>
                <a:lnTo>
                  <a:pt x="480" y="6919"/>
                </a:lnTo>
                <a:lnTo>
                  <a:pt x="522" y="6997"/>
                </a:lnTo>
                <a:lnTo>
                  <a:pt x="563" y="7075"/>
                </a:lnTo>
                <a:lnTo>
                  <a:pt x="611" y="7150"/>
                </a:lnTo>
                <a:lnTo>
                  <a:pt x="655" y="7220"/>
                </a:lnTo>
                <a:lnTo>
                  <a:pt x="701" y="7295"/>
                </a:lnTo>
                <a:lnTo>
                  <a:pt x="751" y="7362"/>
                </a:lnTo>
                <a:lnTo>
                  <a:pt x="805" y="7428"/>
                </a:lnTo>
                <a:lnTo>
                  <a:pt x="854" y="7496"/>
                </a:lnTo>
                <a:lnTo>
                  <a:pt x="907" y="7562"/>
                </a:lnTo>
                <a:lnTo>
                  <a:pt x="962" y="7626"/>
                </a:lnTo>
                <a:lnTo>
                  <a:pt x="1019" y="7688"/>
                </a:lnTo>
                <a:lnTo>
                  <a:pt x="1076" y="7746"/>
                </a:lnTo>
                <a:lnTo>
                  <a:pt x="1138" y="7803"/>
                </a:lnTo>
                <a:lnTo>
                  <a:pt x="1200" y="7863"/>
                </a:lnTo>
                <a:lnTo>
                  <a:pt x="1261" y="7916"/>
                </a:lnTo>
                <a:lnTo>
                  <a:pt x="1324" y="7967"/>
                </a:lnTo>
                <a:lnTo>
                  <a:pt x="1393" y="8019"/>
                </a:lnTo>
                <a:lnTo>
                  <a:pt x="1456" y="8069"/>
                </a:lnTo>
                <a:lnTo>
                  <a:pt x="1530" y="8115"/>
                </a:lnTo>
                <a:lnTo>
                  <a:pt x="1594" y="8159"/>
                </a:lnTo>
                <a:lnTo>
                  <a:pt x="1668" y="8204"/>
                </a:lnTo>
                <a:lnTo>
                  <a:pt x="1742" y="8246"/>
                </a:lnTo>
                <a:lnTo>
                  <a:pt x="1812" y="8285"/>
                </a:lnTo>
                <a:lnTo>
                  <a:pt x="1887" y="8322"/>
                </a:lnTo>
                <a:lnTo>
                  <a:pt x="1967" y="8360"/>
                </a:lnTo>
                <a:lnTo>
                  <a:pt x="2043" y="8390"/>
                </a:lnTo>
                <a:lnTo>
                  <a:pt x="2123" y="8423"/>
                </a:lnTo>
                <a:lnTo>
                  <a:pt x="2204" y="8451"/>
                </a:lnTo>
                <a:lnTo>
                  <a:pt x="2285" y="8483"/>
                </a:lnTo>
                <a:lnTo>
                  <a:pt x="2369" y="8504"/>
                </a:lnTo>
                <a:lnTo>
                  <a:pt x="2450" y="8528"/>
                </a:lnTo>
                <a:lnTo>
                  <a:pt x="2537" y="8549"/>
                </a:lnTo>
                <a:lnTo>
                  <a:pt x="2623" y="8570"/>
                </a:lnTo>
                <a:lnTo>
                  <a:pt x="2711" y="8585"/>
                </a:lnTo>
                <a:lnTo>
                  <a:pt x="2798" y="8601"/>
                </a:lnTo>
                <a:lnTo>
                  <a:pt x="2892" y="8613"/>
                </a:lnTo>
                <a:lnTo>
                  <a:pt x="2982" y="8622"/>
                </a:lnTo>
                <a:lnTo>
                  <a:pt x="3073" y="8630"/>
                </a:lnTo>
                <a:lnTo>
                  <a:pt x="3168" y="8636"/>
                </a:lnTo>
                <a:lnTo>
                  <a:pt x="3262" y="8640"/>
                </a:lnTo>
                <a:lnTo>
                  <a:pt x="3357" y="8640"/>
                </a:lnTo>
                <a:lnTo>
                  <a:pt x="3518" y="8636"/>
                </a:lnTo>
                <a:lnTo>
                  <a:pt x="3674" y="8630"/>
                </a:lnTo>
                <a:lnTo>
                  <a:pt x="3830" y="8613"/>
                </a:lnTo>
                <a:lnTo>
                  <a:pt x="3981" y="8592"/>
                </a:lnTo>
                <a:lnTo>
                  <a:pt x="4130" y="8564"/>
                </a:lnTo>
                <a:lnTo>
                  <a:pt x="4276" y="8528"/>
                </a:lnTo>
                <a:lnTo>
                  <a:pt x="4418" y="8492"/>
                </a:lnTo>
                <a:lnTo>
                  <a:pt x="4561" y="8445"/>
                </a:lnTo>
                <a:lnTo>
                  <a:pt x="4698" y="8394"/>
                </a:lnTo>
                <a:lnTo>
                  <a:pt x="4830" y="8340"/>
                </a:lnTo>
                <a:lnTo>
                  <a:pt x="4957" y="8276"/>
                </a:lnTo>
                <a:lnTo>
                  <a:pt x="5085" y="8208"/>
                </a:lnTo>
                <a:lnTo>
                  <a:pt x="5204" y="8133"/>
                </a:lnTo>
                <a:lnTo>
                  <a:pt x="5318" y="8054"/>
                </a:lnTo>
                <a:lnTo>
                  <a:pt x="5429" y="7971"/>
                </a:lnTo>
                <a:lnTo>
                  <a:pt x="5537" y="7883"/>
                </a:lnTo>
                <a:lnTo>
                  <a:pt x="5640" y="7788"/>
                </a:lnTo>
                <a:lnTo>
                  <a:pt x="5735" y="7689"/>
                </a:lnTo>
                <a:lnTo>
                  <a:pt x="5825" y="7584"/>
                </a:lnTo>
                <a:lnTo>
                  <a:pt x="5911" y="7472"/>
                </a:lnTo>
                <a:lnTo>
                  <a:pt x="5987" y="7358"/>
                </a:lnTo>
                <a:lnTo>
                  <a:pt x="6062" y="7239"/>
                </a:lnTo>
                <a:lnTo>
                  <a:pt x="6130" y="7115"/>
                </a:lnTo>
                <a:lnTo>
                  <a:pt x="6191" y="6988"/>
                </a:lnTo>
                <a:lnTo>
                  <a:pt x="6247" y="6856"/>
                </a:lnTo>
                <a:lnTo>
                  <a:pt x="6294" y="6715"/>
                </a:lnTo>
                <a:lnTo>
                  <a:pt x="6334" y="6575"/>
                </a:lnTo>
                <a:lnTo>
                  <a:pt x="6367" y="6425"/>
                </a:lnTo>
                <a:lnTo>
                  <a:pt x="6394" y="6277"/>
                </a:lnTo>
                <a:lnTo>
                  <a:pt x="6417" y="6121"/>
                </a:lnTo>
                <a:lnTo>
                  <a:pt x="6424" y="5962"/>
                </a:lnTo>
                <a:lnTo>
                  <a:pt x="6432" y="5795"/>
                </a:lnTo>
                <a:lnTo>
                  <a:pt x="6429" y="5649"/>
                </a:lnTo>
                <a:lnTo>
                  <a:pt x="6418" y="5502"/>
                </a:lnTo>
                <a:lnTo>
                  <a:pt x="6405" y="5364"/>
                </a:lnTo>
                <a:lnTo>
                  <a:pt x="6385" y="5227"/>
                </a:lnTo>
                <a:lnTo>
                  <a:pt x="6361" y="5095"/>
                </a:lnTo>
                <a:lnTo>
                  <a:pt x="6330" y="4971"/>
                </a:lnTo>
                <a:lnTo>
                  <a:pt x="6298" y="4849"/>
                </a:lnTo>
                <a:lnTo>
                  <a:pt x="6256" y="4731"/>
                </a:lnTo>
                <a:lnTo>
                  <a:pt x="6211" y="4620"/>
                </a:lnTo>
                <a:lnTo>
                  <a:pt x="6161" y="4507"/>
                </a:lnTo>
                <a:lnTo>
                  <a:pt x="6110" y="4404"/>
                </a:lnTo>
                <a:lnTo>
                  <a:pt x="6049" y="4301"/>
                </a:lnTo>
                <a:lnTo>
                  <a:pt x="5987" y="4205"/>
                </a:lnTo>
                <a:lnTo>
                  <a:pt x="5921" y="4112"/>
                </a:lnTo>
                <a:lnTo>
                  <a:pt x="5849" y="4020"/>
                </a:lnTo>
                <a:lnTo>
                  <a:pt x="5774" y="3936"/>
                </a:lnTo>
                <a:lnTo>
                  <a:pt x="5693" y="3855"/>
                </a:lnTo>
                <a:lnTo>
                  <a:pt x="5612" y="3779"/>
                </a:lnTo>
                <a:lnTo>
                  <a:pt x="5523" y="3704"/>
                </a:lnTo>
                <a:lnTo>
                  <a:pt x="5436" y="3632"/>
                </a:lnTo>
                <a:lnTo>
                  <a:pt x="5342" y="3564"/>
                </a:lnTo>
                <a:lnTo>
                  <a:pt x="5247" y="3500"/>
                </a:lnTo>
                <a:lnTo>
                  <a:pt x="5144" y="3438"/>
                </a:lnTo>
                <a:lnTo>
                  <a:pt x="5043" y="3381"/>
                </a:lnTo>
                <a:lnTo>
                  <a:pt x="4935" y="3330"/>
                </a:lnTo>
                <a:lnTo>
                  <a:pt x="4825" y="3281"/>
                </a:lnTo>
                <a:lnTo>
                  <a:pt x="4713" y="3231"/>
                </a:lnTo>
                <a:lnTo>
                  <a:pt x="4599" y="3188"/>
                </a:lnTo>
                <a:lnTo>
                  <a:pt x="4484" y="3149"/>
                </a:lnTo>
                <a:lnTo>
                  <a:pt x="4366" y="3111"/>
                </a:lnTo>
                <a:lnTo>
                  <a:pt x="4243" y="3078"/>
                </a:lnTo>
                <a:lnTo>
                  <a:pt x="4118" y="3048"/>
                </a:lnTo>
                <a:lnTo>
                  <a:pt x="2819" y="3048"/>
                </a:lnTo>
                <a:lnTo>
                  <a:pt x="2840" y="2894"/>
                </a:lnTo>
                <a:lnTo>
                  <a:pt x="2869" y="2749"/>
                </a:lnTo>
                <a:lnTo>
                  <a:pt x="2905" y="2611"/>
                </a:lnTo>
                <a:lnTo>
                  <a:pt x="2943" y="2476"/>
                </a:lnTo>
                <a:lnTo>
                  <a:pt x="2988" y="2348"/>
                </a:lnTo>
                <a:lnTo>
                  <a:pt x="3043" y="2222"/>
                </a:lnTo>
                <a:lnTo>
                  <a:pt x="3100" y="2104"/>
                </a:lnTo>
                <a:lnTo>
                  <a:pt x="3166" y="1990"/>
                </a:lnTo>
                <a:lnTo>
                  <a:pt x="3237" y="1880"/>
                </a:lnTo>
                <a:lnTo>
                  <a:pt x="3313" y="1775"/>
                </a:lnTo>
                <a:lnTo>
                  <a:pt x="3399" y="1673"/>
                </a:lnTo>
                <a:lnTo>
                  <a:pt x="3488" y="1579"/>
                </a:lnTo>
                <a:lnTo>
                  <a:pt x="3582" y="1489"/>
                </a:lnTo>
                <a:lnTo>
                  <a:pt x="3684" y="1404"/>
                </a:lnTo>
                <a:lnTo>
                  <a:pt x="3788" y="1318"/>
                </a:lnTo>
                <a:lnTo>
                  <a:pt x="3900" y="1242"/>
                </a:lnTo>
                <a:lnTo>
                  <a:pt x="4019" y="1167"/>
                </a:lnTo>
                <a:lnTo>
                  <a:pt x="4142" y="1096"/>
                </a:lnTo>
                <a:lnTo>
                  <a:pt x="4270" y="1033"/>
                </a:lnTo>
                <a:lnTo>
                  <a:pt x="4405" y="967"/>
                </a:lnTo>
                <a:lnTo>
                  <a:pt x="4544" y="907"/>
                </a:lnTo>
                <a:lnTo>
                  <a:pt x="4692" y="853"/>
                </a:lnTo>
                <a:lnTo>
                  <a:pt x="4843" y="798"/>
                </a:lnTo>
                <a:lnTo>
                  <a:pt x="4999" y="753"/>
                </a:lnTo>
                <a:lnTo>
                  <a:pt x="5157" y="703"/>
                </a:lnTo>
                <a:lnTo>
                  <a:pt x="5328" y="660"/>
                </a:lnTo>
                <a:lnTo>
                  <a:pt x="5498" y="621"/>
                </a:lnTo>
                <a:lnTo>
                  <a:pt x="5673" y="583"/>
                </a:lnTo>
                <a:lnTo>
                  <a:pt x="5855" y="546"/>
                </a:lnTo>
                <a:lnTo>
                  <a:pt x="6043" y="514"/>
                </a:lnTo>
                <a:lnTo>
                  <a:pt x="6236" y="484"/>
                </a:lnTo>
                <a:lnTo>
                  <a:pt x="6432" y="457"/>
                </a:lnTo>
                <a:lnTo>
                  <a:pt x="6432" y="0"/>
                </a:lnTo>
                <a:lnTo>
                  <a:pt x="2720" y="0"/>
                </a:lnTo>
                <a:lnTo>
                  <a:pt x="2687" y="1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46" name="Freeform 9">
            <a:extLst>
              <a:ext uri="{FF2B5EF4-FFF2-40B4-BE49-F238E27FC236}">
                <a16:creationId xmlns:a16="http://schemas.microsoft.com/office/drawing/2014/main" id="{667AA065-EB10-EFDB-E5CA-82EC021AFB90}"/>
              </a:ext>
            </a:extLst>
          </p:cNvPr>
          <p:cNvSpPr>
            <a:spLocks noEditPoints="1"/>
          </p:cNvSpPr>
          <p:nvPr userDrawn="1"/>
        </p:nvSpPr>
        <p:spPr bwMode="auto">
          <a:xfrm flipH="1" flipV="1">
            <a:off x="6155011" y="5575301"/>
            <a:ext cx="2036287" cy="1282700"/>
          </a:xfrm>
          <a:custGeom>
            <a:avLst/>
            <a:gdLst>
              <a:gd name="T0" fmla="*/ 12959 w 13716"/>
              <a:gd name="T1" fmla="*/ 583 h 8640"/>
              <a:gd name="T2" fmla="*/ 11830 w 13716"/>
              <a:gd name="T3" fmla="*/ 907 h 8640"/>
              <a:gd name="T4" fmla="*/ 10967 w 13716"/>
              <a:gd name="T5" fmla="*/ 1404 h 8640"/>
              <a:gd name="T6" fmla="*/ 10386 w 13716"/>
              <a:gd name="T7" fmla="*/ 2104 h 8640"/>
              <a:gd name="T8" fmla="*/ 10105 w 13716"/>
              <a:gd name="T9" fmla="*/ 3048 h 8640"/>
              <a:gd name="T10" fmla="*/ 12111 w 13716"/>
              <a:gd name="T11" fmla="*/ 3281 h 8640"/>
              <a:gd name="T12" fmla="*/ 12811 w 13716"/>
              <a:gd name="T13" fmla="*/ 3704 h 8640"/>
              <a:gd name="T14" fmla="*/ 13335 w 13716"/>
              <a:gd name="T15" fmla="*/ 4301 h 8640"/>
              <a:gd name="T16" fmla="*/ 13647 w 13716"/>
              <a:gd name="T17" fmla="*/ 5095 h 8640"/>
              <a:gd name="T18" fmla="*/ 13702 w 13716"/>
              <a:gd name="T19" fmla="*/ 6121 h 8640"/>
              <a:gd name="T20" fmla="*/ 13414 w 13716"/>
              <a:gd name="T21" fmla="*/ 7115 h 8640"/>
              <a:gd name="T22" fmla="*/ 12821 w 13716"/>
              <a:gd name="T23" fmla="*/ 7883 h 8640"/>
              <a:gd name="T24" fmla="*/ 11979 w 13716"/>
              <a:gd name="T25" fmla="*/ 8394 h 8640"/>
              <a:gd name="T26" fmla="*/ 10960 w 13716"/>
              <a:gd name="T27" fmla="*/ 8630 h 8640"/>
              <a:gd name="T28" fmla="*/ 10173 w 13716"/>
              <a:gd name="T29" fmla="*/ 8613 h 8640"/>
              <a:gd name="T30" fmla="*/ 9571 w 13716"/>
              <a:gd name="T31" fmla="*/ 8483 h 8640"/>
              <a:gd name="T32" fmla="*/ 9024 w 13716"/>
              <a:gd name="T33" fmla="*/ 8246 h 8640"/>
              <a:gd name="T34" fmla="*/ 8547 w 13716"/>
              <a:gd name="T35" fmla="*/ 7916 h 8640"/>
              <a:gd name="T36" fmla="*/ 8140 w 13716"/>
              <a:gd name="T37" fmla="*/ 7496 h 8640"/>
              <a:gd name="T38" fmla="*/ 7805 w 13716"/>
              <a:gd name="T39" fmla="*/ 6997 h 8640"/>
              <a:gd name="T40" fmla="*/ 7550 w 13716"/>
              <a:gd name="T41" fmla="*/ 6421 h 8640"/>
              <a:gd name="T42" fmla="*/ 7322 w 13716"/>
              <a:gd name="T43" fmla="*/ 5383 h 8640"/>
              <a:gd name="T44" fmla="*/ 7313 w 13716"/>
              <a:gd name="T45" fmla="*/ 4130 h 8640"/>
              <a:gd name="T46" fmla="*/ 7484 w 13716"/>
              <a:gd name="T47" fmla="*/ 3117 h 8640"/>
              <a:gd name="T48" fmla="*/ 7811 w 13716"/>
              <a:gd name="T49" fmla="*/ 2209 h 8640"/>
              <a:gd name="T50" fmla="*/ 8296 w 13716"/>
              <a:gd name="T51" fmla="*/ 1411 h 8640"/>
              <a:gd name="T52" fmla="*/ 8934 w 13716"/>
              <a:gd name="T53" fmla="*/ 723 h 8640"/>
              <a:gd name="T54" fmla="*/ 9721 w 13716"/>
              <a:gd name="T55" fmla="*/ 154 h 8640"/>
              <a:gd name="T56" fmla="*/ 2314 w 13716"/>
              <a:gd name="T57" fmla="*/ 229 h 8640"/>
              <a:gd name="T58" fmla="*/ 1549 w 13716"/>
              <a:gd name="T59" fmla="*/ 816 h 8640"/>
              <a:gd name="T60" fmla="*/ 931 w 13716"/>
              <a:gd name="T61" fmla="*/ 1517 h 8640"/>
              <a:gd name="T62" fmla="*/ 470 w 13716"/>
              <a:gd name="T63" fmla="*/ 2335 h 8640"/>
              <a:gd name="T64" fmla="*/ 167 w 13716"/>
              <a:gd name="T65" fmla="*/ 3257 h 8640"/>
              <a:gd name="T66" fmla="*/ 18 w 13716"/>
              <a:gd name="T67" fmla="*/ 4281 h 8640"/>
              <a:gd name="T68" fmla="*/ 62 w 13716"/>
              <a:gd name="T69" fmla="*/ 5583 h 8640"/>
              <a:gd name="T70" fmla="*/ 299 w 13716"/>
              <a:gd name="T71" fmla="*/ 6509 h 8640"/>
              <a:gd name="T72" fmla="*/ 563 w 13716"/>
              <a:gd name="T73" fmla="*/ 7075 h 8640"/>
              <a:gd name="T74" fmla="*/ 907 w 13716"/>
              <a:gd name="T75" fmla="*/ 7562 h 8640"/>
              <a:gd name="T76" fmla="*/ 1324 w 13716"/>
              <a:gd name="T77" fmla="*/ 7967 h 8640"/>
              <a:gd name="T78" fmla="*/ 1812 w 13716"/>
              <a:gd name="T79" fmla="*/ 8285 h 8640"/>
              <a:gd name="T80" fmla="*/ 2369 w 13716"/>
              <a:gd name="T81" fmla="*/ 8504 h 8640"/>
              <a:gd name="T82" fmla="*/ 2982 w 13716"/>
              <a:gd name="T83" fmla="*/ 8622 h 8640"/>
              <a:gd name="T84" fmla="*/ 3830 w 13716"/>
              <a:gd name="T85" fmla="*/ 8613 h 8640"/>
              <a:gd name="T86" fmla="*/ 4830 w 13716"/>
              <a:gd name="T87" fmla="*/ 8340 h 8640"/>
              <a:gd name="T88" fmla="*/ 5640 w 13716"/>
              <a:gd name="T89" fmla="*/ 7788 h 8640"/>
              <a:gd name="T90" fmla="*/ 6191 w 13716"/>
              <a:gd name="T91" fmla="*/ 6988 h 8640"/>
              <a:gd name="T92" fmla="*/ 6424 w 13716"/>
              <a:gd name="T93" fmla="*/ 5962 h 8640"/>
              <a:gd name="T94" fmla="*/ 6330 w 13716"/>
              <a:gd name="T95" fmla="*/ 4971 h 8640"/>
              <a:gd name="T96" fmla="*/ 5987 w 13716"/>
              <a:gd name="T97" fmla="*/ 4205 h 8640"/>
              <a:gd name="T98" fmla="*/ 5436 w 13716"/>
              <a:gd name="T99" fmla="*/ 3632 h 8640"/>
              <a:gd name="T100" fmla="*/ 4713 w 13716"/>
              <a:gd name="T101" fmla="*/ 3231 h 8640"/>
              <a:gd name="T102" fmla="*/ 2840 w 13716"/>
              <a:gd name="T103" fmla="*/ 2894 h 8640"/>
              <a:gd name="T104" fmla="*/ 3166 w 13716"/>
              <a:gd name="T105" fmla="*/ 1990 h 8640"/>
              <a:gd name="T106" fmla="*/ 3788 w 13716"/>
              <a:gd name="T107" fmla="*/ 1318 h 8640"/>
              <a:gd name="T108" fmla="*/ 4692 w 13716"/>
              <a:gd name="T109" fmla="*/ 853 h 8640"/>
              <a:gd name="T110" fmla="*/ 5855 w 13716"/>
              <a:gd name="T111" fmla="*/ 546 h 8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716" h="8640">
                <a:moveTo>
                  <a:pt x="10005" y="0"/>
                </a:moveTo>
                <a:lnTo>
                  <a:pt x="13716" y="0"/>
                </a:lnTo>
                <a:lnTo>
                  <a:pt x="13716" y="457"/>
                </a:lnTo>
                <a:lnTo>
                  <a:pt x="13519" y="484"/>
                </a:lnTo>
                <a:lnTo>
                  <a:pt x="13329" y="514"/>
                </a:lnTo>
                <a:lnTo>
                  <a:pt x="13142" y="546"/>
                </a:lnTo>
                <a:lnTo>
                  <a:pt x="12959" y="583"/>
                </a:lnTo>
                <a:lnTo>
                  <a:pt x="12784" y="621"/>
                </a:lnTo>
                <a:lnTo>
                  <a:pt x="12610" y="660"/>
                </a:lnTo>
                <a:lnTo>
                  <a:pt x="12446" y="703"/>
                </a:lnTo>
                <a:lnTo>
                  <a:pt x="12282" y="753"/>
                </a:lnTo>
                <a:lnTo>
                  <a:pt x="12126" y="798"/>
                </a:lnTo>
                <a:lnTo>
                  <a:pt x="11977" y="853"/>
                </a:lnTo>
                <a:lnTo>
                  <a:pt x="11830" y="907"/>
                </a:lnTo>
                <a:lnTo>
                  <a:pt x="11692" y="967"/>
                </a:lnTo>
                <a:lnTo>
                  <a:pt x="11557" y="1033"/>
                </a:lnTo>
                <a:lnTo>
                  <a:pt x="11428" y="1096"/>
                </a:lnTo>
                <a:lnTo>
                  <a:pt x="11303" y="1167"/>
                </a:lnTo>
                <a:lnTo>
                  <a:pt x="11186" y="1242"/>
                </a:lnTo>
                <a:lnTo>
                  <a:pt x="11074" y="1318"/>
                </a:lnTo>
                <a:lnTo>
                  <a:pt x="10967" y="1404"/>
                </a:lnTo>
                <a:lnTo>
                  <a:pt x="10865" y="1489"/>
                </a:lnTo>
                <a:lnTo>
                  <a:pt x="10770" y="1579"/>
                </a:lnTo>
                <a:lnTo>
                  <a:pt x="10683" y="1673"/>
                </a:lnTo>
                <a:lnTo>
                  <a:pt x="10602" y="1775"/>
                </a:lnTo>
                <a:lnTo>
                  <a:pt x="10523" y="1880"/>
                </a:lnTo>
                <a:lnTo>
                  <a:pt x="10452" y="1990"/>
                </a:lnTo>
                <a:lnTo>
                  <a:pt x="10386" y="2104"/>
                </a:lnTo>
                <a:lnTo>
                  <a:pt x="10328" y="2222"/>
                </a:lnTo>
                <a:lnTo>
                  <a:pt x="10275" y="2348"/>
                </a:lnTo>
                <a:lnTo>
                  <a:pt x="10228" y="2476"/>
                </a:lnTo>
                <a:lnTo>
                  <a:pt x="10186" y="2611"/>
                </a:lnTo>
                <a:lnTo>
                  <a:pt x="10153" y="2749"/>
                </a:lnTo>
                <a:lnTo>
                  <a:pt x="10128" y="2894"/>
                </a:lnTo>
                <a:lnTo>
                  <a:pt x="10105" y="3048"/>
                </a:lnTo>
                <a:lnTo>
                  <a:pt x="11404" y="3048"/>
                </a:lnTo>
                <a:lnTo>
                  <a:pt x="11527" y="3078"/>
                </a:lnTo>
                <a:lnTo>
                  <a:pt x="11647" y="3111"/>
                </a:lnTo>
                <a:lnTo>
                  <a:pt x="11766" y="3149"/>
                </a:lnTo>
                <a:lnTo>
                  <a:pt x="11884" y="3188"/>
                </a:lnTo>
                <a:lnTo>
                  <a:pt x="12002" y="3231"/>
                </a:lnTo>
                <a:lnTo>
                  <a:pt x="12111" y="3281"/>
                </a:lnTo>
                <a:lnTo>
                  <a:pt x="12221" y="3330"/>
                </a:lnTo>
                <a:lnTo>
                  <a:pt x="12327" y="3381"/>
                </a:lnTo>
                <a:lnTo>
                  <a:pt x="12429" y="3438"/>
                </a:lnTo>
                <a:lnTo>
                  <a:pt x="12528" y="3500"/>
                </a:lnTo>
                <a:lnTo>
                  <a:pt x="12628" y="3564"/>
                </a:lnTo>
                <a:lnTo>
                  <a:pt x="12721" y="3632"/>
                </a:lnTo>
                <a:lnTo>
                  <a:pt x="12811" y="3704"/>
                </a:lnTo>
                <a:lnTo>
                  <a:pt x="12896" y="3779"/>
                </a:lnTo>
                <a:lnTo>
                  <a:pt x="12979" y="3855"/>
                </a:lnTo>
                <a:lnTo>
                  <a:pt x="13058" y="3936"/>
                </a:lnTo>
                <a:lnTo>
                  <a:pt x="13133" y="4020"/>
                </a:lnTo>
                <a:lnTo>
                  <a:pt x="13204" y="4112"/>
                </a:lnTo>
                <a:lnTo>
                  <a:pt x="13272" y="4205"/>
                </a:lnTo>
                <a:lnTo>
                  <a:pt x="13335" y="4301"/>
                </a:lnTo>
                <a:lnTo>
                  <a:pt x="13392" y="4404"/>
                </a:lnTo>
                <a:lnTo>
                  <a:pt x="13447" y="4507"/>
                </a:lnTo>
                <a:lnTo>
                  <a:pt x="13498" y="4620"/>
                </a:lnTo>
                <a:lnTo>
                  <a:pt x="13542" y="4731"/>
                </a:lnTo>
                <a:lnTo>
                  <a:pt x="13584" y="4849"/>
                </a:lnTo>
                <a:lnTo>
                  <a:pt x="13617" y="4971"/>
                </a:lnTo>
                <a:lnTo>
                  <a:pt x="13647" y="5095"/>
                </a:lnTo>
                <a:lnTo>
                  <a:pt x="13671" y="5227"/>
                </a:lnTo>
                <a:lnTo>
                  <a:pt x="13692" y="5364"/>
                </a:lnTo>
                <a:lnTo>
                  <a:pt x="13704" y="5502"/>
                </a:lnTo>
                <a:lnTo>
                  <a:pt x="13711" y="5649"/>
                </a:lnTo>
                <a:lnTo>
                  <a:pt x="13716" y="5795"/>
                </a:lnTo>
                <a:lnTo>
                  <a:pt x="13711" y="5962"/>
                </a:lnTo>
                <a:lnTo>
                  <a:pt x="13702" y="6121"/>
                </a:lnTo>
                <a:lnTo>
                  <a:pt x="13683" y="6277"/>
                </a:lnTo>
                <a:lnTo>
                  <a:pt x="13654" y="6425"/>
                </a:lnTo>
                <a:lnTo>
                  <a:pt x="13621" y="6575"/>
                </a:lnTo>
                <a:lnTo>
                  <a:pt x="13579" y="6715"/>
                </a:lnTo>
                <a:lnTo>
                  <a:pt x="13533" y="6856"/>
                </a:lnTo>
                <a:lnTo>
                  <a:pt x="13474" y="6988"/>
                </a:lnTo>
                <a:lnTo>
                  <a:pt x="13414" y="7115"/>
                </a:lnTo>
                <a:lnTo>
                  <a:pt x="13348" y="7239"/>
                </a:lnTo>
                <a:lnTo>
                  <a:pt x="13273" y="7358"/>
                </a:lnTo>
                <a:lnTo>
                  <a:pt x="13192" y="7472"/>
                </a:lnTo>
                <a:lnTo>
                  <a:pt x="13109" y="7584"/>
                </a:lnTo>
                <a:lnTo>
                  <a:pt x="13016" y="7689"/>
                </a:lnTo>
                <a:lnTo>
                  <a:pt x="12922" y="7788"/>
                </a:lnTo>
                <a:lnTo>
                  <a:pt x="12821" y="7883"/>
                </a:lnTo>
                <a:lnTo>
                  <a:pt x="12716" y="7971"/>
                </a:lnTo>
                <a:lnTo>
                  <a:pt x="12604" y="8054"/>
                </a:lnTo>
                <a:lnTo>
                  <a:pt x="12489" y="8133"/>
                </a:lnTo>
                <a:lnTo>
                  <a:pt x="12366" y="8208"/>
                </a:lnTo>
                <a:lnTo>
                  <a:pt x="12242" y="8276"/>
                </a:lnTo>
                <a:lnTo>
                  <a:pt x="12111" y="8340"/>
                </a:lnTo>
                <a:lnTo>
                  <a:pt x="11979" y="8394"/>
                </a:lnTo>
                <a:lnTo>
                  <a:pt x="11845" y="8445"/>
                </a:lnTo>
                <a:lnTo>
                  <a:pt x="11704" y="8492"/>
                </a:lnTo>
                <a:lnTo>
                  <a:pt x="11565" y="8528"/>
                </a:lnTo>
                <a:lnTo>
                  <a:pt x="11414" y="8564"/>
                </a:lnTo>
                <a:lnTo>
                  <a:pt x="11266" y="8592"/>
                </a:lnTo>
                <a:lnTo>
                  <a:pt x="11116" y="8613"/>
                </a:lnTo>
                <a:lnTo>
                  <a:pt x="10960" y="8630"/>
                </a:lnTo>
                <a:lnTo>
                  <a:pt x="10803" y="8636"/>
                </a:lnTo>
                <a:lnTo>
                  <a:pt x="10646" y="8640"/>
                </a:lnTo>
                <a:lnTo>
                  <a:pt x="10547" y="8640"/>
                </a:lnTo>
                <a:lnTo>
                  <a:pt x="10452" y="8636"/>
                </a:lnTo>
                <a:lnTo>
                  <a:pt x="10361" y="8630"/>
                </a:lnTo>
                <a:lnTo>
                  <a:pt x="10266" y="8622"/>
                </a:lnTo>
                <a:lnTo>
                  <a:pt x="10173" y="8613"/>
                </a:lnTo>
                <a:lnTo>
                  <a:pt x="10086" y="8601"/>
                </a:lnTo>
                <a:lnTo>
                  <a:pt x="9997" y="8585"/>
                </a:lnTo>
                <a:lnTo>
                  <a:pt x="9910" y="8570"/>
                </a:lnTo>
                <a:lnTo>
                  <a:pt x="9822" y="8549"/>
                </a:lnTo>
                <a:lnTo>
                  <a:pt x="9736" y="8528"/>
                </a:lnTo>
                <a:lnTo>
                  <a:pt x="9652" y="8504"/>
                </a:lnTo>
                <a:lnTo>
                  <a:pt x="9571" y="8483"/>
                </a:lnTo>
                <a:lnTo>
                  <a:pt x="9490" y="8451"/>
                </a:lnTo>
                <a:lnTo>
                  <a:pt x="9409" y="8423"/>
                </a:lnTo>
                <a:lnTo>
                  <a:pt x="9328" y="8390"/>
                </a:lnTo>
                <a:lnTo>
                  <a:pt x="9253" y="8360"/>
                </a:lnTo>
                <a:lnTo>
                  <a:pt x="9173" y="8322"/>
                </a:lnTo>
                <a:lnTo>
                  <a:pt x="9099" y="8285"/>
                </a:lnTo>
                <a:lnTo>
                  <a:pt x="9024" y="8246"/>
                </a:lnTo>
                <a:lnTo>
                  <a:pt x="8954" y="8204"/>
                </a:lnTo>
                <a:lnTo>
                  <a:pt x="8883" y="8159"/>
                </a:lnTo>
                <a:lnTo>
                  <a:pt x="8811" y="8115"/>
                </a:lnTo>
                <a:lnTo>
                  <a:pt x="8744" y="8069"/>
                </a:lnTo>
                <a:lnTo>
                  <a:pt x="8675" y="8019"/>
                </a:lnTo>
                <a:lnTo>
                  <a:pt x="8612" y="7967"/>
                </a:lnTo>
                <a:lnTo>
                  <a:pt x="8547" y="7916"/>
                </a:lnTo>
                <a:lnTo>
                  <a:pt x="8484" y="7863"/>
                </a:lnTo>
                <a:lnTo>
                  <a:pt x="8422" y="7803"/>
                </a:lnTo>
                <a:lnTo>
                  <a:pt x="8365" y="7746"/>
                </a:lnTo>
                <a:lnTo>
                  <a:pt x="8305" y="7688"/>
                </a:lnTo>
                <a:lnTo>
                  <a:pt x="8248" y="7626"/>
                </a:lnTo>
                <a:lnTo>
                  <a:pt x="8191" y="7562"/>
                </a:lnTo>
                <a:lnTo>
                  <a:pt x="8140" y="7496"/>
                </a:lnTo>
                <a:lnTo>
                  <a:pt x="8086" y="7428"/>
                </a:lnTo>
                <a:lnTo>
                  <a:pt x="8035" y="7362"/>
                </a:lnTo>
                <a:lnTo>
                  <a:pt x="7987" y="7295"/>
                </a:lnTo>
                <a:lnTo>
                  <a:pt x="7940" y="7220"/>
                </a:lnTo>
                <a:lnTo>
                  <a:pt x="7892" y="7150"/>
                </a:lnTo>
                <a:lnTo>
                  <a:pt x="7849" y="7075"/>
                </a:lnTo>
                <a:lnTo>
                  <a:pt x="7805" y="6997"/>
                </a:lnTo>
                <a:lnTo>
                  <a:pt x="7765" y="6919"/>
                </a:lnTo>
                <a:lnTo>
                  <a:pt x="7723" y="6841"/>
                </a:lnTo>
                <a:lnTo>
                  <a:pt x="7687" y="6760"/>
                </a:lnTo>
                <a:lnTo>
                  <a:pt x="7649" y="6677"/>
                </a:lnTo>
                <a:lnTo>
                  <a:pt x="7616" y="6595"/>
                </a:lnTo>
                <a:lnTo>
                  <a:pt x="7580" y="6509"/>
                </a:lnTo>
                <a:lnTo>
                  <a:pt x="7550" y="6421"/>
                </a:lnTo>
                <a:lnTo>
                  <a:pt x="7522" y="6334"/>
                </a:lnTo>
                <a:lnTo>
                  <a:pt x="7493" y="6245"/>
                </a:lnTo>
                <a:lnTo>
                  <a:pt x="7466" y="6155"/>
                </a:lnTo>
                <a:lnTo>
                  <a:pt x="7418" y="5969"/>
                </a:lnTo>
                <a:lnTo>
                  <a:pt x="7379" y="5780"/>
                </a:lnTo>
                <a:lnTo>
                  <a:pt x="7347" y="5583"/>
                </a:lnTo>
                <a:lnTo>
                  <a:pt x="7322" y="5383"/>
                </a:lnTo>
                <a:lnTo>
                  <a:pt x="7299" y="5176"/>
                </a:lnTo>
                <a:lnTo>
                  <a:pt x="7290" y="4968"/>
                </a:lnTo>
                <a:lnTo>
                  <a:pt x="7286" y="4755"/>
                </a:lnTo>
                <a:lnTo>
                  <a:pt x="7286" y="4594"/>
                </a:lnTo>
                <a:lnTo>
                  <a:pt x="7293" y="4437"/>
                </a:lnTo>
                <a:lnTo>
                  <a:pt x="7299" y="4281"/>
                </a:lnTo>
                <a:lnTo>
                  <a:pt x="7313" y="4130"/>
                </a:lnTo>
                <a:lnTo>
                  <a:pt x="7328" y="3981"/>
                </a:lnTo>
                <a:lnTo>
                  <a:pt x="7343" y="3831"/>
                </a:lnTo>
                <a:lnTo>
                  <a:pt x="7367" y="3683"/>
                </a:lnTo>
                <a:lnTo>
                  <a:pt x="7391" y="3537"/>
                </a:lnTo>
                <a:lnTo>
                  <a:pt x="7418" y="3395"/>
                </a:lnTo>
                <a:lnTo>
                  <a:pt x="7448" y="3257"/>
                </a:lnTo>
                <a:lnTo>
                  <a:pt x="7484" y="3117"/>
                </a:lnTo>
                <a:lnTo>
                  <a:pt x="7522" y="2979"/>
                </a:lnTo>
                <a:lnTo>
                  <a:pt x="7561" y="2848"/>
                </a:lnTo>
                <a:lnTo>
                  <a:pt x="7604" y="2717"/>
                </a:lnTo>
                <a:lnTo>
                  <a:pt x="7654" y="2585"/>
                </a:lnTo>
                <a:lnTo>
                  <a:pt x="7703" y="2459"/>
                </a:lnTo>
                <a:lnTo>
                  <a:pt x="7759" y="2335"/>
                </a:lnTo>
                <a:lnTo>
                  <a:pt x="7811" y="2209"/>
                </a:lnTo>
                <a:lnTo>
                  <a:pt x="7873" y="2086"/>
                </a:lnTo>
                <a:lnTo>
                  <a:pt x="7936" y="1967"/>
                </a:lnTo>
                <a:lnTo>
                  <a:pt x="8002" y="1853"/>
                </a:lnTo>
                <a:lnTo>
                  <a:pt x="8068" y="1739"/>
                </a:lnTo>
                <a:lnTo>
                  <a:pt x="8143" y="1628"/>
                </a:lnTo>
                <a:lnTo>
                  <a:pt x="8218" y="1517"/>
                </a:lnTo>
                <a:lnTo>
                  <a:pt x="8296" y="1411"/>
                </a:lnTo>
                <a:lnTo>
                  <a:pt x="8379" y="1305"/>
                </a:lnTo>
                <a:lnTo>
                  <a:pt x="8461" y="1203"/>
                </a:lnTo>
                <a:lnTo>
                  <a:pt x="8550" y="1104"/>
                </a:lnTo>
                <a:lnTo>
                  <a:pt x="8642" y="1005"/>
                </a:lnTo>
                <a:lnTo>
                  <a:pt x="8736" y="910"/>
                </a:lnTo>
                <a:lnTo>
                  <a:pt x="8831" y="816"/>
                </a:lnTo>
                <a:lnTo>
                  <a:pt x="8934" y="723"/>
                </a:lnTo>
                <a:lnTo>
                  <a:pt x="9035" y="636"/>
                </a:lnTo>
                <a:lnTo>
                  <a:pt x="9143" y="552"/>
                </a:lnTo>
                <a:lnTo>
                  <a:pt x="9253" y="466"/>
                </a:lnTo>
                <a:lnTo>
                  <a:pt x="9365" y="385"/>
                </a:lnTo>
                <a:lnTo>
                  <a:pt x="9479" y="309"/>
                </a:lnTo>
                <a:lnTo>
                  <a:pt x="9598" y="229"/>
                </a:lnTo>
                <a:lnTo>
                  <a:pt x="9721" y="154"/>
                </a:lnTo>
                <a:lnTo>
                  <a:pt x="9846" y="85"/>
                </a:lnTo>
                <a:lnTo>
                  <a:pt x="9972" y="16"/>
                </a:lnTo>
                <a:lnTo>
                  <a:pt x="10005" y="0"/>
                </a:lnTo>
                <a:close/>
                <a:moveTo>
                  <a:pt x="2687" y="16"/>
                </a:moveTo>
                <a:lnTo>
                  <a:pt x="2557" y="85"/>
                </a:lnTo>
                <a:lnTo>
                  <a:pt x="2432" y="154"/>
                </a:lnTo>
                <a:lnTo>
                  <a:pt x="2314" y="229"/>
                </a:lnTo>
                <a:lnTo>
                  <a:pt x="2195" y="309"/>
                </a:lnTo>
                <a:lnTo>
                  <a:pt x="2081" y="385"/>
                </a:lnTo>
                <a:lnTo>
                  <a:pt x="1968" y="466"/>
                </a:lnTo>
                <a:lnTo>
                  <a:pt x="1857" y="552"/>
                </a:lnTo>
                <a:lnTo>
                  <a:pt x="1751" y="636"/>
                </a:lnTo>
                <a:lnTo>
                  <a:pt x="1648" y="723"/>
                </a:lnTo>
                <a:lnTo>
                  <a:pt x="1549" y="816"/>
                </a:lnTo>
                <a:lnTo>
                  <a:pt x="1450" y="910"/>
                </a:lnTo>
                <a:lnTo>
                  <a:pt x="1356" y="1005"/>
                </a:lnTo>
                <a:lnTo>
                  <a:pt x="1267" y="1104"/>
                </a:lnTo>
                <a:lnTo>
                  <a:pt x="1180" y="1203"/>
                </a:lnTo>
                <a:lnTo>
                  <a:pt x="1094" y="1305"/>
                </a:lnTo>
                <a:lnTo>
                  <a:pt x="1013" y="1411"/>
                </a:lnTo>
                <a:lnTo>
                  <a:pt x="931" y="1517"/>
                </a:lnTo>
                <a:lnTo>
                  <a:pt x="857" y="1628"/>
                </a:lnTo>
                <a:lnTo>
                  <a:pt x="787" y="1739"/>
                </a:lnTo>
                <a:lnTo>
                  <a:pt x="715" y="1853"/>
                </a:lnTo>
                <a:lnTo>
                  <a:pt x="650" y="1967"/>
                </a:lnTo>
                <a:lnTo>
                  <a:pt x="587" y="2086"/>
                </a:lnTo>
                <a:lnTo>
                  <a:pt x="530" y="2209"/>
                </a:lnTo>
                <a:lnTo>
                  <a:pt x="470" y="2335"/>
                </a:lnTo>
                <a:lnTo>
                  <a:pt x="417" y="2459"/>
                </a:lnTo>
                <a:lnTo>
                  <a:pt x="369" y="2585"/>
                </a:lnTo>
                <a:lnTo>
                  <a:pt x="323" y="2717"/>
                </a:lnTo>
                <a:lnTo>
                  <a:pt x="276" y="2848"/>
                </a:lnTo>
                <a:lnTo>
                  <a:pt x="237" y="2979"/>
                </a:lnTo>
                <a:lnTo>
                  <a:pt x="200" y="3117"/>
                </a:lnTo>
                <a:lnTo>
                  <a:pt x="167" y="3257"/>
                </a:lnTo>
                <a:lnTo>
                  <a:pt x="137" y="3395"/>
                </a:lnTo>
                <a:lnTo>
                  <a:pt x="105" y="3537"/>
                </a:lnTo>
                <a:lnTo>
                  <a:pt x="81" y="3683"/>
                </a:lnTo>
                <a:lnTo>
                  <a:pt x="62" y="3831"/>
                </a:lnTo>
                <a:lnTo>
                  <a:pt x="44" y="3981"/>
                </a:lnTo>
                <a:lnTo>
                  <a:pt x="26" y="4130"/>
                </a:lnTo>
                <a:lnTo>
                  <a:pt x="18" y="4281"/>
                </a:lnTo>
                <a:lnTo>
                  <a:pt x="6" y="4437"/>
                </a:lnTo>
                <a:lnTo>
                  <a:pt x="5" y="4594"/>
                </a:lnTo>
                <a:lnTo>
                  <a:pt x="0" y="4755"/>
                </a:lnTo>
                <a:lnTo>
                  <a:pt x="6" y="4968"/>
                </a:lnTo>
                <a:lnTo>
                  <a:pt x="18" y="5176"/>
                </a:lnTo>
                <a:lnTo>
                  <a:pt x="33" y="5383"/>
                </a:lnTo>
                <a:lnTo>
                  <a:pt x="62" y="5583"/>
                </a:lnTo>
                <a:lnTo>
                  <a:pt x="95" y="5780"/>
                </a:lnTo>
                <a:lnTo>
                  <a:pt x="137" y="5969"/>
                </a:lnTo>
                <a:lnTo>
                  <a:pt x="182" y="6155"/>
                </a:lnTo>
                <a:lnTo>
                  <a:pt x="210" y="6245"/>
                </a:lnTo>
                <a:lnTo>
                  <a:pt x="237" y="6334"/>
                </a:lnTo>
                <a:lnTo>
                  <a:pt x="267" y="6421"/>
                </a:lnTo>
                <a:lnTo>
                  <a:pt x="299" y="6509"/>
                </a:lnTo>
                <a:lnTo>
                  <a:pt x="332" y="6595"/>
                </a:lnTo>
                <a:lnTo>
                  <a:pt x="366" y="6677"/>
                </a:lnTo>
                <a:lnTo>
                  <a:pt x="404" y="6760"/>
                </a:lnTo>
                <a:lnTo>
                  <a:pt x="441" y="6841"/>
                </a:lnTo>
                <a:lnTo>
                  <a:pt x="480" y="6919"/>
                </a:lnTo>
                <a:lnTo>
                  <a:pt x="522" y="6997"/>
                </a:lnTo>
                <a:lnTo>
                  <a:pt x="563" y="7075"/>
                </a:lnTo>
                <a:lnTo>
                  <a:pt x="611" y="7150"/>
                </a:lnTo>
                <a:lnTo>
                  <a:pt x="655" y="7220"/>
                </a:lnTo>
                <a:lnTo>
                  <a:pt x="701" y="7295"/>
                </a:lnTo>
                <a:lnTo>
                  <a:pt x="751" y="7362"/>
                </a:lnTo>
                <a:lnTo>
                  <a:pt x="805" y="7428"/>
                </a:lnTo>
                <a:lnTo>
                  <a:pt x="854" y="7496"/>
                </a:lnTo>
                <a:lnTo>
                  <a:pt x="907" y="7562"/>
                </a:lnTo>
                <a:lnTo>
                  <a:pt x="962" y="7626"/>
                </a:lnTo>
                <a:lnTo>
                  <a:pt x="1019" y="7688"/>
                </a:lnTo>
                <a:lnTo>
                  <a:pt x="1076" y="7746"/>
                </a:lnTo>
                <a:lnTo>
                  <a:pt x="1138" y="7803"/>
                </a:lnTo>
                <a:lnTo>
                  <a:pt x="1200" y="7863"/>
                </a:lnTo>
                <a:lnTo>
                  <a:pt x="1261" y="7916"/>
                </a:lnTo>
                <a:lnTo>
                  <a:pt x="1324" y="7967"/>
                </a:lnTo>
                <a:lnTo>
                  <a:pt x="1393" y="8019"/>
                </a:lnTo>
                <a:lnTo>
                  <a:pt x="1456" y="8069"/>
                </a:lnTo>
                <a:lnTo>
                  <a:pt x="1530" y="8115"/>
                </a:lnTo>
                <a:lnTo>
                  <a:pt x="1594" y="8159"/>
                </a:lnTo>
                <a:lnTo>
                  <a:pt x="1668" y="8204"/>
                </a:lnTo>
                <a:lnTo>
                  <a:pt x="1742" y="8246"/>
                </a:lnTo>
                <a:lnTo>
                  <a:pt x="1812" y="8285"/>
                </a:lnTo>
                <a:lnTo>
                  <a:pt x="1887" y="8322"/>
                </a:lnTo>
                <a:lnTo>
                  <a:pt x="1967" y="8360"/>
                </a:lnTo>
                <a:lnTo>
                  <a:pt x="2043" y="8390"/>
                </a:lnTo>
                <a:lnTo>
                  <a:pt x="2123" y="8423"/>
                </a:lnTo>
                <a:lnTo>
                  <a:pt x="2204" y="8451"/>
                </a:lnTo>
                <a:lnTo>
                  <a:pt x="2285" y="8483"/>
                </a:lnTo>
                <a:lnTo>
                  <a:pt x="2369" y="8504"/>
                </a:lnTo>
                <a:lnTo>
                  <a:pt x="2450" y="8528"/>
                </a:lnTo>
                <a:lnTo>
                  <a:pt x="2537" y="8549"/>
                </a:lnTo>
                <a:lnTo>
                  <a:pt x="2623" y="8570"/>
                </a:lnTo>
                <a:lnTo>
                  <a:pt x="2711" y="8585"/>
                </a:lnTo>
                <a:lnTo>
                  <a:pt x="2798" y="8601"/>
                </a:lnTo>
                <a:lnTo>
                  <a:pt x="2892" y="8613"/>
                </a:lnTo>
                <a:lnTo>
                  <a:pt x="2982" y="8622"/>
                </a:lnTo>
                <a:lnTo>
                  <a:pt x="3073" y="8630"/>
                </a:lnTo>
                <a:lnTo>
                  <a:pt x="3168" y="8636"/>
                </a:lnTo>
                <a:lnTo>
                  <a:pt x="3262" y="8640"/>
                </a:lnTo>
                <a:lnTo>
                  <a:pt x="3357" y="8640"/>
                </a:lnTo>
                <a:lnTo>
                  <a:pt x="3518" y="8636"/>
                </a:lnTo>
                <a:lnTo>
                  <a:pt x="3674" y="8630"/>
                </a:lnTo>
                <a:lnTo>
                  <a:pt x="3830" y="8613"/>
                </a:lnTo>
                <a:lnTo>
                  <a:pt x="3981" y="8592"/>
                </a:lnTo>
                <a:lnTo>
                  <a:pt x="4130" y="8564"/>
                </a:lnTo>
                <a:lnTo>
                  <a:pt x="4276" y="8528"/>
                </a:lnTo>
                <a:lnTo>
                  <a:pt x="4418" y="8492"/>
                </a:lnTo>
                <a:lnTo>
                  <a:pt x="4561" y="8445"/>
                </a:lnTo>
                <a:lnTo>
                  <a:pt x="4698" y="8394"/>
                </a:lnTo>
                <a:lnTo>
                  <a:pt x="4830" y="8340"/>
                </a:lnTo>
                <a:lnTo>
                  <a:pt x="4957" y="8276"/>
                </a:lnTo>
                <a:lnTo>
                  <a:pt x="5085" y="8208"/>
                </a:lnTo>
                <a:lnTo>
                  <a:pt x="5204" y="8133"/>
                </a:lnTo>
                <a:lnTo>
                  <a:pt x="5318" y="8054"/>
                </a:lnTo>
                <a:lnTo>
                  <a:pt x="5429" y="7971"/>
                </a:lnTo>
                <a:lnTo>
                  <a:pt x="5537" y="7883"/>
                </a:lnTo>
                <a:lnTo>
                  <a:pt x="5640" y="7788"/>
                </a:lnTo>
                <a:lnTo>
                  <a:pt x="5735" y="7689"/>
                </a:lnTo>
                <a:lnTo>
                  <a:pt x="5825" y="7584"/>
                </a:lnTo>
                <a:lnTo>
                  <a:pt x="5911" y="7472"/>
                </a:lnTo>
                <a:lnTo>
                  <a:pt x="5987" y="7358"/>
                </a:lnTo>
                <a:lnTo>
                  <a:pt x="6062" y="7239"/>
                </a:lnTo>
                <a:lnTo>
                  <a:pt x="6130" y="7115"/>
                </a:lnTo>
                <a:lnTo>
                  <a:pt x="6191" y="6988"/>
                </a:lnTo>
                <a:lnTo>
                  <a:pt x="6247" y="6856"/>
                </a:lnTo>
                <a:lnTo>
                  <a:pt x="6294" y="6715"/>
                </a:lnTo>
                <a:lnTo>
                  <a:pt x="6334" y="6575"/>
                </a:lnTo>
                <a:lnTo>
                  <a:pt x="6367" y="6425"/>
                </a:lnTo>
                <a:lnTo>
                  <a:pt x="6394" y="6277"/>
                </a:lnTo>
                <a:lnTo>
                  <a:pt x="6417" y="6121"/>
                </a:lnTo>
                <a:lnTo>
                  <a:pt x="6424" y="5962"/>
                </a:lnTo>
                <a:lnTo>
                  <a:pt x="6432" y="5795"/>
                </a:lnTo>
                <a:lnTo>
                  <a:pt x="6429" y="5649"/>
                </a:lnTo>
                <a:lnTo>
                  <a:pt x="6418" y="5502"/>
                </a:lnTo>
                <a:lnTo>
                  <a:pt x="6405" y="5364"/>
                </a:lnTo>
                <a:lnTo>
                  <a:pt x="6385" y="5227"/>
                </a:lnTo>
                <a:lnTo>
                  <a:pt x="6361" y="5095"/>
                </a:lnTo>
                <a:lnTo>
                  <a:pt x="6330" y="4971"/>
                </a:lnTo>
                <a:lnTo>
                  <a:pt x="6298" y="4849"/>
                </a:lnTo>
                <a:lnTo>
                  <a:pt x="6256" y="4731"/>
                </a:lnTo>
                <a:lnTo>
                  <a:pt x="6211" y="4620"/>
                </a:lnTo>
                <a:lnTo>
                  <a:pt x="6161" y="4507"/>
                </a:lnTo>
                <a:lnTo>
                  <a:pt x="6110" y="4404"/>
                </a:lnTo>
                <a:lnTo>
                  <a:pt x="6049" y="4301"/>
                </a:lnTo>
                <a:lnTo>
                  <a:pt x="5987" y="4205"/>
                </a:lnTo>
                <a:lnTo>
                  <a:pt x="5921" y="4112"/>
                </a:lnTo>
                <a:lnTo>
                  <a:pt x="5849" y="4020"/>
                </a:lnTo>
                <a:lnTo>
                  <a:pt x="5774" y="3936"/>
                </a:lnTo>
                <a:lnTo>
                  <a:pt x="5693" y="3855"/>
                </a:lnTo>
                <a:lnTo>
                  <a:pt x="5612" y="3779"/>
                </a:lnTo>
                <a:lnTo>
                  <a:pt x="5523" y="3704"/>
                </a:lnTo>
                <a:lnTo>
                  <a:pt x="5436" y="3632"/>
                </a:lnTo>
                <a:lnTo>
                  <a:pt x="5342" y="3564"/>
                </a:lnTo>
                <a:lnTo>
                  <a:pt x="5247" y="3500"/>
                </a:lnTo>
                <a:lnTo>
                  <a:pt x="5144" y="3438"/>
                </a:lnTo>
                <a:lnTo>
                  <a:pt x="5043" y="3381"/>
                </a:lnTo>
                <a:lnTo>
                  <a:pt x="4935" y="3330"/>
                </a:lnTo>
                <a:lnTo>
                  <a:pt x="4825" y="3281"/>
                </a:lnTo>
                <a:lnTo>
                  <a:pt x="4713" y="3231"/>
                </a:lnTo>
                <a:lnTo>
                  <a:pt x="4599" y="3188"/>
                </a:lnTo>
                <a:lnTo>
                  <a:pt x="4484" y="3149"/>
                </a:lnTo>
                <a:lnTo>
                  <a:pt x="4366" y="3111"/>
                </a:lnTo>
                <a:lnTo>
                  <a:pt x="4243" y="3078"/>
                </a:lnTo>
                <a:lnTo>
                  <a:pt x="4118" y="3048"/>
                </a:lnTo>
                <a:lnTo>
                  <a:pt x="2819" y="3048"/>
                </a:lnTo>
                <a:lnTo>
                  <a:pt x="2840" y="2894"/>
                </a:lnTo>
                <a:lnTo>
                  <a:pt x="2869" y="2749"/>
                </a:lnTo>
                <a:lnTo>
                  <a:pt x="2905" y="2611"/>
                </a:lnTo>
                <a:lnTo>
                  <a:pt x="2943" y="2476"/>
                </a:lnTo>
                <a:lnTo>
                  <a:pt x="2988" y="2348"/>
                </a:lnTo>
                <a:lnTo>
                  <a:pt x="3043" y="2222"/>
                </a:lnTo>
                <a:lnTo>
                  <a:pt x="3100" y="2104"/>
                </a:lnTo>
                <a:lnTo>
                  <a:pt x="3166" y="1990"/>
                </a:lnTo>
                <a:lnTo>
                  <a:pt x="3237" y="1880"/>
                </a:lnTo>
                <a:lnTo>
                  <a:pt x="3313" y="1775"/>
                </a:lnTo>
                <a:lnTo>
                  <a:pt x="3399" y="1673"/>
                </a:lnTo>
                <a:lnTo>
                  <a:pt x="3488" y="1579"/>
                </a:lnTo>
                <a:lnTo>
                  <a:pt x="3582" y="1489"/>
                </a:lnTo>
                <a:lnTo>
                  <a:pt x="3684" y="1404"/>
                </a:lnTo>
                <a:lnTo>
                  <a:pt x="3788" y="1318"/>
                </a:lnTo>
                <a:lnTo>
                  <a:pt x="3900" y="1242"/>
                </a:lnTo>
                <a:lnTo>
                  <a:pt x="4019" y="1167"/>
                </a:lnTo>
                <a:lnTo>
                  <a:pt x="4142" y="1096"/>
                </a:lnTo>
                <a:lnTo>
                  <a:pt x="4270" y="1033"/>
                </a:lnTo>
                <a:lnTo>
                  <a:pt x="4405" y="967"/>
                </a:lnTo>
                <a:lnTo>
                  <a:pt x="4544" y="907"/>
                </a:lnTo>
                <a:lnTo>
                  <a:pt x="4692" y="853"/>
                </a:lnTo>
                <a:lnTo>
                  <a:pt x="4843" y="798"/>
                </a:lnTo>
                <a:lnTo>
                  <a:pt x="4999" y="753"/>
                </a:lnTo>
                <a:lnTo>
                  <a:pt x="5157" y="703"/>
                </a:lnTo>
                <a:lnTo>
                  <a:pt x="5328" y="660"/>
                </a:lnTo>
                <a:lnTo>
                  <a:pt x="5498" y="621"/>
                </a:lnTo>
                <a:lnTo>
                  <a:pt x="5673" y="583"/>
                </a:lnTo>
                <a:lnTo>
                  <a:pt x="5855" y="546"/>
                </a:lnTo>
                <a:lnTo>
                  <a:pt x="6043" y="514"/>
                </a:lnTo>
                <a:lnTo>
                  <a:pt x="6236" y="484"/>
                </a:lnTo>
                <a:lnTo>
                  <a:pt x="6432" y="457"/>
                </a:lnTo>
                <a:lnTo>
                  <a:pt x="6432" y="0"/>
                </a:lnTo>
                <a:lnTo>
                  <a:pt x="2720" y="0"/>
                </a:lnTo>
                <a:lnTo>
                  <a:pt x="2687" y="16"/>
                </a:lnTo>
                <a:close/>
              </a:path>
            </a:pathLst>
          </a:custGeom>
          <a:solidFill>
            <a:schemeClr val="accent6"/>
          </a:solidFill>
          <a:ln>
            <a:noFill/>
          </a:ln>
        </p:spPr>
        <p:txBody>
          <a:bodyPr vert="horz" wrap="square" lIns="91440" tIns="45720" rIns="91440" bIns="45720" numCol="1" anchor="t" anchorCtr="0" compatLnSpc="1">
            <a:prstTxWarp prst="textNoShape">
              <a:avLst/>
            </a:prstTxWarp>
          </a:bodyPr>
          <a:lstStyle/>
          <a:p>
            <a:endParaRPr lang="en-US" sz="1800"/>
          </a:p>
        </p:txBody>
      </p:sp>
    </p:spTree>
    <p:extLst>
      <p:ext uri="{BB962C8B-B14F-4D97-AF65-F5344CB8AC3E}">
        <p14:creationId xmlns:p14="http://schemas.microsoft.com/office/powerpoint/2010/main" val="217847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Forward-looking statem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127842-66B2-13BF-34F0-6B00923FAB55}"/>
              </a:ext>
            </a:extLst>
          </p:cNvPr>
          <p:cNvSpPr/>
          <p:nvPr userDrawn="1"/>
        </p:nvSpPr>
        <p:spPr>
          <a:xfrm>
            <a:off x="685800" y="1"/>
            <a:ext cx="10820400" cy="12827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4" name="Rectangle 3">
            <a:extLst>
              <a:ext uri="{FF2B5EF4-FFF2-40B4-BE49-F238E27FC236}">
                <a16:creationId xmlns:a16="http://schemas.microsoft.com/office/drawing/2014/main" id="{21C5876B-FB46-A3BD-1E55-E15CBDA5F8D9}"/>
              </a:ext>
            </a:extLst>
          </p:cNvPr>
          <p:cNvSpPr/>
          <p:nvPr userDrawn="1"/>
        </p:nvSpPr>
        <p:spPr>
          <a:xfrm>
            <a:off x="685800" y="1282701"/>
            <a:ext cx="10820400" cy="4889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1371600" y="291164"/>
            <a:ext cx="9448800" cy="763921"/>
          </a:xfrm>
        </p:spPr>
        <p:txBody>
          <a:bodyPr/>
          <a:lstStyle>
            <a:lvl1pPr algn="ct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1371600" y="1512888"/>
            <a:ext cx="9448800" cy="4293552"/>
          </a:xfrm>
        </p:spPr>
        <p:txBody>
          <a:bodyPr lIns="0" tIns="0" rIns="0" bIns="0" anchor="ctr">
            <a:normAutofit/>
          </a:bodyPr>
          <a:lstStyle>
            <a:lvl1pPr marL="0" indent="0" algn="just">
              <a:lnSpc>
                <a:spcPct val="125000"/>
              </a:lnSpc>
              <a:spcBef>
                <a:spcPts val="0"/>
              </a:spcBef>
              <a:buClr>
                <a:schemeClr val="accent4"/>
              </a:buClr>
              <a:buFont typeface="Nunito Sans Light" panose="00000400000000000000" pitchFamily="2" charset="0"/>
              <a:buChar char="​"/>
              <a:defRPr sz="2800" b="0" i="0">
                <a:latin typeface="+mn-lt"/>
              </a:defRPr>
            </a:lvl1pPr>
            <a:lvl2pPr marL="228594" indent="0">
              <a:lnSpc>
                <a:spcPct val="100000"/>
              </a:lnSpc>
              <a:spcBef>
                <a:spcPts val="0"/>
              </a:spcBef>
              <a:buSzPct val="100000"/>
              <a:buFont typeface="Arial" panose="020B0604020202020204" pitchFamily="34" charset="0"/>
              <a:buNone/>
              <a:defRPr sz="2800" b="0" i="0">
                <a:latin typeface="+mn-lt"/>
              </a:defRPr>
            </a:lvl2pPr>
            <a:lvl3pPr marL="685783" indent="-228594">
              <a:lnSpc>
                <a:spcPct val="100000"/>
              </a:lnSpc>
              <a:spcBef>
                <a:spcPts val="0"/>
              </a:spcBef>
              <a:buFont typeface="Calibri" panose="020F0502020204030204" pitchFamily="34" charset="0"/>
              <a:buChar char="–"/>
              <a:defRPr sz="2800" b="0" i="0">
                <a:latin typeface="+mn-lt"/>
              </a:defRPr>
            </a:lvl3pPr>
            <a:lvl4pPr marL="914377" indent="-228594">
              <a:lnSpc>
                <a:spcPct val="100000"/>
              </a:lnSpc>
              <a:spcBef>
                <a:spcPts val="0"/>
              </a:spcBef>
              <a:buFont typeface="Arial" panose="020B0604020202020204" pitchFamily="34" charset="0"/>
              <a:buChar char="•"/>
              <a:defRPr sz="2800" b="0" i="0">
                <a:latin typeface="+mn-lt"/>
              </a:defRPr>
            </a:lvl4pPr>
            <a:lvl5pPr marL="1142971" indent="-228594">
              <a:lnSpc>
                <a:spcPct val="100000"/>
              </a:lnSpc>
              <a:spcBef>
                <a:spcPts val="0"/>
              </a:spcBef>
              <a:buFont typeface="Calibri" panose="020F0502020204030204" pitchFamily="34" charset="0"/>
              <a:buChar char="–"/>
              <a:defRPr sz="2800" b="0" i="0">
                <a:latin typeface="+mn-lt"/>
              </a:defRPr>
            </a:lvl5pPr>
          </a:lstStyle>
          <a:p>
            <a:pPr lvl="0"/>
            <a:r>
              <a:rPr lang="en-US"/>
              <a:t>Click to edit Master text styles</a:t>
            </a:r>
          </a:p>
        </p:txBody>
      </p:sp>
    </p:spTree>
    <p:extLst>
      <p:ext uri="{BB962C8B-B14F-4D97-AF65-F5344CB8AC3E}">
        <p14:creationId xmlns:p14="http://schemas.microsoft.com/office/powerpoint/2010/main" val="2272927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Side title + conten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85800" y="671788"/>
            <a:ext cx="3163824" cy="1828800"/>
          </a:xfrm>
        </p:spPr>
        <p:txBody>
          <a:bodyPr anchor="t"/>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5221225" y="685801"/>
            <a:ext cx="6284977" cy="550047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86434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Side title only">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85800" y="671788"/>
            <a:ext cx="3163824" cy="1828800"/>
          </a:xfrm>
        </p:spPr>
        <p:txBody>
          <a:bodyPr anchor="t"/>
          <a:lstStyle/>
          <a:p>
            <a:r>
              <a:rPr lang="en-US"/>
              <a:t>Click to edit Master title style</a:t>
            </a:r>
          </a:p>
        </p:txBody>
      </p:sp>
    </p:spTree>
    <p:extLst>
      <p:ext uri="{BB962C8B-B14F-4D97-AF65-F5344CB8AC3E}">
        <p14:creationId xmlns:p14="http://schemas.microsoft.com/office/powerpoint/2010/main" val="1962227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a:xfrm>
            <a:off x="0" y="6867312"/>
            <a:ext cx="2743200" cy="131155"/>
          </a:xfrm>
          <a:prstGeom prst="rect">
            <a:avLst/>
          </a:prstGeom>
        </p:spPr>
        <p:txBody>
          <a:bodyPr vert="horz" lIns="91440" tIns="45720" rIns="91440" bIns="45720" rtlCol="0" anchor="ctr"/>
          <a:lstStyle>
            <a:defPPr>
              <a:defRPr lang="en-US"/>
            </a:defPPr>
            <a:lvl1pPr marL="0" algn="l" defTabSz="914377" rtl="0" eaLnBrk="1" latinLnBrk="0" hangingPunct="1">
              <a:defRPr sz="700" b="0" i="0" kern="1200">
                <a:solidFill>
                  <a:schemeClr val="tx1">
                    <a:tint val="75000"/>
                  </a:schemeClr>
                </a:solidFill>
                <a:latin typeface="Nunito Sans Light" pitchFamily="2" charset="77"/>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defRPr/>
            </a:pPr>
            <a:endParaRPr lang="en-US">
              <a:solidFill>
                <a:srgbClr val="000000">
                  <a:tint val="75000"/>
                </a:srgbClr>
              </a:solidFill>
            </a:endParaRPr>
          </a:p>
        </p:txBody>
      </p:sp>
    </p:spTree>
    <p:extLst>
      <p:ext uri="{BB962C8B-B14F-4D97-AF65-F5344CB8AC3E}">
        <p14:creationId xmlns:p14="http://schemas.microsoft.com/office/powerpoint/2010/main" val="17952101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type="blank" preserve="1">
  <p:cSld name="Blank, no footer">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a:xfrm>
            <a:off x="0" y="6867312"/>
            <a:ext cx="2743200" cy="131155"/>
          </a:xfrm>
          <a:prstGeom prst="rect">
            <a:avLst/>
          </a:prstGeom>
        </p:spPr>
        <p:txBody>
          <a:bodyPr vert="horz" lIns="91440" tIns="45720" rIns="91440" bIns="45720" rtlCol="0" anchor="ctr"/>
          <a:lstStyle>
            <a:defPPr>
              <a:defRPr lang="en-US"/>
            </a:defPPr>
            <a:lvl1pPr marL="0" algn="l" defTabSz="914377" rtl="0" eaLnBrk="1" latinLnBrk="0" hangingPunct="1">
              <a:defRPr sz="700" b="0" i="0" kern="1200">
                <a:solidFill>
                  <a:schemeClr val="tx1">
                    <a:tint val="75000"/>
                  </a:schemeClr>
                </a:solidFill>
                <a:latin typeface="Nunito Sans Light" pitchFamily="2" charset="77"/>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defRPr/>
            </a:pPr>
            <a:endParaRPr lang="en-US">
              <a:solidFill>
                <a:srgbClr val="000000">
                  <a:tint val="75000"/>
                </a:srgbClr>
              </a:solidFill>
            </a:endParaRPr>
          </a:p>
        </p:txBody>
      </p:sp>
    </p:spTree>
    <p:extLst>
      <p:ext uri="{BB962C8B-B14F-4D97-AF65-F5344CB8AC3E}">
        <p14:creationId xmlns:p14="http://schemas.microsoft.com/office/powerpoint/2010/main" val="3335900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0104BBC-C083-0ACE-9710-7D5F46844F10}"/>
              </a:ext>
            </a:extLst>
          </p:cNvPr>
          <p:cNvPicPr>
            <a:picLocks noChangeAspect="1"/>
          </p:cNvPicPr>
          <p:nvPr userDrawn="1"/>
        </p:nvPicPr>
        <p:blipFill>
          <a:blip r:embed="rId2"/>
          <a:srcRect/>
          <a:stretch/>
        </p:blipFill>
        <p:spPr>
          <a:xfrm>
            <a:off x="3810000" y="2087839"/>
            <a:ext cx="4572000" cy="2682324"/>
          </a:xfrm>
          <a:prstGeom prst="rect">
            <a:avLst/>
          </a:prstGeom>
        </p:spPr>
      </p:pic>
    </p:spTree>
    <p:extLst>
      <p:ext uri="{BB962C8B-B14F-4D97-AF65-F5344CB8AC3E}">
        <p14:creationId xmlns:p14="http://schemas.microsoft.com/office/powerpoint/2010/main" val="2305658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Divider slide + logo">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485355A-452D-2D14-9963-AB23D646FDEA}"/>
              </a:ext>
            </a:extLst>
          </p:cNvPr>
          <p:cNvSpPr/>
          <p:nvPr userDrawn="1"/>
        </p:nvSpPr>
        <p:spPr>
          <a:xfrm>
            <a:off x="6440424" y="-3"/>
            <a:ext cx="5751576" cy="685800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2" y="685800"/>
            <a:ext cx="5067300" cy="5486400"/>
          </a:xfrm>
        </p:spPr>
        <p:txBody>
          <a:bodyPr anchor="ctr" anchorCtr="0"/>
          <a:lstStyle>
            <a:lvl1pPr>
              <a:defRPr sz="4800"/>
            </a:lvl1pPr>
          </a:lstStyle>
          <a:p>
            <a:r>
              <a:rPr lang="en-US"/>
              <a:t>Click to edit Master title style</a:t>
            </a:r>
          </a:p>
        </p:txBody>
      </p:sp>
      <p:sp>
        <p:nvSpPr>
          <p:cNvPr id="15" name="Rectangle 14">
            <a:extLst>
              <a:ext uri="{FF2B5EF4-FFF2-40B4-BE49-F238E27FC236}">
                <a16:creationId xmlns:a16="http://schemas.microsoft.com/office/drawing/2014/main" id="{78EB67E5-80B8-5779-08EC-DAC38499FDE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bg1"/>
                </a:solidFill>
                <a:effectLst/>
                <a:uLnTx/>
                <a:uFillTx/>
                <a:latin typeface="+mn-lt"/>
                <a:ea typeface="Roboto" panose="02000000000000000000" pitchFamily="2" charset="0"/>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bg1"/>
              </a:solidFill>
              <a:effectLst/>
              <a:uLnTx/>
              <a:uFillTx/>
              <a:latin typeface="+mn-lt"/>
              <a:ea typeface="Roboto" panose="02000000000000000000" pitchFamily="2" charset="0"/>
            </a:endParaRPr>
          </a:p>
        </p:txBody>
      </p:sp>
      <p:pic>
        <p:nvPicPr>
          <p:cNvPr id="4" name="Picture 3">
            <a:extLst>
              <a:ext uri="{FF2B5EF4-FFF2-40B4-BE49-F238E27FC236}">
                <a16:creationId xmlns:a16="http://schemas.microsoft.com/office/drawing/2014/main" id="{C7CABB0F-7C92-F76A-454C-1DB5378C1B2C}"/>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
        <p:nvSpPr>
          <p:cNvPr id="5" name="Rectangle 4">
            <a:extLst>
              <a:ext uri="{FF2B5EF4-FFF2-40B4-BE49-F238E27FC236}">
                <a16:creationId xmlns:a16="http://schemas.microsoft.com/office/drawing/2014/main" id="{404371FC-6C12-399A-C42F-4E6A8BB82542}"/>
              </a:ext>
            </a:extLst>
          </p:cNvPr>
          <p:cNvSpPr/>
          <p:nvPr userDrawn="1"/>
        </p:nvSpPr>
        <p:spPr>
          <a:xfrm>
            <a:off x="6803569" y="3429000"/>
            <a:ext cx="1143000" cy="3429000"/>
          </a:xfrm>
          <a:prstGeom prst="rect">
            <a:avLst/>
          </a:prstGeom>
          <a:solidFill>
            <a:srgbClr val="B86497"/>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6" name="Rectangle 5">
            <a:extLst>
              <a:ext uri="{FF2B5EF4-FFF2-40B4-BE49-F238E27FC236}">
                <a16:creationId xmlns:a16="http://schemas.microsoft.com/office/drawing/2014/main" id="{953DAB1D-48AE-0B85-0EC5-FC8C541D88DF}"/>
              </a:ext>
            </a:extLst>
          </p:cNvPr>
          <p:cNvSpPr/>
          <p:nvPr userDrawn="1"/>
        </p:nvSpPr>
        <p:spPr>
          <a:xfrm>
            <a:off x="8147957" y="4158344"/>
            <a:ext cx="1828800" cy="2699657"/>
          </a:xfrm>
          <a:prstGeom prst="rect">
            <a:avLst/>
          </a:prstGeom>
          <a:solidFill>
            <a:srgbClr val="F7934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7" name="Rectangle 6">
            <a:extLst>
              <a:ext uri="{FF2B5EF4-FFF2-40B4-BE49-F238E27FC236}">
                <a16:creationId xmlns:a16="http://schemas.microsoft.com/office/drawing/2014/main" id="{FD8C3C2B-D836-A463-C4BA-30C362F22E07}"/>
              </a:ext>
            </a:extLst>
          </p:cNvPr>
          <p:cNvSpPr/>
          <p:nvPr userDrawn="1"/>
        </p:nvSpPr>
        <p:spPr>
          <a:xfrm>
            <a:off x="10210801" y="1"/>
            <a:ext cx="914400" cy="2536371"/>
          </a:xfrm>
          <a:prstGeom prst="rect">
            <a:avLst/>
          </a:prstGeom>
          <a:solidFill>
            <a:srgbClr val="F48DA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pic>
        <p:nvPicPr>
          <p:cNvPr id="9" name="Picture 8" descr="Background pattern&#10;&#10;Description automatically generated">
            <a:extLst>
              <a:ext uri="{FF2B5EF4-FFF2-40B4-BE49-F238E27FC236}">
                <a16:creationId xmlns:a16="http://schemas.microsoft.com/office/drawing/2014/main" id="{94539486-B6EA-A65F-6529-48203A79F779}"/>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6803569" y="3429000"/>
            <a:ext cx="1143000" cy="3429000"/>
          </a:xfrm>
          <a:prstGeom prst="rect">
            <a:avLst/>
          </a:prstGeom>
        </p:spPr>
      </p:pic>
      <p:pic>
        <p:nvPicPr>
          <p:cNvPr id="10" name="Picture 9" descr="A picture containing chart&#10;&#10;Description automatically generated">
            <a:extLst>
              <a:ext uri="{FF2B5EF4-FFF2-40B4-BE49-F238E27FC236}">
                <a16:creationId xmlns:a16="http://schemas.microsoft.com/office/drawing/2014/main" id="{24E4DDC0-DB82-5541-CA7A-F05EE287E835}"/>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8147958" y="4158341"/>
            <a:ext cx="1828799" cy="2699659"/>
          </a:xfrm>
          <a:prstGeom prst="rect">
            <a:avLst/>
          </a:prstGeom>
        </p:spPr>
      </p:pic>
      <p:pic>
        <p:nvPicPr>
          <p:cNvPr id="11" name="Picture 10" descr="Background pattern&#10;&#10;Description automatically generated">
            <a:extLst>
              <a:ext uri="{FF2B5EF4-FFF2-40B4-BE49-F238E27FC236}">
                <a16:creationId xmlns:a16="http://schemas.microsoft.com/office/drawing/2014/main" id="{6F9CA192-B222-E088-D647-B8073D9D794A}"/>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10210802" y="1"/>
            <a:ext cx="914399" cy="2536371"/>
          </a:xfrm>
          <a:prstGeom prst="rect">
            <a:avLst/>
          </a:prstGeom>
        </p:spPr>
      </p:pic>
    </p:spTree>
    <p:extLst>
      <p:ext uri="{BB962C8B-B14F-4D97-AF65-F5344CB8AC3E}">
        <p14:creationId xmlns:p14="http://schemas.microsoft.com/office/powerpoint/2010/main" val="2304707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Photo divider slide + logo">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29775444-26E2-8EE1-2D8A-B87C1CC7DCAA}"/>
              </a:ext>
            </a:extLst>
          </p:cNvPr>
          <p:cNvSpPr/>
          <p:nvPr userDrawn="1"/>
        </p:nvSpPr>
        <p:spPr>
          <a:xfrm>
            <a:off x="6438901" y="0"/>
            <a:ext cx="57531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2" y="685800"/>
            <a:ext cx="4724399" cy="5486400"/>
          </a:xfrm>
        </p:spPr>
        <p:txBody>
          <a:bodyPr anchor="ctr" anchorCtr="0"/>
          <a:lstStyle>
            <a:lvl1pPr>
              <a:defRPr sz="4800"/>
            </a:lvl1pPr>
          </a:lstStyle>
          <a:p>
            <a:r>
              <a:rPr lang="en-US"/>
              <a:t>Click to edit Master title style</a:t>
            </a:r>
          </a:p>
        </p:txBody>
      </p:sp>
      <p:sp>
        <p:nvSpPr>
          <p:cNvPr id="15" name="Rectangle 14">
            <a:extLst>
              <a:ext uri="{FF2B5EF4-FFF2-40B4-BE49-F238E27FC236}">
                <a16:creationId xmlns:a16="http://schemas.microsoft.com/office/drawing/2014/main" id="{78EB67E5-80B8-5779-08EC-DAC38499FDE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bg1"/>
                </a:solidFill>
                <a:effectLst/>
                <a:uLnTx/>
                <a:uFillTx/>
                <a:latin typeface="+mn-lt"/>
                <a:ea typeface="Roboto" panose="02000000000000000000" pitchFamily="2" charset="0"/>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bg1"/>
              </a:solidFill>
              <a:effectLst/>
              <a:uLnTx/>
              <a:uFillTx/>
              <a:latin typeface="+mn-lt"/>
              <a:ea typeface="Roboto" panose="02000000000000000000" pitchFamily="2" charset="0"/>
            </a:endParaRPr>
          </a:p>
        </p:txBody>
      </p:sp>
      <p:sp>
        <p:nvSpPr>
          <p:cNvPr id="5" name="Picture Placeholder 4">
            <a:extLst>
              <a:ext uri="{FF2B5EF4-FFF2-40B4-BE49-F238E27FC236}">
                <a16:creationId xmlns:a16="http://schemas.microsoft.com/office/drawing/2014/main" id="{83AEB3E6-FC90-F36D-6133-B21D36216A13}"/>
              </a:ext>
            </a:extLst>
          </p:cNvPr>
          <p:cNvSpPr>
            <a:spLocks noGrp="1"/>
          </p:cNvSpPr>
          <p:nvPr>
            <p:ph type="pic" sz="quarter" idx="10"/>
          </p:nvPr>
        </p:nvSpPr>
        <p:spPr>
          <a:xfrm>
            <a:off x="6096002" y="685800"/>
            <a:ext cx="5410199" cy="5486400"/>
          </a:xfrm>
        </p:spPr>
        <p:txBody>
          <a:bodyPr anchor="ctr">
            <a:normAutofit/>
          </a:bodyPr>
          <a:lstStyle>
            <a:lvl1pPr marL="0" indent="0" algn="ctr">
              <a:buFontTx/>
              <a:buNone/>
              <a:defRPr sz="4800">
                <a:solidFill>
                  <a:schemeClr val="bg1"/>
                </a:solidFill>
              </a:defRPr>
            </a:lvl1pPr>
          </a:lstStyle>
          <a:p>
            <a:r>
              <a:rPr lang="en-US"/>
              <a:t>Click icon to add picture</a:t>
            </a:r>
          </a:p>
        </p:txBody>
      </p:sp>
      <p:pic>
        <p:nvPicPr>
          <p:cNvPr id="3" name="Picture 2">
            <a:extLst>
              <a:ext uri="{FF2B5EF4-FFF2-40B4-BE49-F238E27FC236}">
                <a16:creationId xmlns:a16="http://schemas.microsoft.com/office/drawing/2014/main" id="{BC4F60F5-33AB-466D-BEEB-87676DDA87BD}"/>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1767998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4F6A0-CD6C-4118-91A6-B02DD0FEE683}"/>
              </a:ext>
            </a:extLst>
          </p:cNvPr>
          <p:cNvSpPr>
            <a:spLocks noGrp="1"/>
          </p:cNvSpPr>
          <p:nvPr>
            <p:ph type="title"/>
          </p:nvPr>
        </p:nvSpPr>
        <p:spPr>
          <a:xfrm>
            <a:off x="685800" y="291162"/>
            <a:ext cx="10789920" cy="1080438"/>
          </a:xfrm>
        </p:spPr>
        <p:txBody>
          <a:bodyPr/>
          <a:lstStyle/>
          <a:p>
            <a:r>
              <a:rPr lang="en-US"/>
              <a:t>Click to edit Master title style</a:t>
            </a:r>
          </a:p>
        </p:txBody>
      </p:sp>
      <p:sp>
        <p:nvSpPr>
          <p:cNvPr id="3" name="Content Placeholder Left">
            <a:extLst>
              <a:ext uri="{FF2B5EF4-FFF2-40B4-BE49-F238E27FC236}">
                <a16:creationId xmlns:a16="http://schemas.microsoft.com/office/drawing/2014/main" id="{7310F0D2-09AC-4753-AE61-EE8BA4D96F87}"/>
              </a:ext>
            </a:extLst>
          </p:cNvPr>
          <p:cNvSpPr>
            <a:spLocks noGrp="1"/>
          </p:cNvSpPr>
          <p:nvPr>
            <p:ph sz="half" idx="1"/>
          </p:nvPr>
        </p:nvSpPr>
        <p:spPr>
          <a:xfrm>
            <a:off x="685800" y="1600200"/>
            <a:ext cx="5334000" cy="4443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Right">
            <a:extLst>
              <a:ext uri="{FF2B5EF4-FFF2-40B4-BE49-F238E27FC236}">
                <a16:creationId xmlns:a16="http://schemas.microsoft.com/office/drawing/2014/main" id="{15B4EB53-44E1-48E6-B9D5-29246AE946F5}"/>
              </a:ext>
            </a:extLst>
          </p:cNvPr>
          <p:cNvSpPr>
            <a:spLocks noGrp="1"/>
          </p:cNvSpPr>
          <p:nvPr>
            <p:ph sz="half" idx="2"/>
          </p:nvPr>
        </p:nvSpPr>
        <p:spPr>
          <a:xfrm>
            <a:off x="6141720" y="1600200"/>
            <a:ext cx="5334000" cy="4443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hidden="1">
            <a:extLst>
              <a:ext uri="{FF2B5EF4-FFF2-40B4-BE49-F238E27FC236}">
                <a16:creationId xmlns:a16="http://schemas.microsoft.com/office/drawing/2014/main" id="{57C3BC0D-8F24-4CEB-9CFE-3F84BC02050F}"/>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6" name="Footer Placeholder 5" hidden="1">
            <a:extLst>
              <a:ext uri="{FF2B5EF4-FFF2-40B4-BE49-F238E27FC236}">
                <a16:creationId xmlns:a16="http://schemas.microsoft.com/office/drawing/2014/main" id="{77FF5272-A131-4E4C-98AB-E45445A4B806}"/>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8" name="Logo protection area" hidden="1">
            <a:extLst>
              <a:ext uri="{FF2B5EF4-FFF2-40B4-BE49-F238E27FC236}">
                <a16:creationId xmlns:a16="http://schemas.microsoft.com/office/drawing/2014/main" id="{7F0E1CC4-A301-4314-A480-F973130C9E75}"/>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9" name="Layout Protection area" hidden="1">
            <a:extLst>
              <a:ext uri="{FF2B5EF4-FFF2-40B4-BE49-F238E27FC236}">
                <a16:creationId xmlns:a16="http://schemas.microsoft.com/office/drawing/2014/main" id="{2F7EEDD2-E625-4C39-B575-2F5B67C584D0}"/>
              </a:ext>
            </a:extLst>
          </p:cNvPr>
          <p:cNvSpPr/>
          <p:nvPr userDrawn="1">
            <p:custDataLst>
              <p:tags r:id="rId2"/>
            </p:custDataLst>
          </p:nvPr>
        </p:nvSpPr>
        <p:spPr>
          <a:xfrm>
            <a:off x="664420" y="1572242"/>
            <a:ext cx="10841780" cy="449963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7" name="Slide Number Placeholder 6">
            <a:extLst>
              <a:ext uri="{FF2B5EF4-FFF2-40B4-BE49-F238E27FC236}">
                <a16:creationId xmlns:a16="http://schemas.microsoft.com/office/drawing/2014/main" id="{EA0FD988-5FC7-45C9-9B14-D9DD7353B91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D34398-B1E2-43C1-9165-889316B49F6D}"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242091465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Engagement divider slide + logo">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485355A-452D-2D14-9963-AB23D646FDEA}"/>
              </a:ext>
            </a:extLst>
          </p:cNvPr>
          <p:cNvSpPr/>
          <p:nvPr userDrawn="1"/>
        </p:nvSpPr>
        <p:spPr>
          <a:xfrm>
            <a:off x="6440424" y="-3"/>
            <a:ext cx="5751576" cy="68580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2" y="2198688"/>
            <a:ext cx="5067300" cy="3973512"/>
          </a:xfrm>
        </p:spPr>
        <p:txBody>
          <a:bodyPr anchor="t" anchorCtr="0"/>
          <a:lstStyle>
            <a:lvl1pPr>
              <a:defRPr sz="4800"/>
            </a:lvl1pPr>
          </a:lstStyle>
          <a:p>
            <a:r>
              <a:rPr lang="en-US"/>
              <a:t>Click to edit Master title style</a:t>
            </a:r>
          </a:p>
        </p:txBody>
      </p:sp>
      <p:sp>
        <p:nvSpPr>
          <p:cNvPr id="15" name="Rectangle 14">
            <a:extLst>
              <a:ext uri="{FF2B5EF4-FFF2-40B4-BE49-F238E27FC236}">
                <a16:creationId xmlns:a16="http://schemas.microsoft.com/office/drawing/2014/main" id="{78EB67E5-80B8-5779-08EC-DAC38499FDE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tx1"/>
                </a:solidFill>
                <a:effectLst/>
                <a:uLnTx/>
                <a:uFillTx/>
                <a:latin typeface="+mn-lt"/>
                <a:ea typeface="Roboto" panose="02000000000000000000" pitchFamily="2" charset="0"/>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Roboto" panose="02000000000000000000" pitchFamily="2" charset="0"/>
            </a:endParaRPr>
          </a:p>
        </p:txBody>
      </p:sp>
      <p:pic>
        <p:nvPicPr>
          <p:cNvPr id="3" name="Picture 2">
            <a:extLst>
              <a:ext uri="{FF2B5EF4-FFF2-40B4-BE49-F238E27FC236}">
                <a16:creationId xmlns:a16="http://schemas.microsoft.com/office/drawing/2014/main" id="{854CB537-F3D0-C1AE-250B-D1172F1A7DCD}"/>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
        <p:nvSpPr>
          <p:cNvPr id="4" name="Rectangle 3">
            <a:extLst>
              <a:ext uri="{FF2B5EF4-FFF2-40B4-BE49-F238E27FC236}">
                <a16:creationId xmlns:a16="http://schemas.microsoft.com/office/drawing/2014/main" id="{762E56CC-6E18-73BE-726A-5D227CB7E743}"/>
              </a:ext>
            </a:extLst>
          </p:cNvPr>
          <p:cNvSpPr/>
          <p:nvPr userDrawn="1"/>
        </p:nvSpPr>
        <p:spPr>
          <a:xfrm>
            <a:off x="8763003" y="1512889"/>
            <a:ext cx="1143000" cy="5345113"/>
          </a:xfrm>
          <a:prstGeom prst="rect">
            <a:avLst/>
          </a:prstGeom>
          <a:solidFill>
            <a:srgbClr val="DA471F"/>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5" name="Rectangle 4">
            <a:extLst>
              <a:ext uri="{FF2B5EF4-FFF2-40B4-BE49-F238E27FC236}">
                <a16:creationId xmlns:a16="http://schemas.microsoft.com/office/drawing/2014/main" id="{EB47943E-D074-DED0-7AA3-27ECABCE0C8D}"/>
              </a:ext>
            </a:extLst>
          </p:cNvPr>
          <p:cNvSpPr/>
          <p:nvPr userDrawn="1"/>
        </p:nvSpPr>
        <p:spPr>
          <a:xfrm>
            <a:off x="7240590" y="3025777"/>
            <a:ext cx="657229" cy="3832225"/>
          </a:xfrm>
          <a:prstGeom prst="rect">
            <a:avLst/>
          </a:prstGeom>
          <a:solidFill>
            <a:srgbClr val="F7934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6" name="Rectangle 5">
            <a:extLst>
              <a:ext uri="{FF2B5EF4-FFF2-40B4-BE49-F238E27FC236}">
                <a16:creationId xmlns:a16="http://schemas.microsoft.com/office/drawing/2014/main" id="{9DCFD9AF-920B-0DAB-99D3-EBB6E94BC6DC}"/>
              </a:ext>
            </a:extLst>
          </p:cNvPr>
          <p:cNvSpPr/>
          <p:nvPr userDrawn="1"/>
        </p:nvSpPr>
        <p:spPr>
          <a:xfrm>
            <a:off x="10083800" y="4539118"/>
            <a:ext cx="914400" cy="2318885"/>
          </a:xfrm>
          <a:prstGeom prst="rect">
            <a:avLst/>
          </a:prstGeom>
          <a:solidFill>
            <a:srgbClr val="F37A8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pic>
        <p:nvPicPr>
          <p:cNvPr id="7" name="Picture 6" descr="A picture containing chart&#10;&#10;Description automatically generated">
            <a:extLst>
              <a:ext uri="{FF2B5EF4-FFF2-40B4-BE49-F238E27FC236}">
                <a16:creationId xmlns:a16="http://schemas.microsoft.com/office/drawing/2014/main" id="{4CDCC66D-EAFC-C951-F58C-C5BB4586F60C}"/>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8763003" y="1512889"/>
            <a:ext cx="1143000" cy="5345113"/>
          </a:xfrm>
          <a:prstGeom prst="rect">
            <a:avLst/>
          </a:prstGeom>
        </p:spPr>
      </p:pic>
      <p:pic>
        <p:nvPicPr>
          <p:cNvPr id="9" name="Picture 8" descr="A picture containing chart&#10;&#10;Description automatically generated">
            <a:extLst>
              <a:ext uri="{FF2B5EF4-FFF2-40B4-BE49-F238E27FC236}">
                <a16:creationId xmlns:a16="http://schemas.microsoft.com/office/drawing/2014/main" id="{3C95C868-299C-AF98-A0AE-2E75B6A2EAEB}"/>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10083801" y="4539119"/>
            <a:ext cx="914401" cy="2318884"/>
          </a:xfrm>
          <a:prstGeom prst="rect">
            <a:avLst/>
          </a:prstGeom>
        </p:spPr>
      </p:pic>
      <p:pic>
        <p:nvPicPr>
          <p:cNvPr id="10" name="Picture 9" descr="A picture containing chart&#10;&#10;Description automatically generated">
            <a:extLst>
              <a:ext uri="{FF2B5EF4-FFF2-40B4-BE49-F238E27FC236}">
                <a16:creationId xmlns:a16="http://schemas.microsoft.com/office/drawing/2014/main" id="{AABB29B5-9956-0AD0-0633-C04D6CDE9C28}"/>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7240590" y="3025777"/>
            <a:ext cx="657229" cy="3832224"/>
          </a:xfrm>
          <a:prstGeom prst="rect">
            <a:avLst/>
          </a:prstGeom>
        </p:spPr>
      </p:pic>
    </p:spTree>
    <p:extLst>
      <p:ext uri="{BB962C8B-B14F-4D97-AF65-F5344CB8AC3E}">
        <p14:creationId xmlns:p14="http://schemas.microsoft.com/office/powerpoint/2010/main" val="2889408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Operations divider slide + logo">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485355A-452D-2D14-9963-AB23D646FDEA}"/>
              </a:ext>
            </a:extLst>
          </p:cNvPr>
          <p:cNvSpPr/>
          <p:nvPr userDrawn="1"/>
        </p:nvSpPr>
        <p:spPr>
          <a:xfrm>
            <a:off x="6440424" y="-3"/>
            <a:ext cx="5751576" cy="68580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2" y="2198688"/>
            <a:ext cx="5067300" cy="3973512"/>
          </a:xfrm>
        </p:spPr>
        <p:txBody>
          <a:bodyPr anchor="t" anchorCtr="0"/>
          <a:lstStyle>
            <a:lvl1pPr>
              <a:defRPr sz="4800"/>
            </a:lvl1pPr>
          </a:lstStyle>
          <a:p>
            <a:r>
              <a:rPr lang="en-US"/>
              <a:t>Click to edit Master title style</a:t>
            </a:r>
          </a:p>
        </p:txBody>
      </p:sp>
      <p:sp>
        <p:nvSpPr>
          <p:cNvPr id="15" name="Rectangle 14">
            <a:extLst>
              <a:ext uri="{FF2B5EF4-FFF2-40B4-BE49-F238E27FC236}">
                <a16:creationId xmlns:a16="http://schemas.microsoft.com/office/drawing/2014/main" id="{78EB67E5-80B8-5779-08EC-DAC38499FDE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tx1"/>
                </a:solidFill>
                <a:effectLst/>
                <a:uLnTx/>
                <a:uFillTx/>
                <a:latin typeface="+mn-lt"/>
                <a:ea typeface="Roboto" panose="02000000000000000000" pitchFamily="2" charset="0"/>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Roboto" panose="02000000000000000000" pitchFamily="2" charset="0"/>
            </a:endParaRPr>
          </a:p>
        </p:txBody>
      </p:sp>
      <p:pic>
        <p:nvPicPr>
          <p:cNvPr id="3" name="Picture 2">
            <a:extLst>
              <a:ext uri="{FF2B5EF4-FFF2-40B4-BE49-F238E27FC236}">
                <a16:creationId xmlns:a16="http://schemas.microsoft.com/office/drawing/2014/main" id="{90BC8F3E-CA26-4BA3-99E5-74B9295F4E5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
        <p:nvSpPr>
          <p:cNvPr id="4" name="Rectangle 3">
            <a:extLst>
              <a:ext uri="{FF2B5EF4-FFF2-40B4-BE49-F238E27FC236}">
                <a16:creationId xmlns:a16="http://schemas.microsoft.com/office/drawing/2014/main" id="{8675E1A2-360D-B1E2-5C5C-E6F4690D3D45}"/>
              </a:ext>
            </a:extLst>
          </p:cNvPr>
          <p:cNvSpPr/>
          <p:nvPr userDrawn="1"/>
        </p:nvSpPr>
        <p:spPr>
          <a:xfrm>
            <a:off x="7353300" y="2449285"/>
            <a:ext cx="1143000" cy="4408715"/>
          </a:xfrm>
          <a:prstGeom prst="rect">
            <a:avLst/>
          </a:prstGeom>
          <a:solidFill>
            <a:srgbClr val="26672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5" name="Rectangle 4">
            <a:extLst>
              <a:ext uri="{FF2B5EF4-FFF2-40B4-BE49-F238E27FC236}">
                <a16:creationId xmlns:a16="http://schemas.microsoft.com/office/drawing/2014/main" id="{1B4D4F5B-F3CE-F6A4-1D8C-58EC7F497B77}"/>
              </a:ext>
            </a:extLst>
          </p:cNvPr>
          <p:cNvSpPr/>
          <p:nvPr userDrawn="1"/>
        </p:nvSpPr>
        <p:spPr>
          <a:xfrm>
            <a:off x="8610601" y="3853543"/>
            <a:ext cx="1828800" cy="3004459"/>
          </a:xfrm>
          <a:prstGeom prst="rect">
            <a:avLst/>
          </a:prstGeom>
          <a:solidFill>
            <a:srgbClr val="53953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6" name="Rectangle 5">
            <a:extLst>
              <a:ext uri="{FF2B5EF4-FFF2-40B4-BE49-F238E27FC236}">
                <a16:creationId xmlns:a16="http://schemas.microsoft.com/office/drawing/2014/main" id="{23561361-F433-ADFF-9A0F-75EE9C8C5247}"/>
              </a:ext>
            </a:extLst>
          </p:cNvPr>
          <p:cNvSpPr/>
          <p:nvPr userDrawn="1"/>
        </p:nvSpPr>
        <p:spPr>
          <a:xfrm>
            <a:off x="10591800" y="2"/>
            <a:ext cx="914400" cy="3015343"/>
          </a:xfrm>
          <a:prstGeom prst="rect">
            <a:avLst/>
          </a:prstGeom>
          <a:solidFill>
            <a:srgbClr val="F4E689"/>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pic>
        <p:nvPicPr>
          <p:cNvPr id="7" name="Picture 6" descr="Background pattern&#10;&#10;Description automatically generated">
            <a:extLst>
              <a:ext uri="{FF2B5EF4-FFF2-40B4-BE49-F238E27FC236}">
                <a16:creationId xmlns:a16="http://schemas.microsoft.com/office/drawing/2014/main" id="{F9165852-404E-084E-7DDB-9FE387925497}"/>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4191" t="15827" r="66845" b="9659"/>
          <a:stretch/>
        </p:blipFill>
        <p:spPr>
          <a:xfrm>
            <a:off x="7353300" y="2449287"/>
            <a:ext cx="1143000" cy="4408715"/>
          </a:xfrm>
          <a:prstGeom prst="rect">
            <a:avLst/>
          </a:prstGeom>
        </p:spPr>
      </p:pic>
      <p:pic>
        <p:nvPicPr>
          <p:cNvPr id="9" name="Picture 8" descr="Background pattern&#10;&#10;Description automatically generated">
            <a:extLst>
              <a:ext uri="{FF2B5EF4-FFF2-40B4-BE49-F238E27FC236}">
                <a16:creationId xmlns:a16="http://schemas.microsoft.com/office/drawing/2014/main" id="{D0ACD2E2-1283-B455-76EB-FD06A8C3BCB2}"/>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l="36052" t="39561" r="17605" b="9659"/>
          <a:stretch/>
        </p:blipFill>
        <p:spPr>
          <a:xfrm>
            <a:off x="8610602" y="3853541"/>
            <a:ext cx="1828799" cy="3004459"/>
          </a:xfrm>
          <a:prstGeom prst="rect">
            <a:avLst/>
          </a:prstGeom>
        </p:spPr>
      </p:pic>
      <p:pic>
        <p:nvPicPr>
          <p:cNvPr id="10" name="Picture 9" descr="Background pattern&#10;&#10;Description automatically generated">
            <a:extLst>
              <a:ext uri="{FF2B5EF4-FFF2-40B4-BE49-F238E27FC236}">
                <a16:creationId xmlns:a16="http://schemas.microsoft.com/office/drawing/2014/main" id="{DEE94E1B-944B-D86C-AD67-918B029849E5}"/>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10591801" y="0"/>
            <a:ext cx="914400" cy="3015344"/>
          </a:xfrm>
          <a:prstGeom prst="rect">
            <a:avLst/>
          </a:prstGeom>
        </p:spPr>
      </p:pic>
    </p:spTree>
    <p:extLst>
      <p:ext uri="{BB962C8B-B14F-4D97-AF65-F5344CB8AC3E}">
        <p14:creationId xmlns:p14="http://schemas.microsoft.com/office/powerpoint/2010/main" val="29037189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amp;L divider slide + logo">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485355A-452D-2D14-9963-AB23D646FDEA}"/>
              </a:ext>
            </a:extLst>
          </p:cNvPr>
          <p:cNvSpPr/>
          <p:nvPr userDrawn="1"/>
        </p:nvSpPr>
        <p:spPr>
          <a:xfrm>
            <a:off x="6440424" y="-3"/>
            <a:ext cx="5751576" cy="68580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2" y="2198690"/>
            <a:ext cx="5067300" cy="3973511"/>
          </a:xfrm>
        </p:spPr>
        <p:txBody>
          <a:bodyPr anchor="t" anchorCtr="0"/>
          <a:lstStyle>
            <a:lvl1pPr>
              <a:defRPr sz="4800"/>
            </a:lvl1pPr>
          </a:lstStyle>
          <a:p>
            <a:r>
              <a:rPr lang="en-US"/>
              <a:t>Click to edit Master title style</a:t>
            </a:r>
          </a:p>
        </p:txBody>
      </p:sp>
      <p:sp>
        <p:nvSpPr>
          <p:cNvPr id="15" name="Rectangle 14">
            <a:extLst>
              <a:ext uri="{FF2B5EF4-FFF2-40B4-BE49-F238E27FC236}">
                <a16:creationId xmlns:a16="http://schemas.microsoft.com/office/drawing/2014/main" id="{78EB67E5-80B8-5779-08EC-DAC38499FDE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tx1"/>
                </a:solidFill>
                <a:effectLst/>
                <a:uLnTx/>
                <a:uFillTx/>
                <a:latin typeface="+mn-lt"/>
                <a:ea typeface="Roboto" panose="02000000000000000000" pitchFamily="2" charset="0"/>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Roboto" panose="02000000000000000000" pitchFamily="2" charset="0"/>
            </a:endParaRPr>
          </a:p>
        </p:txBody>
      </p:sp>
      <p:pic>
        <p:nvPicPr>
          <p:cNvPr id="3" name="Picture 2">
            <a:extLst>
              <a:ext uri="{FF2B5EF4-FFF2-40B4-BE49-F238E27FC236}">
                <a16:creationId xmlns:a16="http://schemas.microsoft.com/office/drawing/2014/main" id="{877399E0-3BE5-30C7-B1F8-05EE908F1489}"/>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
        <p:nvSpPr>
          <p:cNvPr id="4" name="Rectangle 3">
            <a:extLst>
              <a:ext uri="{FF2B5EF4-FFF2-40B4-BE49-F238E27FC236}">
                <a16:creationId xmlns:a16="http://schemas.microsoft.com/office/drawing/2014/main" id="{E15BD9F1-3F26-4D81-062E-11C874419BC5}"/>
              </a:ext>
            </a:extLst>
          </p:cNvPr>
          <p:cNvSpPr/>
          <p:nvPr userDrawn="1"/>
        </p:nvSpPr>
        <p:spPr>
          <a:xfrm>
            <a:off x="6779957" y="0"/>
            <a:ext cx="1143000" cy="1512888"/>
          </a:xfrm>
          <a:prstGeom prst="rect">
            <a:avLst/>
          </a:prstGeom>
          <a:solidFill>
            <a:srgbClr val="5BC6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5" name="Rectangle 4">
            <a:extLst>
              <a:ext uri="{FF2B5EF4-FFF2-40B4-BE49-F238E27FC236}">
                <a16:creationId xmlns:a16="http://schemas.microsoft.com/office/drawing/2014/main" id="{CCDB9F1F-55F6-956C-EB48-18CF23B779C3}"/>
              </a:ext>
            </a:extLst>
          </p:cNvPr>
          <p:cNvSpPr/>
          <p:nvPr userDrawn="1"/>
        </p:nvSpPr>
        <p:spPr>
          <a:xfrm>
            <a:off x="8020049" y="3701145"/>
            <a:ext cx="1828800" cy="3156857"/>
          </a:xfrm>
          <a:prstGeom prst="rect">
            <a:avLst/>
          </a:prstGeom>
          <a:solidFill>
            <a:srgbClr val="0090A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6" name="Rectangle 5">
            <a:extLst>
              <a:ext uri="{FF2B5EF4-FFF2-40B4-BE49-F238E27FC236}">
                <a16:creationId xmlns:a16="http://schemas.microsoft.com/office/drawing/2014/main" id="{FFDE6B41-96F1-0FCF-232D-DF1A13089416}"/>
              </a:ext>
            </a:extLst>
          </p:cNvPr>
          <p:cNvSpPr/>
          <p:nvPr userDrawn="1"/>
        </p:nvSpPr>
        <p:spPr>
          <a:xfrm>
            <a:off x="10039348" y="1282701"/>
            <a:ext cx="914400" cy="5575300"/>
          </a:xfrm>
          <a:prstGeom prst="rect">
            <a:avLst/>
          </a:prstGeom>
          <a:solidFill>
            <a:srgbClr val="004C6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pic>
        <p:nvPicPr>
          <p:cNvPr id="7" name="Picture 6" descr="A picture containing graphical user interface&#10;&#10;Description automatically generated">
            <a:extLst>
              <a:ext uri="{FF2B5EF4-FFF2-40B4-BE49-F238E27FC236}">
                <a16:creationId xmlns:a16="http://schemas.microsoft.com/office/drawing/2014/main" id="{D6456DAF-4A80-9014-340C-BA8A590665E8}"/>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0039348" y="1282701"/>
            <a:ext cx="914400" cy="5575300"/>
          </a:xfrm>
          <a:prstGeom prst="rect">
            <a:avLst/>
          </a:prstGeom>
        </p:spPr>
      </p:pic>
      <p:pic>
        <p:nvPicPr>
          <p:cNvPr id="9" name="Picture 8" descr="A picture containing graphical user interface&#10;&#10;Description automatically generated">
            <a:extLst>
              <a:ext uri="{FF2B5EF4-FFF2-40B4-BE49-F238E27FC236}">
                <a16:creationId xmlns:a16="http://schemas.microsoft.com/office/drawing/2014/main" id="{27CA44DE-82D6-7282-AAB6-421F3FE0C2CE}"/>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8020051" y="3701144"/>
            <a:ext cx="1828800" cy="3156857"/>
          </a:xfrm>
          <a:prstGeom prst="rect">
            <a:avLst/>
          </a:prstGeom>
        </p:spPr>
      </p:pic>
      <p:pic>
        <p:nvPicPr>
          <p:cNvPr id="10" name="Picture 9" descr="A picture containing graphical user interface&#10;&#10;Description automatically generated">
            <a:extLst>
              <a:ext uri="{FF2B5EF4-FFF2-40B4-BE49-F238E27FC236}">
                <a16:creationId xmlns:a16="http://schemas.microsoft.com/office/drawing/2014/main" id="{40E09203-6EE3-87A0-302F-DFF192EE319E}"/>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6779957" y="2"/>
            <a:ext cx="1143000" cy="1512887"/>
          </a:xfrm>
          <a:prstGeom prst="rect">
            <a:avLst/>
          </a:prstGeom>
        </p:spPr>
      </p:pic>
    </p:spTree>
    <p:extLst>
      <p:ext uri="{BB962C8B-B14F-4D97-AF65-F5344CB8AC3E}">
        <p14:creationId xmlns:p14="http://schemas.microsoft.com/office/powerpoint/2010/main" val="701622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Services divider slide + logo">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485355A-452D-2D14-9963-AB23D646FDEA}"/>
              </a:ext>
            </a:extLst>
          </p:cNvPr>
          <p:cNvSpPr/>
          <p:nvPr userDrawn="1"/>
        </p:nvSpPr>
        <p:spPr>
          <a:xfrm>
            <a:off x="6440424" y="9523"/>
            <a:ext cx="5751576" cy="68580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2" y="2198688"/>
            <a:ext cx="5067300" cy="3973512"/>
          </a:xfrm>
        </p:spPr>
        <p:txBody>
          <a:bodyPr anchor="t" anchorCtr="0"/>
          <a:lstStyle>
            <a:lvl1pPr>
              <a:defRPr sz="4800"/>
            </a:lvl1pPr>
          </a:lstStyle>
          <a:p>
            <a:r>
              <a:rPr lang="en-US"/>
              <a:t>Click to edit Master title style</a:t>
            </a:r>
          </a:p>
        </p:txBody>
      </p:sp>
      <p:sp>
        <p:nvSpPr>
          <p:cNvPr id="15" name="Rectangle 14">
            <a:extLst>
              <a:ext uri="{FF2B5EF4-FFF2-40B4-BE49-F238E27FC236}">
                <a16:creationId xmlns:a16="http://schemas.microsoft.com/office/drawing/2014/main" id="{78EB67E5-80B8-5779-08EC-DAC38499FDE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bg1"/>
                </a:solidFill>
                <a:effectLst/>
                <a:uLnTx/>
                <a:uFillTx/>
                <a:latin typeface="+mn-lt"/>
                <a:ea typeface="Roboto" panose="02000000000000000000" pitchFamily="2" charset="0"/>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bg1"/>
              </a:solidFill>
              <a:effectLst/>
              <a:uLnTx/>
              <a:uFillTx/>
              <a:latin typeface="+mn-lt"/>
              <a:ea typeface="Roboto" panose="02000000000000000000" pitchFamily="2" charset="0"/>
            </a:endParaRPr>
          </a:p>
        </p:txBody>
      </p:sp>
      <p:pic>
        <p:nvPicPr>
          <p:cNvPr id="3" name="Picture 2">
            <a:extLst>
              <a:ext uri="{FF2B5EF4-FFF2-40B4-BE49-F238E27FC236}">
                <a16:creationId xmlns:a16="http://schemas.microsoft.com/office/drawing/2014/main" id="{1076B689-10C7-B851-D573-E7DD179C76E3}"/>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
        <p:nvSpPr>
          <p:cNvPr id="11" name="Rectangle 10">
            <a:extLst>
              <a:ext uri="{FF2B5EF4-FFF2-40B4-BE49-F238E27FC236}">
                <a16:creationId xmlns:a16="http://schemas.microsoft.com/office/drawing/2014/main" id="{52E32672-326E-6B86-C576-65C210738538}"/>
              </a:ext>
            </a:extLst>
          </p:cNvPr>
          <p:cNvSpPr/>
          <p:nvPr userDrawn="1"/>
        </p:nvSpPr>
        <p:spPr>
          <a:xfrm>
            <a:off x="6991351" y="4071258"/>
            <a:ext cx="1143000" cy="2786743"/>
          </a:xfrm>
          <a:prstGeom prst="rect">
            <a:avLst/>
          </a:prstGeom>
          <a:solidFill>
            <a:srgbClr val="87ADDB"/>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12" name="Rectangle 11">
            <a:extLst>
              <a:ext uri="{FF2B5EF4-FFF2-40B4-BE49-F238E27FC236}">
                <a16:creationId xmlns:a16="http://schemas.microsoft.com/office/drawing/2014/main" id="{74DE7CFC-45A9-CCA8-FD60-0820E5D72454}"/>
              </a:ext>
            </a:extLst>
          </p:cNvPr>
          <p:cNvSpPr/>
          <p:nvPr userDrawn="1"/>
        </p:nvSpPr>
        <p:spPr>
          <a:xfrm>
            <a:off x="8305800" y="2857501"/>
            <a:ext cx="1828800" cy="4000500"/>
          </a:xfrm>
          <a:prstGeom prst="rect">
            <a:avLst/>
          </a:prstGeom>
          <a:solidFill>
            <a:srgbClr val="6283C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13" name="Rectangle 12">
            <a:extLst>
              <a:ext uri="{FF2B5EF4-FFF2-40B4-BE49-F238E27FC236}">
                <a16:creationId xmlns:a16="http://schemas.microsoft.com/office/drawing/2014/main" id="{27E57B5B-CD09-B340-8714-6FDB303FB783}"/>
              </a:ext>
            </a:extLst>
          </p:cNvPr>
          <p:cNvSpPr/>
          <p:nvPr userDrawn="1"/>
        </p:nvSpPr>
        <p:spPr>
          <a:xfrm>
            <a:off x="10591800" y="685800"/>
            <a:ext cx="914400" cy="4343403"/>
          </a:xfrm>
          <a:prstGeom prst="rect">
            <a:avLst/>
          </a:prstGeom>
          <a:solidFill>
            <a:srgbClr val="AA7FB8"/>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pic>
        <p:nvPicPr>
          <p:cNvPr id="19" name="Picture 18" descr="Chart&#10;&#10;Description automatically generated">
            <a:extLst>
              <a:ext uri="{FF2B5EF4-FFF2-40B4-BE49-F238E27FC236}">
                <a16:creationId xmlns:a16="http://schemas.microsoft.com/office/drawing/2014/main" id="{C1FF5F42-B595-C73C-8123-0146A5D6F736}"/>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8305800" y="2857501"/>
            <a:ext cx="1828800" cy="4000499"/>
          </a:xfrm>
          <a:prstGeom prst="rect">
            <a:avLst/>
          </a:prstGeom>
        </p:spPr>
      </p:pic>
      <p:pic>
        <p:nvPicPr>
          <p:cNvPr id="20" name="Picture 19" descr="Chart&#10;&#10;Description automatically generated">
            <a:extLst>
              <a:ext uri="{FF2B5EF4-FFF2-40B4-BE49-F238E27FC236}">
                <a16:creationId xmlns:a16="http://schemas.microsoft.com/office/drawing/2014/main" id="{B0300FD3-DDD5-0402-CA5B-766AD837AA2D}"/>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6991352" y="4071256"/>
            <a:ext cx="1143000" cy="2786744"/>
          </a:xfrm>
          <a:prstGeom prst="rect">
            <a:avLst/>
          </a:prstGeom>
        </p:spPr>
      </p:pic>
      <p:pic>
        <p:nvPicPr>
          <p:cNvPr id="21" name="Picture 20" descr="Chart&#10;&#10;Description automatically generated">
            <a:extLst>
              <a:ext uri="{FF2B5EF4-FFF2-40B4-BE49-F238E27FC236}">
                <a16:creationId xmlns:a16="http://schemas.microsoft.com/office/drawing/2014/main" id="{50756592-4FD1-53C5-5E4B-F5302179B8DA}"/>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10591801" y="685800"/>
            <a:ext cx="914400" cy="4343403"/>
          </a:xfrm>
          <a:prstGeom prst="rect">
            <a:avLst/>
          </a:prstGeom>
        </p:spPr>
      </p:pic>
    </p:spTree>
    <p:extLst>
      <p:ext uri="{BB962C8B-B14F-4D97-AF65-F5344CB8AC3E}">
        <p14:creationId xmlns:p14="http://schemas.microsoft.com/office/powerpoint/2010/main" val="3092224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 content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512889"/>
            <a:ext cx="108204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5042D4C2-FA8E-5C87-44DD-B79E98D1BDA7}"/>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1329870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 content, 2nd level bullet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685800" y="1512888"/>
            <a:ext cx="10820400" cy="4659312"/>
          </a:xfrm>
        </p:spPr>
        <p:txBody>
          <a:bodyPr lIns="0" tIns="0" rIns="0" bIns="0"/>
          <a:lstStyle>
            <a:lvl1pPr marL="0" indent="0">
              <a:lnSpc>
                <a:spcPct val="100000"/>
              </a:lnSpc>
              <a:spcBef>
                <a:spcPts val="0"/>
              </a:spcBef>
              <a:buClr>
                <a:schemeClr val="accent4"/>
              </a:buClr>
              <a:buFont typeface="Nunito Sans Light" panose="00000400000000000000" pitchFamily="2" charset="0"/>
              <a:buChar char="​"/>
              <a:defRPr b="0" i="0">
                <a:latin typeface="+mn-lt"/>
              </a:defRPr>
            </a:lvl1pPr>
            <a:lvl2pPr marL="457189" indent="-228594">
              <a:lnSpc>
                <a:spcPct val="100000"/>
              </a:lnSpc>
              <a:spcBef>
                <a:spcPts val="0"/>
              </a:spcBef>
              <a:buSzPct val="100000"/>
              <a:buFont typeface="Arial" panose="020B0604020202020204" pitchFamily="34" charset="0"/>
              <a:buChar char="•"/>
              <a:defRPr b="0" i="0">
                <a:latin typeface="+mn-lt"/>
              </a:defRPr>
            </a:lvl2pPr>
            <a:lvl3pPr marL="685783" indent="-228594">
              <a:lnSpc>
                <a:spcPct val="100000"/>
              </a:lnSpc>
              <a:spcBef>
                <a:spcPts val="0"/>
              </a:spcBef>
              <a:buFont typeface="Calibri" panose="020F0502020204030204" pitchFamily="34" charset="0"/>
              <a:buChar char="–"/>
              <a:defRPr b="0" i="0">
                <a:latin typeface="+mn-lt"/>
              </a:defRPr>
            </a:lvl3pPr>
            <a:lvl4pPr marL="914377" indent="-228594">
              <a:lnSpc>
                <a:spcPct val="100000"/>
              </a:lnSpc>
              <a:spcBef>
                <a:spcPts val="0"/>
              </a:spcBef>
              <a:buFont typeface="Arial" panose="020B0604020202020204" pitchFamily="34" charset="0"/>
              <a:buChar char="•"/>
              <a:defRPr b="0" i="0">
                <a:latin typeface="+mn-lt"/>
              </a:defRPr>
            </a:lvl4pPr>
            <a:lvl5pPr marL="1142971" indent="-228594">
              <a:lnSpc>
                <a:spcPct val="100000"/>
              </a:lnSpc>
              <a:spcBef>
                <a:spcPts val="0"/>
              </a:spcBef>
              <a:buFont typeface="Calibri" panose="020F0502020204030204" pitchFamily="34" charset="0"/>
              <a:buChar char="–"/>
              <a:defRPr b="0" i="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8BA607CC-C7BC-BD4F-F8B8-18E6BE42221B}"/>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3106254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only +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pic>
        <p:nvPicPr>
          <p:cNvPr id="3" name="Picture 2">
            <a:extLst>
              <a:ext uri="{FF2B5EF4-FFF2-40B4-BE49-F238E27FC236}">
                <a16:creationId xmlns:a16="http://schemas.microsoft.com/office/drawing/2014/main" id="{24662A65-56A6-B4AF-C406-C6B5270128A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4195557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wo columns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1" y="1512888"/>
            <a:ext cx="50673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1" y="1512888"/>
            <a:ext cx="50673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12888"/>
            <a:ext cx="0" cy="467360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BD88CB33-DF53-760C-B026-63F70EA20900}"/>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1389348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wo columns with headers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E57E5D30-827C-E9A1-52E8-112F0D781B5E}"/>
              </a:ext>
            </a:extLst>
          </p:cNvPr>
          <p:cNvSpPr>
            <a:spLocks noGrp="1"/>
          </p:cNvSpPr>
          <p:nvPr>
            <p:ph type="body" sz="quarter" idx="16"/>
          </p:nvPr>
        </p:nvSpPr>
        <p:spPr>
          <a:xfrm>
            <a:off x="685801" y="1512888"/>
            <a:ext cx="5067300" cy="640080"/>
          </a:xfrm>
          <a:solidFill>
            <a:schemeClr val="tx1"/>
          </a:solidFill>
        </p:spPr>
        <p:txBody>
          <a:bodyPr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1" y="2152968"/>
            <a:ext cx="5067300" cy="4019232"/>
          </a:xfrm>
        </p:spPr>
        <p:txBody>
          <a:bodyPr lIns="182880" tIns="182880" rIns="182880" b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1CE7B388-8CB2-B94A-0BEE-60A83411AC01}"/>
              </a:ext>
            </a:extLst>
          </p:cNvPr>
          <p:cNvSpPr>
            <a:spLocks noGrp="1"/>
          </p:cNvSpPr>
          <p:nvPr>
            <p:ph type="body" sz="quarter" idx="17"/>
          </p:nvPr>
        </p:nvSpPr>
        <p:spPr>
          <a:xfrm>
            <a:off x="6438901" y="1512888"/>
            <a:ext cx="5067300" cy="640080"/>
          </a:xfrm>
          <a:solidFill>
            <a:schemeClr val="tx1"/>
          </a:solidFill>
        </p:spPr>
        <p:txBody>
          <a:bodyPr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1" y="2152968"/>
            <a:ext cx="5067300" cy="4019232"/>
          </a:xfrm>
        </p:spPr>
        <p:txBody>
          <a:bodyPr lIns="182880" tIns="182880" rIns="182880" b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12888"/>
            <a:ext cx="0" cy="467360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BD88CB33-DF53-760C-B026-63F70EA20900}"/>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3249869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hree columns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3AF6D358-8799-F072-86AD-5A4162B5A8B5}"/>
              </a:ext>
            </a:extLst>
          </p:cNvPr>
          <p:cNvSpPr>
            <a:spLocks noGrp="1"/>
          </p:cNvSpPr>
          <p:nvPr>
            <p:ph type="body" sz="quarter" idx="16"/>
          </p:nvPr>
        </p:nvSpPr>
        <p:spPr>
          <a:xfrm>
            <a:off x="685800" y="1512888"/>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73258284-3919-5F70-5C76-1DA2B530CE98}"/>
              </a:ext>
            </a:extLst>
          </p:cNvPr>
          <p:cNvCxnSpPr>
            <a:cxnSpLocks/>
          </p:cNvCxnSpPr>
          <p:nvPr userDrawn="1"/>
        </p:nvCxnSpPr>
        <p:spPr>
          <a:xfrm>
            <a:off x="4160520" y="1512888"/>
            <a:ext cx="0" cy="467360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4521200" y="1512888"/>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DC4406FC-8033-3551-E960-28D9F45C5BDB}"/>
              </a:ext>
            </a:extLst>
          </p:cNvPr>
          <p:cNvCxnSpPr>
            <a:cxnSpLocks/>
          </p:cNvCxnSpPr>
          <p:nvPr userDrawn="1"/>
        </p:nvCxnSpPr>
        <p:spPr>
          <a:xfrm>
            <a:off x="7995921" y="1512888"/>
            <a:ext cx="0" cy="4659312"/>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2090EC58-A149-5D8B-99B4-873A385EF57F}"/>
              </a:ext>
            </a:extLst>
          </p:cNvPr>
          <p:cNvSpPr>
            <a:spLocks noGrp="1"/>
          </p:cNvSpPr>
          <p:nvPr>
            <p:ph type="body" sz="quarter" idx="15"/>
          </p:nvPr>
        </p:nvSpPr>
        <p:spPr>
          <a:xfrm>
            <a:off x="8356600" y="1512888"/>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BBD3892E-AF6A-EBA7-BDEC-3F6D522DB090}"/>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216453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wo Content 2">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336A4FE-11E5-E94D-9D99-82A470076E9F}"/>
              </a:ext>
            </a:extLst>
          </p:cNvPr>
          <p:cNvSpPr>
            <a:spLocks noGrp="1"/>
          </p:cNvSpPr>
          <p:nvPr>
            <p:ph type="title"/>
          </p:nvPr>
        </p:nvSpPr>
        <p:spPr>
          <a:xfrm>
            <a:off x="685800" y="291162"/>
            <a:ext cx="10789920" cy="1080438"/>
          </a:xfrm>
        </p:spPr>
        <p:txBody>
          <a:bodyPr/>
          <a:lstStyle/>
          <a:p>
            <a:r>
              <a:rPr lang="en-US"/>
              <a:t>Click to edit Master title style</a:t>
            </a:r>
          </a:p>
        </p:txBody>
      </p:sp>
      <p:sp>
        <p:nvSpPr>
          <p:cNvPr id="8" name="Content Placeholder 2">
            <a:extLst>
              <a:ext uri="{FF2B5EF4-FFF2-40B4-BE49-F238E27FC236}">
                <a16:creationId xmlns:a16="http://schemas.microsoft.com/office/drawing/2014/main" id="{EFE2BE53-EFCE-6645-8D92-1BCAFB43A036}"/>
              </a:ext>
            </a:extLst>
          </p:cNvPr>
          <p:cNvSpPr>
            <a:spLocks noGrp="1"/>
          </p:cNvSpPr>
          <p:nvPr>
            <p:ph sz="half" idx="1"/>
          </p:nvPr>
        </p:nvSpPr>
        <p:spPr>
          <a:xfrm>
            <a:off x="685800" y="1600199"/>
            <a:ext cx="5330952" cy="4443413"/>
          </a:xfrm>
        </p:spPr>
        <p:txBody>
          <a:bodyPr/>
          <a:lstStyle>
            <a:lvl1pPr marL="228600" indent="-228600">
              <a:lnSpc>
                <a:spcPct val="110000"/>
              </a:lnSpc>
              <a:buClr>
                <a:schemeClr val="accent4"/>
              </a:buClr>
              <a:buSzPct val="120000"/>
              <a:buFont typeface="Arial" panose="020B0604020202020204" pitchFamily="34" charset="0"/>
              <a:buChar char="•"/>
              <a:defRPr b="0" i="0">
                <a:latin typeface="Nunito Sans Light" pitchFamily="2" charset="77"/>
              </a:defRPr>
            </a:lvl1pPr>
            <a:lvl2pPr marL="685800" indent="-228600">
              <a:lnSpc>
                <a:spcPct val="110000"/>
              </a:lnSpc>
              <a:buSzPct val="120000"/>
              <a:buFont typeface="Arial" panose="020B0604020202020204" pitchFamily="34" charset="0"/>
              <a:buChar char="•"/>
              <a:defRPr b="0" i="0">
                <a:latin typeface="Nunito Sans Light" pitchFamily="2" charset="77"/>
              </a:defRPr>
            </a:lvl2pPr>
            <a:lvl3pPr marL="1143000" indent="-228600">
              <a:lnSpc>
                <a:spcPct val="110000"/>
              </a:lnSpc>
              <a:buSzPct val="120000"/>
              <a:buFont typeface="Arial" panose="020B0604020202020204" pitchFamily="34" charset="0"/>
              <a:buChar char="•"/>
              <a:defRPr b="0" i="0">
                <a:latin typeface="Nunito Sans Light" pitchFamily="2" charset="77"/>
              </a:defRPr>
            </a:lvl3pPr>
            <a:lvl4pPr marL="1600200" indent="-228600">
              <a:lnSpc>
                <a:spcPct val="110000"/>
              </a:lnSpc>
              <a:buSzPct val="120000"/>
              <a:buFont typeface="Arial" panose="020B0604020202020204" pitchFamily="34" charset="0"/>
              <a:buChar char="•"/>
              <a:defRPr b="0" i="0">
                <a:latin typeface="Nunito Sans Light" pitchFamily="2" charset="77"/>
              </a:defRPr>
            </a:lvl4pPr>
            <a:lvl5pPr marL="2057400" indent="-228600">
              <a:lnSpc>
                <a:spcPct val="110000"/>
              </a:lnSpc>
              <a:buSzPct val="120000"/>
              <a:buFont typeface="Arial" panose="020B0604020202020204" pitchFamily="34" charset="0"/>
              <a:buChar char="•"/>
              <a:defRPr b="0" i="0">
                <a:latin typeface="Nunito Sa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3">
            <a:extLst>
              <a:ext uri="{FF2B5EF4-FFF2-40B4-BE49-F238E27FC236}">
                <a16:creationId xmlns:a16="http://schemas.microsoft.com/office/drawing/2014/main" id="{672653BD-481F-AF48-BB6B-0C2CAB4F87A0}"/>
              </a:ext>
            </a:extLst>
          </p:cNvPr>
          <p:cNvSpPr>
            <a:spLocks noGrp="1"/>
          </p:cNvSpPr>
          <p:nvPr>
            <p:ph sz="half" idx="2"/>
          </p:nvPr>
        </p:nvSpPr>
        <p:spPr>
          <a:xfrm>
            <a:off x="6144768" y="1600199"/>
            <a:ext cx="5330952" cy="4443413"/>
          </a:xfrm>
        </p:spPr>
        <p:txBody>
          <a:bodyPr/>
          <a:lstStyle>
            <a:lvl1pPr marL="228600" indent="-228600">
              <a:lnSpc>
                <a:spcPct val="110000"/>
              </a:lnSpc>
              <a:buClr>
                <a:schemeClr val="accent4"/>
              </a:buClr>
              <a:buSzPct val="120000"/>
              <a:buFont typeface="Arial" panose="020B0604020202020204" pitchFamily="34" charset="0"/>
              <a:buChar char="•"/>
              <a:defRPr b="0" i="0">
                <a:latin typeface="Nunito Sans Light" pitchFamily="2" charset="77"/>
              </a:defRPr>
            </a:lvl1pPr>
            <a:lvl2pPr marL="685800" indent="-228600">
              <a:lnSpc>
                <a:spcPct val="110000"/>
              </a:lnSpc>
              <a:buSzPct val="120000"/>
              <a:buFont typeface="Arial" panose="020B0604020202020204" pitchFamily="34" charset="0"/>
              <a:buChar char="•"/>
              <a:defRPr b="0" i="0">
                <a:latin typeface="Nunito Sans Light" pitchFamily="2" charset="77"/>
              </a:defRPr>
            </a:lvl2pPr>
            <a:lvl3pPr marL="1143000" indent="-228600">
              <a:lnSpc>
                <a:spcPct val="110000"/>
              </a:lnSpc>
              <a:buSzPct val="120000"/>
              <a:buFont typeface="Arial" panose="020B0604020202020204" pitchFamily="34" charset="0"/>
              <a:buChar char="•"/>
              <a:defRPr b="0" i="0">
                <a:latin typeface="Nunito Sans Light" pitchFamily="2" charset="77"/>
              </a:defRPr>
            </a:lvl3pPr>
            <a:lvl4pPr marL="1600200" indent="-228600">
              <a:lnSpc>
                <a:spcPct val="110000"/>
              </a:lnSpc>
              <a:buSzPct val="120000"/>
              <a:buFont typeface="Arial" panose="020B0604020202020204" pitchFamily="34" charset="0"/>
              <a:buChar char="•"/>
              <a:defRPr b="0" i="0">
                <a:latin typeface="Nunito Sans Light" pitchFamily="2" charset="77"/>
              </a:defRPr>
            </a:lvl4pPr>
            <a:lvl5pPr marL="2057400" indent="-228600">
              <a:lnSpc>
                <a:spcPct val="110000"/>
              </a:lnSpc>
              <a:buSzPct val="120000"/>
              <a:buFont typeface="Arial" panose="020B0604020202020204" pitchFamily="34" charset="0"/>
              <a:buChar char="•"/>
              <a:defRPr b="0" i="0">
                <a:latin typeface="Nunito Sa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hidden="1">
            <a:extLst>
              <a:ext uri="{FF2B5EF4-FFF2-40B4-BE49-F238E27FC236}">
                <a16:creationId xmlns:a16="http://schemas.microsoft.com/office/drawing/2014/main" id="{F467DCF8-6FDB-48D8-95D4-458A796382E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7" name="Footer Placeholder 6" hidden="1">
            <a:extLst>
              <a:ext uri="{FF2B5EF4-FFF2-40B4-BE49-F238E27FC236}">
                <a16:creationId xmlns:a16="http://schemas.microsoft.com/office/drawing/2014/main" id="{BCFA018C-D31F-43C8-98D5-A0F6878355F8}"/>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1" name="Layout Protection area" hidden="1">
            <a:extLst>
              <a:ext uri="{FF2B5EF4-FFF2-40B4-BE49-F238E27FC236}">
                <a16:creationId xmlns:a16="http://schemas.microsoft.com/office/drawing/2014/main" id="{EFC6663A-EFF2-4B7C-80F9-58DCAA5B4391}"/>
              </a:ext>
            </a:extLst>
          </p:cNvPr>
          <p:cNvSpPr/>
          <p:nvPr userDrawn="1">
            <p:custDataLst>
              <p:tags r:id="rId1"/>
            </p:custDataLst>
          </p:nvPr>
        </p:nvSpPr>
        <p:spPr>
          <a:xfrm>
            <a:off x="0" y="1572242"/>
            <a:ext cx="12176098" cy="529507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0" name="Slide Number Placeholder 9">
            <a:extLst>
              <a:ext uri="{FF2B5EF4-FFF2-40B4-BE49-F238E27FC236}">
                <a16:creationId xmlns:a16="http://schemas.microsoft.com/office/drawing/2014/main" id="{5CA3830C-373E-42C5-A8DF-E9DFEF7E769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204204001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hree columns with headers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3" name="Text Placeholder 5">
            <a:extLst>
              <a:ext uri="{FF2B5EF4-FFF2-40B4-BE49-F238E27FC236}">
                <a16:creationId xmlns:a16="http://schemas.microsoft.com/office/drawing/2014/main" id="{BFA8583B-2E71-3248-EBB3-3FB713692BA7}"/>
              </a:ext>
            </a:extLst>
          </p:cNvPr>
          <p:cNvSpPr>
            <a:spLocks noGrp="1"/>
          </p:cNvSpPr>
          <p:nvPr>
            <p:ph type="body" sz="quarter" idx="17"/>
          </p:nvPr>
        </p:nvSpPr>
        <p:spPr>
          <a:xfrm>
            <a:off x="685802" y="1512888"/>
            <a:ext cx="3149599" cy="640080"/>
          </a:xfrm>
          <a:solidFill>
            <a:schemeClr val="tx1"/>
          </a:solidFill>
        </p:spPr>
        <p:txBody>
          <a:bodyPr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6" name="Text Placeholder 5">
            <a:extLst>
              <a:ext uri="{FF2B5EF4-FFF2-40B4-BE49-F238E27FC236}">
                <a16:creationId xmlns:a16="http://schemas.microsoft.com/office/drawing/2014/main" id="{3AF6D358-8799-F072-86AD-5A4162B5A8B5}"/>
              </a:ext>
            </a:extLst>
          </p:cNvPr>
          <p:cNvSpPr>
            <a:spLocks noGrp="1"/>
          </p:cNvSpPr>
          <p:nvPr>
            <p:ph type="body" sz="quarter" idx="16"/>
          </p:nvPr>
        </p:nvSpPr>
        <p:spPr>
          <a:xfrm>
            <a:off x="685800" y="2152968"/>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5">
            <a:extLst>
              <a:ext uri="{FF2B5EF4-FFF2-40B4-BE49-F238E27FC236}">
                <a16:creationId xmlns:a16="http://schemas.microsoft.com/office/drawing/2014/main" id="{DB34D38B-D9AF-B3CB-64C4-B7CE2C5C3820}"/>
              </a:ext>
            </a:extLst>
          </p:cNvPr>
          <p:cNvSpPr>
            <a:spLocks noGrp="1"/>
          </p:cNvSpPr>
          <p:nvPr>
            <p:ph type="body" sz="quarter" idx="18"/>
          </p:nvPr>
        </p:nvSpPr>
        <p:spPr>
          <a:xfrm>
            <a:off x="4521202" y="1512888"/>
            <a:ext cx="3149599" cy="640080"/>
          </a:xfrm>
          <a:solidFill>
            <a:schemeClr val="tx1"/>
          </a:solidFill>
        </p:spPr>
        <p:txBody>
          <a:bodyPr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4521200" y="2152968"/>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21EB66C9-CA94-00E3-42A9-20F09B0A83CB}"/>
              </a:ext>
            </a:extLst>
          </p:cNvPr>
          <p:cNvSpPr>
            <a:spLocks noGrp="1"/>
          </p:cNvSpPr>
          <p:nvPr>
            <p:ph type="body" sz="quarter" idx="19"/>
          </p:nvPr>
        </p:nvSpPr>
        <p:spPr>
          <a:xfrm>
            <a:off x="8356602" y="1512888"/>
            <a:ext cx="3149599" cy="640080"/>
          </a:xfrm>
          <a:solidFill>
            <a:schemeClr val="tx1"/>
          </a:solidFill>
        </p:spPr>
        <p:txBody>
          <a:bodyPr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21" name="Text Placeholder 4">
            <a:extLst>
              <a:ext uri="{FF2B5EF4-FFF2-40B4-BE49-F238E27FC236}">
                <a16:creationId xmlns:a16="http://schemas.microsoft.com/office/drawing/2014/main" id="{2090EC58-A149-5D8B-99B4-873A385EF57F}"/>
              </a:ext>
            </a:extLst>
          </p:cNvPr>
          <p:cNvSpPr>
            <a:spLocks noGrp="1"/>
          </p:cNvSpPr>
          <p:nvPr>
            <p:ph type="body" sz="quarter" idx="15"/>
          </p:nvPr>
        </p:nvSpPr>
        <p:spPr>
          <a:xfrm>
            <a:off x="8356600" y="2152968"/>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73258284-3919-5F70-5C76-1DA2B530CE98}"/>
              </a:ext>
            </a:extLst>
          </p:cNvPr>
          <p:cNvCxnSpPr>
            <a:cxnSpLocks/>
          </p:cNvCxnSpPr>
          <p:nvPr userDrawn="1"/>
        </p:nvCxnSpPr>
        <p:spPr>
          <a:xfrm>
            <a:off x="4160520" y="1512888"/>
            <a:ext cx="0" cy="467360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C4406FC-8033-3551-E960-28D9F45C5BDB}"/>
              </a:ext>
            </a:extLst>
          </p:cNvPr>
          <p:cNvCxnSpPr>
            <a:cxnSpLocks/>
          </p:cNvCxnSpPr>
          <p:nvPr userDrawn="1"/>
        </p:nvCxnSpPr>
        <p:spPr>
          <a:xfrm>
            <a:off x="7995921" y="1512888"/>
            <a:ext cx="0" cy="4659312"/>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BBD3892E-AF6A-EBA7-BDEC-3F6D522DB090}"/>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1022702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4x4 grid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1" y="1512889"/>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1" y="1512889"/>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12888"/>
            <a:ext cx="0" cy="467360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23">
            <a:extLst>
              <a:ext uri="{FF2B5EF4-FFF2-40B4-BE49-F238E27FC236}">
                <a16:creationId xmlns:a16="http://schemas.microsoft.com/office/drawing/2014/main" id="{8DAB9D6C-F942-FB62-A403-60D153D421E6}"/>
              </a:ext>
            </a:extLst>
          </p:cNvPr>
          <p:cNvSpPr>
            <a:spLocks noGrp="1"/>
          </p:cNvSpPr>
          <p:nvPr>
            <p:ph type="body" sz="quarter" idx="16"/>
          </p:nvPr>
        </p:nvSpPr>
        <p:spPr>
          <a:xfrm>
            <a:off x="685801" y="4185445"/>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541894F-3A3D-0590-C68A-85308B5795CD}"/>
              </a:ext>
            </a:extLst>
          </p:cNvPr>
          <p:cNvSpPr>
            <a:spLocks noGrp="1"/>
          </p:cNvSpPr>
          <p:nvPr>
            <p:ph type="body" sz="quarter" idx="17"/>
          </p:nvPr>
        </p:nvSpPr>
        <p:spPr>
          <a:xfrm>
            <a:off x="6438901" y="4185445"/>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AB0FBBDA-B417-B206-978B-2089DEF7063E}"/>
              </a:ext>
            </a:extLst>
          </p:cNvPr>
          <p:cNvCxnSpPr>
            <a:cxnSpLocks/>
          </p:cNvCxnSpPr>
          <p:nvPr userDrawn="1"/>
        </p:nvCxnSpPr>
        <p:spPr>
          <a:xfrm>
            <a:off x="685800" y="3842544"/>
            <a:ext cx="10820400"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16C605BC-490F-FFC3-8A97-3EA9793839CF}"/>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230701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Photo +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D597A98D-9FE4-56BA-D305-6076CDEE5291}"/>
              </a:ext>
            </a:extLst>
          </p:cNvPr>
          <p:cNvSpPr>
            <a:spLocks noGrp="1"/>
          </p:cNvSpPr>
          <p:nvPr>
            <p:ph type="pic" sz="quarter" idx="10"/>
          </p:nvPr>
        </p:nvSpPr>
        <p:spPr>
          <a:xfrm>
            <a:off x="0" y="1512888"/>
            <a:ext cx="12192000" cy="4659312"/>
          </a:xfrm>
        </p:spPr>
        <p:txBody>
          <a:bodyPr anchor="ctr"/>
          <a:lstStyle>
            <a:lvl1pPr marL="0" indent="0" algn="ctr">
              <a:buFontTx/>
              <a:buNone/>
              <a:defRPr/>
            </a:lvl1pPr>
          </a:lstStyle>
          <a:p>
            <a:r>
              <a:rPr lang="en-US"/>
              <a:t>Click icon to add picture</a:t>
            </a:r>
          </a:p>
        </p:txBody>
      </p:sp>
      <p:pic>
        <p:nvPicPr>
          <p:cNvPr id="3" name="Picture 2">
            <a:extLst>
              <a:ext uri="{FF2B5EF4-FFF2-40B4-BE49-F238E27FC236}">
                <a16:creationId xmlns:a16="http://schemas.microsoft.com/office/drawing/2014/main" id="{9671D26F-C627-F3C6-5CEA-A6AAB0555C14}"/>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2160400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Right photo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85801" y="291164"/>
            <a:ext cx="5067300" cy="763921"/>
          </a:xfrm>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1" y="1512889"/>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438901" y="0"/>
            <a:ext cx="5067300" cy="6172200"/>
          </a:xfrm>
        </p:spPr>
        <p:txBody>
          <a:bodyPr anchor="ctr"/>
          <a:lstStyle>
            <a:lvl1pPr marL="0" indent="0" algn="ctr">
              <a:buFontTx/>
              <a:buNone/>
              <a:defRPr/>
            </a:lvl1pPr>
          </a:lstStyle>
          <a:p>
            <a:r>
              <a:rPr lang="en-US"/>
              <a:t>Click icon to add picture</a:t>
            </a:r>
          </a:p>
        </p:txBody>
      </p:sp>
      <p:pic>
        <p:nvPicPr>
          <p:cNvPr id="2" name="Picture 1">
            <a:extLst>
              <a:ext uri="{FF2B5EF4-FFF2-40B4-BE49-F238E27FC236}">
                <a16:creationId xmlns:a16="http://schemas.microsoft.com/office/drawing/2014/main" id="{53F2805F-F170-780D-C0D4-69155B34D59A}"/>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11881039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Left photo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438901" y="291164"/>
            <a:ext cx="5067300" cy="763921"/>
          </a:xfrm>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438901" y="1512889"/>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85802" y="0"/>
            <a:ext cx="5067300" cy="6172200"/>
          </a:xfrm>
        </p:spPr>
        <p:txBody>
          <a:bodyPr anchor="ctr"/>
          <a:lstStyle>
            <a:lvl1pPr marL="0" indent="0" algn="ctr">
              <a:buFontTx/>
              <a:buNone/>
              <a:defRPr/>
            </a:lvl1pPr>
          </a:lstStyle>
          <a:p>
            <a:r>
              <a:rPr lang="en-US"/>
              <a:t>Click icon to add picture</a:t>
            </a:r>
          </a:p>
        </p:txBody>
      </p:sp>
      <p:pic>
        <p:nvPicPr>
          <p:cNvPr id="2" name="Picture 1">
            <a:extLst>
              <a:ext uri="{FF2B5EF4-FFF2-40B4-BE49-F238E27FC236}">
                <a16:creationId xmlns:a16="http://schemas.microsoft.com/office/drawing/2014/main" id="{B6DFF7BD-2D14-FEFC-E9D1-E8044833B4F5}"/>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6375624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 presenter + logo">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A458B068-4A37-1379-BA4D-B9FF41934F9C}"/>
              </a:ext>
            </a:extLst>
          </p:cNvPr>
          <p:cNvSpPr/>
          <p:nvPr userDrawn="1"/>
        </p:nvSpPr>
        <p:spPr>
          <a:xfrm>
            <a:off x="0" y="1512888"/>
            <a:ext cx="12192000" cy="465931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11" name="Picture Placeholder 10">
            <a:extLst>
              <a:ext uri="{FF2B5EF4-FFF2-40B4-BE49-F238E27FC236}">
                <a16:creationId xmlns:a16="http://schemas.microsoft.com/office/drawing/2014/main" id="{C8330049-5DC1-9BE1-3086-3724A629E245}"/>
              </a:ext>
            </a:extLst>
          </p:cNvPr>
          <p:cNvSpPr>
            <a:spLocks noGrp="1"/>
          </p:cNvSpPr>
          <p:nvPr>
            <p:ph type="pic" sz="quarter" idx="10"/>
          </p:nvPr>
        </p:nvSpPr>
        <p:spPr>
          <a:xfrm>
            <a:off x="685800" y="2198847"/>
            <a:ext cx="3287395" cy="3287395"/>
          </a:xfrm>
          <a:solidFill>
            <a:schemeClr val="bg1"/>
          </a:solidFill>
        </p:spPr>
        <p:txBody>
          <a:bodyPr anchor="ctr"/>
          <a:lstStyle>
            <a:lvl1pPr marL="0" indent="0" algn="ctr">
              <a:buFontTx/>
              <a:buNone/>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4659154" y="2198847"/>
            <a:ext cx="6847047" cy="3287395"/>
          </a:xfrm>
        </p:spPr>
        <p:txBody>
          <a:bodyPr anchor="ctr">
            <a:noAutofit/>
          </a:bodyPr>
          <a:lstStyle>
            <a:lvl1pPr marL="0" indent="0" algn="l">
              <a:spcAft>
                <a:spcPts val="600"/>
              </a:spcAft>
              <a:buFontTx/>
              <a:buNone/>
              <a:defRPr sz="2800">
                <a:solidFill>
                  <a:schemeClr val="bg1"/>
                </a:solidFill>
                <a:latin typeface="+mj-lt"/>
              </a:defRPr>
            </a:lvl1pPr>
            <a:lvl2pPr marL="0" indent="0" algn="l">
              <a:spcAft>
                <a:spcPts val="600"/>
              </a:spcAft>
              <a:buFontTx/>
              <a:buNone/>
              <a:defRPr sz="2000">
                <a:solidFill>
                  <a:schemeClr val="bg1"/>
                </a:solidFill>
              </a:defRPr>
            </a:lvl2pPr>
            <a:lvl3pPr marL="0" indent="0" algn="l">
              <a:spcAft>
                <a:spcPts val="600"/>
              </a:spcAft>
              <a:buFontTx/>
              <a:buNone/>
              <a:defRPr sz="2000">
                <a:solidFill>
                  <a:schemeClr val="bg1"/>
                </a:solidFill>
              </a:defRPr>
            </a:lvl3pPr>
            <a:lvl4pPr marL="0" indent="0" algn="l">
              <a:spcAft>
                <a:spcPts val="600"/>
              </a:spcAft>
              <a:buFontTx/>
              <a:buNone/>
              <a:defRPr sz="2000">
                <a:solidFill>
                  <a:schemeClr val="bg1"/>
                </a:solidFill>
              </a:defRPr>
            </a:lvl4pPr>
            <a:lvl5pPr marL="0" indent="0" algn="l">
              <a:spcAft>
                <a:spcPts val="600"/>
              </a:spcAft>
              <a:buFontTx/>
              <a:buNone/>
              <a:defRPr sz="20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BA5B14C5-6326-CCDC-7BF2-0BD68D35E45D}"/>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3546778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presenters +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A458B068-4A37-1379-BA4D-B9FF41934F9C}"/>
              </a:ext>
            </a:extLst>
          </p:cNvPr>
          <p:cNvSpPr/>
          <p:nvPr userDrawn="1"/>
        </p:nvSpPr>
        <p:spPr>
          <a:xfrm>
            <a:off x="0" y="1512888"/>
            <a:ext cx="12192000" cy="4659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11" name="Picture Placeholder 10">
            <a:extLst>
              <a:ext uri="{FF2B5EF4-FFF2-40B4-BE49-F238E27FC236}">
                <a16:creationId xmlns:a16="http://schemas.microsoft.com/office/drawing/2014/main" id="{C8330049-5DC1-9BE1-3086-3724A629E245}"/>
              </a:ext>
            </a:extLst>
          </p:cNvPr>
          <p:cNvSpPr>
            <a:spLocks noGrp="1"/>
          </p:cNvSpPr>
          <p:nvPr>
            <p:ph type="pic" sz="quarter" idx="10"/>
          </p:nvPr>
        </p:nvSpPr>
        <p:spPr>
          <a:xfrm>
            <a:off x="2210596"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1" y="4063049"/>
            <a:ext cx="5067300" cy="1926273"/>
          </a:xfrm>
        </p:spPr>
        <p:txBody>
          <a:bodyPr>
            <a:noAutofit/>
          </a:bodyPr>
          <a:lstStyle>
            <a:lvl1pPr marL="0" indent="0" algn="ctr">
              <a:spcAft>
                <a:spcPts val="600"/>
              </a:spcAft>
              <a:buFontTx/>
              <a:buNone/>
              <a:defRPr sz="2400">
                <a:latin typeface="+mj-lt"/>
              </a:defRPr>
            </a:lvl1pPr>
            <a:lvl2pPr marL="0" indent="0" algn="ctr">
              <a:spcAft>
                <a:spcPts val="600"/>
              </a:spcAft>
              <a:buFontTx/>
              <a:buNone/>
              <a:defRPr sz="1600"/>
            </a:lvl2pPr>
            <a:lvl3pPr marL="0" indent="0" algn="ctr">
              <a:spcAft>
                <a:spcPts val="600"/>
              </a:spcAft>
              <a:buFontTx/>
              <a:buNone/>
              <a:defRPr sz="1600"/>
            </a:lvl3pPr>
            <a:lvl4pPr marL="0" indent="0" algn="ctr">
              <a:spcAft>
                <a:spcPts val="600"/>
              </a:spcAft>
              <a:buFontTx/>
              <a:buNone/>
              <a:defRPr sz="1600"/>
            </a:lvl4pPr>
            <a:lvl5pPr marL="0" indent="0" algn="ctr">
              <a:spcAft>
                <a:spcPts val="600"/>
              </a:spcAft>
              <a:buFontTx/>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Picture Placeholder 10">
            <a:extLst>
              <a:ext uri="{FF2B5EF4-FFF2-40B4-BE49-F238E27FC236}">
                <a16:creationId xmlns:a16="http://schemas.microsoft.com/office/drawing/2014/main" id="{C55D5E14-B4A0-82AA-0E2C-3E22FBBCE4C7}"/>
              </a:ext>
            </a:extLst>
          </p:cNvPr>
          <p:cNvSpPr>
            <a:spLocks noGrp="1"/>
          </p:cNvSpPr>
          <p:nvPr>
            <p:ph type="pic" sz="quarter" idx="12"/>
          </p:nvPr>
        </p:nvSpPr>
        <p:spPr>
          <a:xfrm>
            <a:off x="7963696"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6438901" y="4063049"/>
            <a:ext cx="5067300" cy="1926273"/>
          </a:xfrm>
        </p:spPr>
        <p:txBody>
          <a:bodyPr>
            <a:noAutofit/>
          </a:bodyPr>
          <a:lstStyle>
            <a:lvl1pPr marL="0" indent="0" algn="ctr">
              <a:spcAft>
                <a:spcPts val="600"/>
              </a:spcAft>
              <a:buFontTx/>
              <a:buNone/>
              <a:defRPr sz="2400">
                <a:latin typeface="+mj-lt"/>
              </a:defRPr>
            </a:lvl1pPr>
            <a:lvl2pPr marL="0" indent="0" algn="ctr">
              <a:spcAft>
                <a:spcPts val="600"/>
              </a:spcAft>
              <a:buFontTx/>
              <a:buNone/>
              <a:defRPr sz="1600"/>
            </a:lvl2pPr>
            <a:lvl3pPr marL="0" indent="0" algn="ctr">
              <a:spcAft>
                <a:spcPts val="600"/>
              </a:spcAft>
              <a:buFontTx/>
              <a:buNone/>
              <a:defRPr sz="1600"/>
            </a:lvl3pPr>
            <a:lvl4pPr marL="0" indent="0" algn="ctr">
              <a:spcAft>
                <a:spcPts val="600"/>
              </a:spcAft>
              <a:buFontTx/>
              <a:buNone/>
              <a:defRPr sz="1600"/>
            </a:lvl4pPr>
            <a:lvl5pPr marL="0" indent="0" algn="ctr">
              <a:spcAft>
                <a:spcPts val="600"/>
              </a:spcAft>
              <a:buFontTx/>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Rectangle 26">
            <a:extLst>
              <a:ext uri="{FF2B5EF4-FFF2-40B4-BE49-F238E27FC236}">
                <a16:creationId xmlns:a16="http://schemas.microsoft.com/office/drawing/2014/main" id="{290BAD14-E2B0-9D9E-34B1-2E11D29CCF7C}"/>
              </a:ext>
            </a:extLst>
          </p:cNvPr>
          <p:cNvSpPr/>
          <p:nvPr userDrawn="1"/>
        </p:nvSpPr>
        <p:spPr>
          <a:xfrm>
            <a:off x="2762251"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28" name="Rectangle 27">
            <a:extLst>
              <a:ext uri="{FF2B5EF4-FFF2-40B4-BE49-F238E27FC236}">
                <a16:creationId xmlns:a16="http://schemas.microsoft.com/office/drawing/2014/main" id="{EB286A98-CF41-C65A-14C0-2294A2C49AE5}"/>
              </a:ext>
            </a:extLst>
          </p:cNvPr>
          <p:cNvSpPr/>
          <p:nvPr userDrawn="1"/>
        </p:nvSpPr>
        <p:spPr>
          <a:xfrm>
            <a:off x="8515351"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pic>
        <p:nvPicPr>
          <p:cNvPr id="4" name="Picture 3">
            <a:extLst>
              <a:ext uri="{FF2B5EF4-FFF2-40B4-BE49-F238E27FC236}">
                <a16:creationId xmlns:a16="http://schemas.microsoft.com/office/drawing/2014/main" id="{4B1D0EB5-2FD8-6B3A-16CB-E33A8E3683BE}"/>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350170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3 presenters +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A458B068-4A37-1379-BA4D-B9FF41934F9C}"/>
              </a:ext>
            </a:extLst>
          </p:cNvPr>
          <p:cNvSpPr/>
          <p:nvPr userDrawn="1"/>
        </p:nvSpPr>
        <p:spPr>
          <a:xfrm>
            <a:off x="0" y="1512888"/>
            <a:ext cx="12192000" cy="4659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11" name="Picture Placeholder 10">
            <a:extLst>
              <a:ext uri="{FF2B5EF4-FFF2-40B4-BE49-F238E27FC236}">
                <a16:creationId xmlns:a16="http://schemas.microsoft.com/office/drawing/2014/main" id="{C8330049-5DC1-9BE1-3086-3724A629E245}"/>
              </a:ext>
            </a:extLst>
          </p:cNvPr>
          <p:cNvSpPr>
            <a:spLocks noGrp="1"/>
          </p:cNvSpPr>
          <p:nvPr>
            <p:ph type="pic" sz="quarter" idx="10"/>
          </p:nvPr>
        </p:nvSpPr>
        <p:spPr>
          <a:xfrm>
            <a:off x="1251745"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4063049"/>
            <a:ext cx="3149600" cy="1926273"/>
          </a:xfrm>
        </p:spPr>
        <p:txBody>
          <a:bodyPr>
            <a:noAutofit/>
          </a:bodyPr>
          <a:lstStyle>
            <a:lvl1pPr marL="0" indent="0" algn="ctr">
              <a:spcAft>
                <a:spcPts val="600"/>
              </a:spcAft>
              <a:buFontTx/>
              <a:buNone/>
              <a:defRPr sz="2400">
                <a:latin typeface="+mj-lt"/>
              </a:defRPr>
            </a:lvl1pPr>
            <a:lvl2pPr marL="0" indent="0" algn="ctr">
              <a:spcAft>
                <a:spcPts val="600"/>
              </a:spcAft>
              <a:buFontTx/>
              <a:buNone/>
              <a:defRPr sz="1600"/>
            </a:lvl2pPr>
            <a:lvl3pPr marL="0" indent="0" algn="ctr">
              <a:spcAft>
                <a:spcPts val="600"/>
              </a:spcAft>
              <a:buFontTx/>
              <a:buNone/>
              <a:defRPr sz="1600"/>
            </a:lvl3pPr>
            <a:lvl4pPr marL="0" indent="0" algn="ctr">
              <a:spcAft>
                <a:spcPts val="600"/>
              </a:spcAft>
              <a:buFontTx/>
              <a:buNone/>
              <a:defRPr sz="1600"/>
            </a:lvl4pPr>
            <a:lvl5pPr marL="0" indent="0" algn="ctr">
              <a:spcAft>
                <a:spcPts val="600"/>
              </a:spcAft>
              <a:buFontTx/>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Picture Placeholder 10">
            <a:extLst>
              <a:ext uri="{FF2B5EF4-FFF2-40B4-BE49-F238E27FC236}">
                <a16:creationId xmlns:a16="http://schemas.microsoft.com/office/drawing/2014/main" id="{C55D5E14-B4A0-82AA-0E2C-3E22FBBCE4C7}"/>
              </a:ext>
            </a:extLst>
          </p:cNvPr>
          <p:cNvSpPr>
            <a:spLocks noGrp="1"/>
          </p:cNvSpPr>
          <p:nvPr>
            <p:ph type="pic" sz="quarter" idx="12"/>
          </p:nvPr>
        </p:nvSpPr>
        <p:spPr>
          <a:xfrm>
            <a:off x="5072541"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4506595" y="4063049"/>
            <a:ext cx="3149600" cy="1926273"/>
          </a:xfrm>
        </p:spPr>
        <p:txBody>
          <a:bodyPr>
            <a:noAutofit/>
          </a:bodyPr>
          <a:lstStyle>
            <a:lvl1pPr marL="0" indent="0" algn="ctr">
              <a:spcAft>
                <a:spcPts val="600"/>
              </a:spcAft>
              <a:buFontTx/>
              <a:buNone/>
              <a:defRPr sz="2400">
                <a:latin typeface="+mj-lt"/>
              </a:defRPr>
            </a:lvl1pPr>
            <a:lvl2pPr marL="0" indent="0" algn="ctr">
              <a:spcAft>
                <a:spcPts val="600"/>
              </a:spcAft>
              <a:buFontTx/>
              <a:buNone/>
              <a:defRPr sz="1600"/>
            </a:lvl2pPr>
            <a:lvl3pPr marL="0" indent="0" algn="ctr">
              <a:spcAft>
                <a:spcPts val="600"/>
              </a:spcAft>
              <a:buFontTx/>
              <a:buNone/>
              <a:defRPr sz="1600"/>
            </a:lvl3pPr>
            <a:lvl4pPr marL="0" indent="0" algn="ctr">
              <a:spcAft>
                <a:spcPts val="600"/>
              </a:spcAft>
              <a:buFontTx/>
              <a:buNone/>
              <a:defRPr sz="1600"/>
            </a:lvl4pPr>
            <a:lvl5pPr marL="0" indent="0" algn="ctr">
              <a:spcAft>
                <a:spcPts val="600"/>
              </a:spcAft>
              <a:buFontTx/>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Picture Placeholder 10">
            <a:extLst>
              <a:ext uri="{FF2B5EF4-FFF2-40B4-BE49-F238E27FC236}">
                <a16:creationId xmlns:a16="http://schemas.microsoft.com/office/drawing/2014/main" id="{4B540A39-E819-7E77-0B7A-4FB7F349368C}"/>
              </a:ext>
            </a:extLst>
          </p:cNvPr>
          <p:cNvSpPr>
            <a:spLocks noGrp="1"/>
          </p:cNvSpPr>
          <p:nvPr>
            <p:ph type="pic" sz="quarter" idx="14"/>
          </p:nvPr>
        </p:nvSpPr>
        <p:spPr>
          <a:xfrm>
            <a:off x="8893336"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8327391" y="4063049"/>
            <a:ext cx="3149600" cy="1926273"/>
          </a:xfrm>
        </p:spPr>
        <p:txBody>
          <a:bodyPr>
            <a:noAutofit/>
          </a:bodyPr>
          <a:lstStyle>
            <a:lvl1pPr marL="0" indent="0" algn="ctr">
              <a:spcAft>
                <a:spcPts val="600"/>
              </a:spcAft>
              <a:buFontTx/>
              <a:buNone/>
              <a:defRPr sz="2400">
                <a:latin typeface="+mj-lt"/>
              </a:defRPr>
            </a:lvl1pPr>
            <a:lvl2pPr marL="0" indent="0" algn="ctr">
              <a:spcAft>
                <a:spcPts val="600"/>
              </a:spcAft>
              <a:buFontTx/>
              <a:buNone/>
              <a:defRPr sz="1600"/>
            </a:lvl2pPr>
            <a:lvl3pPr marL="0" indent="0" algn="ctr">
              <a:spcAft>
                <a:spcPts val="600"/>
              </a:spcAft>
              <a:buFontTx/>
              <a:buNone/>
              <a:defRPr sz="1600"/>
            </a:lvl3pPr>
            <a:lvl4pPr marL="0" indent="0" algn="ctr">
              <a:spcAft>
                <a:spcPts val="600"/>
              </a:spcAft>
              <a:buFontTx/>
              <a:buNone/>
              <a:defRPr sz="1600"/>
            </a:lvl4pPr>
            <a:lvl5pPr marL="0" indent="0" algn="ctr">
              <a:spcAft>
                <a:spcPts val="600"/>
              </a:spcAft>
              <a:buFontTx/>
              <a:buNone/>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Rectangle 26">
            <a:extLst>
              <a:ext uri="{FF2B5EF4-FFF2-40B4-BE49-F238E27FC236}">
                <a16:creationId xmlns:a16="http://schemas.microsoft.com/office/drawing/2014/main" id="{290BAD14-E2B0-9D9E-34B1-2E11D29CCF7C}"/>
              </a:ext>
            </a:extLst>
          </p:cNvPr>
          <p:cNvSpPr/>
          <p:nvPr userDrawn="1"/>
        </p:nvSpPr>
        <p:spPr>
          <a:xfrm>
            <a:off x="1803400"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28" name="Rectangle 27">
            <a:extLst>
              <a:ext uri="{FF2B5EF4-FFF2-40B4-BE49-F238E27FC236}">
                <a16:creationId xmlns:a16="http://schemas.microsoft.com/office/drawing/2014/main" id="{EB286A98-CF41-C65A-14C0-2294A2C49AE5}"/>
              </a:ext>
            </a:extLst>
          </p:cNvPr>
          <p:cNvSpPr/>
          <p:nvPr userDrawn="1"/>
        </p:nvSpPr>
        <p:spPr>
          <a:xfrm>
            <a:off x="5624195"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29" name="Rectangle 28">
            <a:extLst>
              <a:ext uri="{FF2B5EF4-FFF2-40B4-BE49-F238E27FC236}">
                <a16:creationId xmlns:a16="http://schemas.microsoft.com/office/drawing/2014/main" id="{051583EF-8C95-7B75-AC82-402AF4D82BB6}"/>
              </a:ext>
            </a:extLst>
          </p:cNvPr>
          <p:cNvSpPr/>
          <p:nvPr userDrawn="1"/>
        </p:nvSpPr>
        <p:spPr>
          <a:xfrm>
            <a:off x="9444991"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pic>
        <p:nvPicPr>
          <p:cNvPr id="4" name="Picture 3">
            <a:extLst>
              <a:ext uri="{FF2B5EF4-FFF2-40B4-BE49-F238E27FC236}">
                <a16:creationId xmlns:a16="http://schemas.microsoft.com/office/drawing/2014/main" id="{DE986982-DD67-4BCA-6FFB-0BCDCF2DF109}"/>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27793701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4 presenters +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A458B068-4A37-1379-BA4D-B9FF41934F9C}"/>
              </a:ext>
            </a:extLst>
          </p:cNvPr>
          <p:cNvSpPr/>
          <p:nvPr userDrawn="1"/>
        </p:nvSpPr>
        <p:spPr>
          <a:xfrm>
            <a:off x="0" y="1512888"/>
            <a:ext cx="12192000" cy="4659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11" name="Picture Placeholder 10">
            <a:extLst>
              <a:ext uri="{FF2B5EF4-FFF2-40B4-BE49-F238E27FC236}">
                <a16:creationId xmlns:a16="http://schemas.microsoft.com/office/drawing/2014/main" id="{C8330049-5DC1-9BE1-3086-3724A629E245}"/>
              </a:ext>
            </a:extLst>
          </p:cNvPr>
          <p:cNvSpPr>
            <a:spLocks noGrp="1"/>
          </p:cNvSpPr>
          <p:nvPr>
            <p:ph type="pic" sz="quarter" idx="10"/>
          </p:nvPr>
        </p:nvSpPr>
        <p:spPr>
          <a:xfrm>
            <a:off x="960916"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1" y="4063049"/>
            <a:ext cx="2567940"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Picture Placeholder 10">
            <a:extLst>
              <a:ext uri="{FF2B5EF4-FFF2-40B4-BE49-F238E27FC236}">
                <a16:creationId xmlns:a16="http://schemas.microsoft.com/office/drawing/2014/main" id="{C55D5E14-B4A0-82AA-0E2C-3E22FBBCE4C7}"/>
              </a:ext>
            </a:extLst>
          </p:cNvPr>
          <p:cNvSpPr>
            <a:spLocks noGrp="1"/>
          </p:cNvSpPr>
          <p:nvPr>
            <p:ph type="pic" sz="quarter" idx="12"/>
          </p:nvPr>
        </p:nvSpPr>
        <p:spPr>
          <a:xfrm>
            <a:off x="3711736"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3436621" y="4063049"/>
            <a:ext cx="2567940"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Picture Placeholder 10">
            <a:extLst>
              <a:ext uri="{FF2B5EF4-FFF2-40B4-BE49-F238E27FC236}">
                <a16:creationId xmlns:a16="http://schemas.microsoft.com/office/drawing/2014/main" id="{4B540A39-E819-7E77-0B7A-4FB7F349368C}"/>
              </a:ext>
            </a:extLst>
          </p:cNvPr>
          <p:cNvSpPr>
            <a:spLocks noGrp="1"/>
          </p:cNvSpPr>
          <p:nvPr>
            <p:ph type="pic" sz="quarter" idx="14"/>
          </p:nvPr>
        </p:nvSpPr>
        <p:spPr>
          <a:xfrm>
            <a:off x="6462556"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6187441" y="4063049"/>
            <a:ext cx="2567940"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Picture Placeholder 10">
            <a:extLst>
              <a:ext uri="{FF2B5EF4-FFF2-40B4-BE49-F238E27FC236}">
                <a16:creationId xmlns:a16="http://schemas.microsoft.com/office/drawing/2014/main" id="{FFE5623D-A697-68A9-E96F-37F0ABF3E571}"/>
              </a:ext>
            </a:extLst>
          </p:cNvPr>
          <p:cNvSpPr>
            <a:spLocks noGrp="1"/>
          </p:cNvSpPr>
          <p:nvPr>
            <p:ph type="pic" sz="quarter" idx="16"/>
          </p:nvPr>
        </p:nvSpPr>
        <p:spPr>
          <a:xfrm>
            <a:off x="9213376"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4" name="Text Placeholder 13">
            <a:extLst>
              <a:ext uri="{FF2B5EF4-FFF2-40B4-BE49-F238E27FC236}">
                <a16:creationId xmlns:a16="http://schemas.microsoft.com/office/drawing/2014/main" id="{8FBD5088-1055-4D2D-75C6-BBCAC6C0DA94}"/>
              </a:ext>
            </a:extLst>
          </p:cNvPr>
          <p:cNvSpPr>
            <a:spLocks noGrp="1"/>
          </p:cNvSpPr>
          <p:nvPr>
            <p:ph type="body" sz="quarter" idx="17"/>
          </p:nvPr>
        </p:nvSpPr>
        <p:spPr>
          <a:xfrm>
            <a:off x="8938261" y="4063049"/>
            <a:ext cx="2567940"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Rectangle 26">
            <a:extLst>
              <a:ext uri="{FF2B5EF4-FFF2-40B4-BE49-F238E27FC236}">
                <a16:creationId xmlns:a16="http://schemas.microsoft.com/office/drawing/2014/main" id="{290BAD14-E2B0-9D9E-34B1-2E11D29CCF7C}"/>
              </a:ext>
            </a:extLst>
          </p:cNvPr>
          <p:cNvSpPr/>
          <p:nvPr userDrawn="1"/>
        </p:nvSpPr>
        <p:spPr>
          <a:xfrm>
            <a:off x="1512571"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28" name="Rectangle 27">
            <a:extLst>
              <a:ext uri="{FF2B5EF4-FFF2-40B4-BE49-F238E27FC236}">
                <a16:creationId xmlns:a16="http://schemas.microsoft.com/office/drawing/2014/main" id="{EB286A98-CF41-C65A-14C0-2294A2C49AE5}"/>
              </a:ext>
            </a:extLst>
          </p:cNvPr>
          <p:cNvSpPr/>
          <p:nvPr userDrawn="1"/>
        </p:nvSpPr>
        <p:spPr>
          <a:xfrm>
            <a:off x="4263391"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29" name="Rectangle 28">
            <a:extLst>
              <a:ext uri="{FF2B5EF4-FFF2-40B4-BE49-F238E27FC236}">
                <a16:creationId xmlns:a16="http://schemas.microsoft.com/office/drawing/2014/main" id="{051583EF-8C95-7B75-AC82-402AF4D82BB6}"/>
              </a:ext>
            </a:extLst>
          </p:cNvPr>
          <p:cNvSpPr/>
          <p:nvPr userDrawn="1"/>
        </p:nvSpPr>
        <p:spPr>
          <a:xfrm>
            <a:off x="7014211"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31" name="Rectangle 30">
            <a:extLst>
              <a:ext uri="{FF2B5EF4-FFF2-40B4-BE49-F238E27FC236}">
                <a16:creationId xmlns:a16="http://schemas.microsoft.com/office/drawing/2014/main" id="{CC9406F9-E529-7156-9A4D-C11A0FD758AB}"/>
              </a:ext>
            </a:extLst>
          </p:cNvPr>
          <p:cNvSpPr/>
          <p:nvPr userDrawn="1"/>
        </p:nvSpPr>
        <p:spPr>
          <a:xfrm>
            <a:off x="9765029"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pic>
        <p:nvPicPr>
          <p:cNvPr id="4" name="Picture 3">
            <a:extLst>
              <a:ext uri="{FF2B5EF4-FFF2-40B4-BE49-F238E27FC236}">
                <a16:creationId xmlns:a16="http://schemas.microsoft.com/office/drawing/2014/main" id="{9BD40CDE-3BAF-A15A-AC66-1BE96E25E15F}"/>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298052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 presenters + log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A458B068-4A37-1379-BA4D-B9FF41934F9C}"/>
              </a:ext>
            </a:extLst>
          </p:cNvPr>
          <p:cNvSpPr/>
          <p:nvPr userDrawn="1"/>
        </p:nvSpPr>
        <p:spPr>
          <a:xfrm>
            <a:off x="0" y="1512888"/>
            <a:ext cx="12192000" cy="465931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11" name="Picture Placeholder 10">
            <a:extLst>
              <a:ext uri="{FF2B5EF4-FFF2-40B4-BE49-F238E27FC236}">
                <a16:creationId xmlns:a16="http://schemas.microsoft.com/office/drawing/2014/main" id="{C8330049-5DC1-9BE1-3086-3724A629E245}"/>
              </a:ext>
            </a:extLst>
          </p:cNvPr>
          <p:cNvSpPr>
            <a:spLocks noGrp="1"/>
          </p:cNvSpPr>
          <p:nvPr>
            <p:ph type="pic" sz="quarter" idx="10"/>
          </p:nvPr>
        </p:nvSpPr>
        <p:spPr>
          <a:xfrm>
            <a:off x="685801"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14" name="Text Placeholder 13">
            <a:extLst>
              <a:ext uri="{FF2B5EF4-FFF2-40B4-BE49-F238E27FC236}">
                <a16:creationId xmlns:a16="http://schemas.microsoft.com/office/drawing/2014/main" id="{23687C30-D39D-8BD2-FCB7-8939D9D8190C}"/>
              </a:ext>
            </a:extLst>
          </p:cNvPr>
          <p:cNvSpPr>
            <a:spLocks noGrp="1"/>
          </p:cNvSpPr>
          <p:nvPr>
            <p:ph type="body" sz="quarter" idx="11"/>
          </p:nvPr>
        </p:nvSpPr>
        <p:spPr>
          <a:xfrm>
            <a:off x="685800" y="4063049"/>
            <a:ext cx="2017776"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Picture Placeholder 10">
            <a:extLst>
              <a:ext uri="{FF2B5EF4-FFF2-40B4-BE49-F238E27FC236}">
                <a16:creationId xmlns:a16="http://schemas.microsoft.com/office/drawing/2014/main" id="{C55D5E14-B4A0-82AA-0E2C-3E22FBBCE4C7}"/>
              </a:ext>
            </a:extLst>
          </p:cNvPr>
          <p:cNvSpPr>
            <a:spLocks noGrp="1"/>
          </p:cNvSpPr>
          <p:nvPr>
            <p:ph type="pic" sz="quarter" idx="12"/>
          </p:nvPr>
        </p:nvSpPr>
        <p:spPr>
          <a:xfrm>
            <a:off x="2886457"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0" name="Text Placeholder 13">
            <a:extLst>
              <a:ext uri="{FF2B5EF4-FFF2-40B4-BE49-F238E27FC236}">
                <a16:creationId xmlns:a16="http://schemas.microsoft.com/office/drawing/2014/main" id="{53B7761B-AAF1-9579-F23E-2FD81256CB92}"/>
              </a:ext>
            </a:extLst>
          </p:cNvPr>
          <p:cNvSpPr>
            <a:spLocks noGrp="1"/>
          </p:cNvSpPr>
          <p:nvPr>
            <p:ph type="body" sz="quarter" idx="13"/>
          </p:nvPr>
        </p:nvSpPr>
        <p:spPr>
          <a:xfrm>
            <a:off x="2886455" y="4063049"/>
            <a:ext cx="2017776"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Picture Placeholder 10">
            <a:extLst>
              <a:ext uri="{FF2B5EF4-FFF2-40B4-BE49-F238E27FC236}">
                <a16:creationId xmlns:a16="http://schemas.microsoft.com/office/drawing/2014/main" id="{4B540A39-E819-7E77-0B7A-4FB7F349368C}"/>
              </a:ext>
            </a:extLst>
          </p:cNvPr>
          <p:cNvSpPr>
            <a:spLocks noGrp="1"/>
          </p:cNvSpPr>
          <p:nvPr>
            <p:ph type="pic" sz="quarter" idx="14"/>
          </p:nvPr>
        </p:nvSpPr>
        <p:spPr>
          <a:xfrm>
            <a:off x="5087049"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2" name="Text Placeholder 13">
            <a:extLst>
              <a:ext uri="{FF2B5EF4-FFF2-40B4-BE49-F238E27FC236}">
                <a16:creationId xmlns:a16="http://schemas.microsoft.com/office/drawing/2014/main" id="{B4C7C6EC-A583-F0FC-49B9-719AE9973D92}"/>
              </a:ext>
            </a:extLst>
          </p:cNvPr>
          <p:cNvSpPr>
            <a:spLocks noGrp="1"/>
          </p:cNvSpPr>
          <p:nvPr>
            <p:ph type="body" sz="quarter" idx="15"/>
          </p:nvPr>
        </p:nvSpPr>
        <p:spPr>
          <a:xfrm>
            <a:off x="5087047" y="4063049"/>
            <a:ext cx="2017776"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Picture Placeholder 10">
            <a:extLst>
              <a:ext uri="{FF2B5EF4-FFF2-40B4-BE49-F238E27FC236}">
                <a16:creationId xmlns:a16="http://schemas.microsoft.com/office/drawing/2014/main" id="{FFE5623D-A697-68A9-E96F-37F0ABF3E571}"/>
              </a:ext>
            </a:extLst>
          </p:cNvPr>
          <p:cNvSpPr>
            <a:spLocks noGrp="1"/>
          </p:cNvSpPr>
          <p:nvPr>
            <p:ph type="pic" sz="quarter" idx="16"/>
          </p:nvPr>
        </p:nvSpPr>
        <p:spPr>
          <a:xfrm>
            <a:off x="7287833"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4" name="Text Placeholder 13">
            <a:extLst>
              <a:ext uri="{FF2B5EF4-FFF2-40B4-BE49-F238E27FC236}">
                <a16:creationId xmlns:a16="http://schemas.microsoft.com/office/drawing/2014/main" id="{8FBD5088-1055-4D2D-75C6-BBCAC6C0DA94}"/>
              </a:ext>
            </a:extLst>
          </p:cNvPr>
          <p:cNvSpPr>
            <a:spLocks noGrp="1"/>
          </p:cNvSpPr>
          <p:nvPr>
            <p:ph type="body" sz="quarter" idx="17"/>
          </p:nvPr>
        </p:nvSpPr>
        <p:spPr>
          <a:xfrm>
            <a:off x="7287831" y="4063049"/>
            <a:ext cx="2017776"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5" name="Picture Placeholder 10">
            <a:extLst>
              <a:ext uri="{FF2B5EF4-FFF2-40B4-BE49-F238E27FC236}">
                <a16:creationId xmlns:a16="http://schemas.microsoft.com/office/drawing/2014/main" id="{7D4A6FA6-D4EA-73D2-9664-2C41BBF3A1D2}"/>
              </a:ext>
            </a:extLst>
          </p:cNvPr>
          <p:cNvSpPr>
            <a:spLocks noGrp="1"/>
          </p:cNvSpPr>
          <p:nvPr>
            <p:ph type="pic" sz="quarter" idx="18"/>
          </p:nvPr>
        </p:nvSpPr>
        <p:spPr>
          <a:xfrm>
            <a:off x="9488489" y="1695452"/>
            <a:ext cx="2017713" cy="2017713"/>
          </a:xfrm>
          <a:solidFill>
            <a:schemeClr val="bg1"/>
          </a:solidFill>
        </p:spPr>
        <p:txBody>
          <a:bodyPr anchor="ctr"/>
          <a:lstStyle>
            <a:lvl1pPr marL="0" indent="0" algn="ctr">
              <a:buFontTx/>
              <a:buNone/>
              <a:defRPr/>
            </a:lvl1pPr>
          </a:lstStyle>
          <a:p>
            <a:r>
              <a:rPr lang="en-US"/>
              <a:t>Click icon to add picture</a:t>
            </a:r>
          </a:p>
        </p:txBody>
      </p:sp>
      <p:sp>
        <p:nvSpPr>
          <p:cNvPr id="26" name="Text Placeholder 13">
            <a:extLst>
              <a:ext uri="{FF2B5EF4-FFF2-40B4-BE49-F238E27FC236}">
                <a16:creationId xmlns:a16="http://schemas.microsoft.com/office/drawing/2014/main" id="{0BD4B39B-AC15-5134-8FB0-5E5D6734410D}"/>
              </a:ext>
            </a:extLst>
          </p:cNvPr>
          <p:cNvSpPr>
            <a:spLocks noGrp="1"/>
          </p:cNvSpPr>
          <p:nvPr>
            <p:ph type="body" sz="quarter" idx="19"/>
          </p:nvPr>
        </p:nvSpPr>
        <p:spPr>
          <a:xfrm>
            <a:off x="9488487" y="4063049"/>
            <a:ext cx="2017776" cy="1926273"/>
          </a:xfrm>
        </p:spPr>
        <p:txBody>
          <a:bodyPr/>
          <a:lstStyle>
            <a:lvl1pPr marL="0" indent="0" algn="ctr">
              <a:spcAft>
                <a:spcPts val="600"/>
              </a:spcAft>
              <a:buFontTx/>
              <a:buNone/>
              <a:defRPr>
                <a:latin typeface="+mj-lt"/>
              </a:defRPr>
            </a:lvl1pPr>
            <a:lvl2pPr marL="0" indent="0" algn="ctr">
              <a:spcAft>
                <a:spcPts val="600"/>
              </a:spcAft>
              <a:buFontTx/>
              <a:buNone/>
              <a:defRPr sz="1400"/>
            </a:lvl2pPr>
            <a:lvl3pPr marL="0" indent="0" algn="ctr">
              <a:spcAft>
                <a:spcPts val="600"/>
              </a:spcAft>
              <a:buFontTx/>
              <a:buNone/>
              <a:defRPr sz="1400"/>
            </a:lvl3pPr>
            <a:lvl4pPr marL="0" indent="0" algn="ctr">
              <a:spcAft>
                <a:spcPts val="600"/>
              </a:spcAft>
              <a:buFontTx/>
              <a:buNone/>
              <a:defRPr sz="1400"/>
            </a:lvl4pPr>
            <a:lvl5pPr marL="0" indent="0" algn="ctr">
              <a:spcAft>
                <a:spcPts val="600"/>
              </a:spcAft>
              <a:buFontTx/>
              <a:buNone/>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Rectangle 26">
            <a:extLst>
              <a:ext uri="{FF2B5EF4-FFF2-40B4-BE49-F238E27FC236}">
                <a16:creationId xmlns:a16="http://schemas.microsoft.com/office/drawing/2014/main" id="{290BAD14-E2B0-9D9E-34B1-2E11D29CCF7C}"/>
              </a:ext>
            </a:extLst>
          </p:cNvPr>
          <p:cNvSpPr/>
          <p:nvPr userDrawn="1"/>
        </p:nvSpPr>
        <p:spPr>
          <a:xfrm>
            <a:off x="1237456"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28" name="Rectangle 27">
            <a:extLst>
              <a:ext uri="{FF2B5EF4-FFF2-40B4-BE49-F238E27FC236}">
                <a16:creationId xmlns:a16="http://schemas.microsoft.com/office/drawing/2014/main" id="{EB286A98-CF41-C65A-14C0-2294A2C49AE5}"/>
              </a:ext>
            </a:extLst>
          </p:cNvPr>
          <p:cNvSpPr/>
          <p:nvPr userDrawn="1"/>
        </p:nvSpPr>
        <p:spPr>
          <a:xfrm>
            <a:off x="3438111"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29" name="Rectangle 28">
            <a:extLst>
              <a:ext uri="{FF2B5EF4-FFF2-40B4-BE49-F238E27FC236}">
                <a16:creationId xmlns:a16="http://schemas.microsoft.com/office/drawing/2014/main" id="{051583EF-8C95-7B75-AC82-402AF4D82BB6}"/>
              </a:ext>
            </a:extLst>
          </p:cNvPr>
          <p:cNvSpPr/>
          <p:nvPr userDrawn="1"/>
        </p:nvSpPr>
        <p:spPr>
          <a:xfrm>
            <a:off x="5638703"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31" name="Rectangle 30">
            <a:extLst>
              <a:ext uri="{FF2B5EF4-FFF2-40B4-BE49-F238E27FC236}">
                <a16:creationId xmlns:a16="http://schemas.microsoft.com/office/drawing/2014/main" id="{CC9406F9-E529-7156-9A4D-C11A0FD758AB}"/>
              </a:ext>
            </a:extLst>
          </p:cNvPr>
          <p:cNvSpPr/>
          <p:nvPr userDrawn="1"/>
        </p:nvSpPr>
        <p:spPr>
          <a:xfrm>
            <a:off x="7839487"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sp>
        <p:nvSpPr>
          <p:cNvPr id="32" name="Rectangle 31">
            <a:extLst>
              <a:ext uri="{FF2B5EF4-FFF2-40B4-BE49-F238E27FC236}">
                <a16:creationId xmlns:a16="http://schemas.microsoft.com/office/drawing/2014/main" id="{90BDC15C-F656-F56E-2050-89622A1130D5}"/>
              </a:ext>
            </a:extLst>
          </p:cNvPr>
          <p:cNvSpPr/>
          <p:nvPr userDrawn="1"/>
        </p:nvSpPr>
        <p:spPr>
          <a:xfrm>
            <a:off x="10040143" y="3873183"/>
            <a:ext cx="914400" cy="45720"/>
          </a:xfrm>
          <a:prstGeom prst="rect">
            <a:avLst/>
          </a:prstGeom>
          <a:solidFill>
            <a:srgbClr val="D9263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91440" rIns="0" bIns="91440" rtlCol="0" anchor="ct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chemeClr val="accent6"/>
              </a:solidFill>
              <a:effectLst/>
              <a:uLnTx/>
              <a:uFillTx/>
              <a:latin typeface="Nunito Sans Light"/>
              <a:ea typeface="+mn-ea"/>
              <a:cs typeface="+mn-cs"/>
            </a:endParaRPr>
          </a:p>
        </p:txBody>
      </p:sp>
      <p:pic>
        <p:nvPicPr>
          <p:cNvPr id="4" name="Picture 3">
            <a:extLst>
              <a:ext uri="{FF2B5EF4-FFF2-40B4-BE49-F238E27FC236}">
                <a16:creationId xmlns:a16="http://schemas.microsoft.com/office/drawing/2014/main" id="{CD1CDF83-BA25-0BA0-FFBD-C60B746F7EE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6989898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4094731B-A2B2-4A94-B583-3AEEE32224D8}"/>
              </a:ext>
            </a:extLst>
          </p:cNvPr>
          <p:cNvSpPr>
            <a:spLocks noGrp="1"/>
          </p:cNvSpPr>
          <p:nvPr>
            <p:ph type="title"/>
          </p:nvPr>
        </p:nvSpPr>
        <p:spPr/>
        <p:txBody>
          <a:bodyPr/>
          <a:lstStyle/>
          <a:p>
            <a:r>
              <a:rPr lang="en-US"/>
              <a:t>Click to edit Master title style</a:t>
            </a:r>
          </a:p>
        </p:txBody>
      </p:sp>
      <p:sp>
        <p:nvSpPr>
          <p:cNvPr id="3" name="Subtitle Left">
            <a:extLst>
              <a:ext uri="{FF2B5EF4-FFF2-40B4-BE49-F238E27FC236}">
                <a16:creationId xmlns:a16="http://schemas.microsoft.com/office/drawing/2014/main" id="{6F05AC79-1721-4D32-8664-ABDF368BA74A}"/>
              </a:ext>
            </a:extLst>
          </p:cNvPr>
          <p:cNvSpPr>
            <a:spLocks noGrp="1"/>
          </p:cNvSpPr>
          <p:nvPr>
            <p:ph type="body" idx="1"/>
          </p:nvPr>
        </p:nvSpPr>
        <p:spPr>
          <a:xfrm>
            <a:off x="685799" y="1600200"/>
            <a:ext cx="5330952" cy="457200"/>
          </a:xfrm>
        </p:spPr>
        <p:txBody>
          <a:bodyPr anchor="b"/>
          <a:lstStyle>
            <a:lvl1pPr marL="0" indent="0">
              <a:buNone/>
              <a:defRPr sz="2400" b="0">
                <a:latin typeface="Nunito Sans SemiBold" panose="000007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Left">
            <a:extLst>
              <a:ext uri="{FF2B5EF4-FFF2-40B4-BE49-F238E27FC236}">
                <a16:creationId xmlns:a16="http://schemas.microsoft.com/office/drawing/2014/main" id="{BA269D94-86E2-4284-82FC-C1B7064215A0}"/>
              </a:ext>
            </a:extLst>
          </p:cNvPr>
          <p:cNvSpPr>
            <a:spLocks noGrp="1"/>
          </p:cNvSpPr>
          <p:nvPr>
            <p:ph sz="half" idx="2"/>
          </p:nvPr>
        </p:nvSpPr>
        <p:spPr>
          <a:xfrm>
            <a:off x="685799" y="2131407"/>
            <a:ext cx="5330952" cy="39122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Right">
            <a:extLst>
              <a:ext uri="{FF2B5EF4-FFF2-40B4-BE49-F238E27FC236}">
                <a16:creationId xmlns:a16="http://schemas.microsoft.com/office/drawing/2014/main" id="{2A43FD98-1733-4777-A90A-ABAC0ABD08E6}"/>
              </a:ext>
            </a:extLst>
          </p:cNvPr>
          <p:cNvSpPr>
            <a:spLocks noGrp="1"/>
          </p:cNvSpPr>
          <p:nvPr>
            <p:ph type="body" sz="quarter" idx="3"/>
          </p:nvPr>
        </p:nvSpPr>
        <p:spPr>
          <a:xfrm>
            <a:off x="6149772" y="1600200"/>
            <a:ext cx="5330952" cy="457200"/>
          </a:xfrm>
        </p:spPr>
        <p:txBody>
          <a:bodyPr anchor="b"/>
          <a:lstStyle>
            <a:lvl1pPr marL="0" indent="0">
              <a:buNone/>
              <a:defRPr sz="2400" b="0">
                <a:latin typeface="Nunito Sans SemiBold" panose="00000700000000000000"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Right">
            <a:extLst>
              <a:ext uri="{FF2B5EF4-FFF2-40B4-BE49-F238E27FC236}">
                <a16:creationId xmlns:a16="http://schemas.microsoft.com/office/drawing/2014/main" id="{E03CD6EA-32BC-4540-BB63-4E349C280B04}"/>
              </a:ext>
            </a:extLst>
          </p:cNvPr>
          <p:cNvSpPr>
            <a:spLocks noGrp="1"/>
          </p:cNvSpPr>
          <p:nvPr>
            <p:ph sz="quarter" idx="4"/>
          </p:nvPr>
        </p:nvSpPr>
        <p:spPr>
          <a:xfrm>
            <a:off x="6149772" y="2131407"/>
            <a:ext cx="5330952" cy="39122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hidden="1">
            <a:extLst>
              <a:ext uri="{FF2B5EF4-FFF2-40B4-BE49-F238E27FC236}">
                <a16:creationId xmlns:a16="http://schemas.microsoft.com/office/drawing/2014/main" id="{F002EF8B-A5D3-47D9-8126-C962313BC1F5}"/>
              </a:ext>
            </a:extLst>
          </p:cNvPr>
          <p:cNvSpPr>
            <a:spLocks noGrp="1"/>
          </p:cNvSpPr>
          <p:nvPr>
            <p:ph type="dt" sz="half" idx="10"/>
          </p:nvPr>
        </p:nvSpPr>
        <p:spPr/>
        <p:txBody>
          <a:bodyPr/>
          <a:lstStyle/>
          <a:p>
            <a:endParaRPr lang="en-US"/>
          </a:p>
        </p:txBody>
      </p:sp>
      <p:sp>
        <p:nvSpPr>
          <p:cNvPr id="8" name="Footer Placeholder 7" hidden="1">
            <a:extLst>
              <a:ext uri="{FF2B5EF4-FFF2-40B4-BE49-F238E27FC236}">
                <a16:creationId xmlns:a16="http://schemas.microsoft.com/office/drawing/2014/main" id="{62A85A42-7683-4766-BFAB-3EBA707BB23E}"/>
              </a:ext>
            </a:extLst>
          </p:cNvPr>
          <p:cNvSpPr>
            <a:spLocks noGrp="1"/>
          </p:cNvSpPr>
          <p:nvPr>
            <p:ph type="ftr" sz="quarter" idx="11"/>
          </p:nvPr>
        </p:nvSpPr>
        <p:spPr/>
        <p:txBody>
          <a:bodyPr/>
          <a:lstStyle/>
          <a:p>
            <a:endParaRPr lang="en-US"/>
          </a:p>
        </p:txBody>
      </p:sp>
      <p:sp>
        <p:nvSpPr>
          <p:cNvPr id="11" name="Logo protection area" hidden="1">
            <a:extLst>
              <a:ext uri="{FF2B5EF4-FFF2-40B4-BE49-F238E27FC236}">
                <a16:creationId xmlns:a16="http://schemas.microsoft.com/office/drawing/2014/main" id="{8F41116E-C26A-4603-A421-DC1E1C5DE081}"/>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2" name="Layout Protection area" hidden="1">
            <a:extLst>
              <a:ext uri="{FF2B5EF4-FFF2-40B4-BE49-F238E27FC236}">
                <a16:creationId xmlns:a16="http://schemas.microsoft.com/office/drawing/2014/main" id="{679E494E-10EA-4EB6-9E1C-9D9ACB931BA0}"/>
              </a:ext>
            </a:extLst>
          </p:cNvPr>
          <p:cNvSpPr/>
          <p:nvPr userDrawn="1">
            <p:custDataLst>
              <p:tags r:id="rId2"/>
            </p:custDataLst>
          </p:nvPr>
        </p:nvSpPr>
        <p:spPr>
          <a:xfrm>
            <a:off x="664420" y="1572242"/>
            <a:ext cx="10841780" cy="449963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9" name="Slide Number Placeholder 8">
            <a:extLst>
              <a:ext uri="{FF2B5EF4-FFF2-40B4-BE49-F238E27FC236}">
                <a16:creationId xmlns:a16="http://schemas.microsoft.com/office/drawing/2014/main" id="{9648FB7E-A69A-4025-9B4A-BCE069184633}"/>
              </a:ext>
            </a:extLst>
          </p:cNvPr>
          <p:cNvSpPr>
            <a:spLocks noGrp="1"/>
          </p:cNvSpPr>
          <p:nvPr>
            <p:ph type="sldNum" sz="quarter" idx="12"/>
          </p:nvPr>
        </p:nvSpPr>
        <p:spPr/>
        <p:txBody>
          <a:bodyPr/>
          <a:lstStyle/>
          <a:p>
            <a:fld id="{19490E8F-9C5F-4855-8092-5F63805805A6}" type="slidenum">
              <a:rPr lang="en-US"/>
              <a:t>‹#›</a:t>
            </a:fld>
            <a:endParaRPr lang="en-US"/>
          </a:p>
        </p:txBody>
      </p:sp>
    </p:spTree>
    <p:extLst>
      <p:ext uri="{BB962C8B-B14F-4D97-AF65-F5344CB8AC3E}">
        <p14:creationId xmlns:p14="http://schemas.microsoft.com/office/powerpoint/2010/main" val="4020566426"/>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Forward-looking statement + logo">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127842-66B2-13BF-34F0-6B00923FAB55}"/>
              </a:ext>
            </a:extLst>
          </p:cNvPr>
          <p:cNvSpPr/>
          <p:nvPr userDrawn="1"/>
        </p:nvSpPr>
        <p:spPr>
          <a:xfrm>
            <a:off x="685800" y="1"/>
            <a:ext cx="10820400" cy="12827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4" name="Rectangle 3">
            <a:extLst>
              <a:ext uri="{FF2B5EF4-FFF2-40B4-BE49-F238E27FC236}">
                <a16:creationId xmlns:a16="http://schemas.microsoft.com/office/drawing/2014/main" id="{21C5876B-FB46-A3BD-1E55-E15CBDA5F8D9}"/>
              </a:ext>
            </a:extLst>
          </p:cNvPr>
          <p:cNvSpPr/>
          <p:nvPr userDrawn="1"/>
        </p:nvSpPr>
        <p:spPr>
          <a:xfrm>
            <a:off x="685800" y="1282701"/>
            <a:ext cx="10820400" cy="4889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1371600" y="291164"/>
            <a:ext cx="9448800" cy="763921"/>
          </a:xfrm>
        </p:spPr>
        <p:txBody>
          <a:bodyPr/>
          <a:lstStyle>
            <a:lvl1pPr algn="ctr">
              <a:defRPr>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1371600" y="1512888"/>
            <a:ext cx="9448800" cy="4293552"/>
          </a:xfrm>
        </p:spPr>
        <p:txBody>
          <a:bodyPr lIns="0" tIns="0" rIns="0" bIns="0" anchor="ctr">
            <a:normAutofit/>
          </a:bodyPr>
          <a:lstStyle>
            <a:lvl1pPr marL="0" indent="0" algn="just">
              <a:lnSpc>
                <a:spcPct val="125000"/>
              </a:lnSpc>
              <a:spcBef>
                <a:spcPts val="0"/>
              </a:spcBef>
              <a:buClr>
                <a:schemeClr val="accent4"/>
              </a:buClr>
              <a:buFont typeface="Nunito Sans Light" panose="00000400000000000000" pitchFamily="2" charset="0"/>
              <a:buChar char="​"/>
              <a:defRPr sz="2800" b="0" i="0">
                <a:latin typeface="+mn-lt"/>
              </a:defRPr>
            </a:lvl1pPr>
            <a:lvl2pPr marL="228594" indent="0">
              <a:lnSpc>
                <a:spcPct val="100000"/>
              </a:lnSpc>
              <a:spcBef>
                <a:spcPts val="0"/>
              </a:spcBef>
              <a:buSzPct val="100000"/>
              <a:buFont typeface="Arial" panose="020B0604020202020204" pitchFamily="34" charset="0"/>
              <a:buNone/>
              <a:defRPr sz="2800" b="0" i="0">
                <a:latin typeface="+mn-lt"/>
              </a:defRPr>
            </a:lvl2pPr>
            <a:lvl3pPr marL="685783" indent="-228594">
              <a:lnSpc>
                <a:spcPct val="100000"/>
              </a:lnSpc>
              <a:spcBef>
                <a:spcPts val="0"/>
              </a:spcBef>
              <a:buFont typeface="Calibri" panose="020F0502020204030204" pitchFamily="34" charset="0"/>
              <a:buChar char="–"/>
              <a:defRPr sz="2800" b="0" i="0">
                <a:latin typeface="+mn-lt"/>
              </a:defRPr>
            </a:lvl3pPr>
            <a:lvl4pPr marL="914377" indent="-228594">
              <a:lnSpc>
                <a:spcPct val="100000"/>
              </a:lnSpc>
              <a:spcBef>
                <a:spcPts val="0"/>
              </a:spcBef>
              <a:buFont typeface="Arial" panose="020B0604020202020204" pitchFamily="34" charset="0"/>
              <a:buChar char="•"/>
              <a:defRPr sz="2800" b="0" i="0">
                <a:latin typeface="+mn-lt"/>
              </a:defRPr>
            </a:lvl4pPr>
            <a:lvl5pPr marL="1142971" indent="-228594">
              <a:lnSpc>
                <a:spcPct val="100000"/>
              </a:lnSpc>
              <a:spcBef>
                <a:spcPts val="0"/>
              </a:spcBef>
              <a:buFont typeface="Calibri" panose="020F0502020204030204" pitchFamily="34" charset="0"/>
              <a:buChar char="–"/>
              <a:defRPr sz="2800" b="0" i="0">
                <a:latin typeface="+mn-lt"/>
              </a:defRPr>
            </a:lvl5pPr>
          </a:lstStyle>
          <a:p>
            <a:pPr lvl="0"/>
            <a:r>
              <a:rPr lang="en-US"/>
              <a:t>Click to edit Master text styles</a:t>
            </a:r>
          </a:p>
        </p:txBody>
      </p:sp>
      <p:pic>
        <p:nvPicPr>
          <p:cNvPr id="2" name="Picture 1">
            <a:extLst>
              <a:ext uri="{FF2B5EF4-FFF2-40B4-BE49-F238E27FC236}">
                <a16:creationId xmlns:a16="http://schemas.microsoft.com/office/drawing/2014/main" id="{3849B76B-AF46-B801-5348-CE9372BDFD15}"/>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13628200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lank + logo">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a:xfrm>
            <a:off x="0" y="6867312"/>
            <a:ext cx="2743200" cy="131155"/>
          </a:xfrm>
          <a:prstGeom prst="rect">
            <a:avLst/>
          </a:prstGeom>
        </p:spPr>
        <p:txBody>
          <a:bodyPr vert="horz" lIns="91440" tIns="45720" rIns="91440" bIns="45720" rtlCol="0" anchor="ctr"/>
          <a:lstStyle>
            <a:defPPr>
              <a:defRPr lang="en-US"/>
            </a:defPPr>
            <a:lvl1pPr marL="0" algn="l" defTabSz="914377" rtl="0" eaLnBrk="1" latinLnBrk="0" hangingPunct="1">
              <a:defRPr sz="700" b="0" i="0" kern="1200">
                <a:solidFill>
                  <a:schemeClr val="tx1">
                    <a:tint val="75000"/>
                  </a:schemeClr>
                </a:solidFill>
                <a:latin typeface="Nunito Sans Light" pitchFamily="2" charset="77"/>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a:lstStyle>
          <a:p>
            <a:pPr>
              <a:defRPr/>
            </a:pPr>
            <a:endParaRPr lang="en-US">
              <a:solidFill>
                <a:srgbClr val="000000">
                  <a:tint val="75000"/>
                </a:srgbClr>
              </a:solidFill>
            </a:endParaRPr>
          </a:p>
        </p:txBody>
      </p:sp>
      <p:pic>
        <p:nvPicPr>
          <p:cNvPr id="4" name="Picture 3">
            <a:extLst>
              <a:ext uri="{FF2B5EF4-FFF2-40B4-BE49-F238E27FC236}">
                <a16:creationId xmlns:a16="http://schemas.microsoft.com/office/drawing/2014/main" id="{1F64DB28-7990-F1BF-C4E9-0AF89D874B06}"/>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11341329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type="obj">
  <p:cSld name="1_Titl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tIns="0" bIns="0"/>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69597A0-3473-460F-B73F-B79535986219}"/>
              </a:ext>
            </a:extLst>
          </p:cNvPr>
          <p:cNvSpPr/>
          <p:nvPr userDrawn="1"/>
        </p:nvSpPr>
        <p:spPr>
          <a:xfrm>
            <a:off x="6096000" y="2"/>
            <a:ext cx="6096000" cy="182711"/>
          </a:xfrm>
          <a:prstGeom prst="rect">
            <a:avLst/>
          </a:prstGeom>
          <a:solidFill>
            <a:schemeClr val="accent1"/>
          </a:solidFill>
          <a:ln w="12700" cap="sq">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horz" wrap="square" lIns="137160" tIns="137160" rIns="137160" bIns="137160" numCol="1" spcCol="0" rtlCol="0" fromWordArt="0" anchor="ctr" anchorCtr="0" forceAA="0" compatLnSpc="1">
            <a:prstTxWarp prst="textNoShape">
              <a:avLst/>
            </a:prstTxWarp>
            <a:noAutofit/>
          </a:bodyPr>
          <a:lstStyle/>
          <a:p>
            <a:pPr algn="ctr"/>
            <a:endParaRPr lang="en-US" sz="1800" err="1">
              <a:solidFill>
                <a:schemeClr val="bg1"/>
              </a:solidFill>
              <a:latin typeface="+mj-lt"/>
            </a:endParaRPr>
          </a:p>
        </p:txBody>
      </p:sp>
    </p:spTree>
    <p:extLst>
      <p:ext uri="{BB962C8B-B14F-4D97-AF65-F5344CB8AC3E}">
        <p14:creationId xmlns:p14="http://schemas.microsoft.com/office/powerpoint/2010/main" val="1350001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_Title + three columns + fill">
    <p:spTree>
      <p:nvGrpSpPr>
        <p:cNvPr id="1" name=""/>
        <p:cNvGrpSpPr/>
        <p:nvPr/>
      </p:nvGrpSpPr>
      <p:grpSpPr>
        <a:xfrm>
          <a:off x="0" y="0"/>
          <a:ext cx="0" cy="0"/>
          <a:chOff x="0" y="0"/>
          <a:chExt cx="0" cy="0"/>
        </a:xfrm>
      </p:grpSpPr>
      <p:sp>
        <p:nvSpPr>
          <p:cNvPr id="8" name="Rectangle 7"/>
          <p:cNvSpPr/>
          <p:nvPr userDrawn="1"/>
        </p:nvSpPr>
        <p:spPr>
          <a:xfrm>
            <a:off x="416984" y="-1"/>
            <a:ext cx="11360149" cy="1236664"/>
          </a:xfrm>
          <a:prstGeom prst="rect">
            <a:avLst/>
          </a:prstGeom>
          <a:solidFill>
            <a:schemeClr val="accent1"/>
          </a:solidFill>
          <a:ln w="6350" cap="sq">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40252" tIns="1029653" rIns="205931" bIns="205931" numCol="1" spcCol="0" rtlCol="0" fromWordArt="0" anchor="t" anchorCtr="0" forceAA="0" compatLnSpc="1">
            <a:prstTxWarp prst="textNoShape">
              <a:avLst/>
            </a:prstTxWarp>
            <a:noAutofit/>
          </a:bodyPr>
          <a:lstStyle/>
          <a:p>
            <a:pPr defTabSz="343203">
              <a:spcAft>
                <a:spcPts val="901"/>
              </a:spcAft>
            </a:pPr>
            <a:endParaRPr lang="en-US" sz="2403">
              <a:solidFill>
                <a:prstClr val="white"/>
              </a:solidFill>
            </a:endParaRPr>
          </a:p>
        </p:txBody>
      </p:sp>
      <p:sp>
        <p:nvSpPr>
          <p:cNvPr id="3" name="Content Placeholder 2"/>
          <p:cNvSpPr>
            <a:spLocks noGrp="1"/>
          </p:cNvSpPr>
          <p:nvPr>
            <p:ph idx="1"/>
          </p:nvPr>
        </p:nvSpPr>
        <p:spPr>
          <a:xfrm>
            <a:off x="416984" y="1544637"/>
            <a:ext cx="3542171" cy="4678363"/>
          </a:xfrm>
          <a:ln w="6350">
            <a:noFill/>
          </a:ln>
        </p:spPr>
        <p:txBody>
          <a:bodyPr lIns="137160" tIns="137160" rIns="137160" bIns="137160"/>
          <a:lstStyle>
            <a:lvl1pPr marL="0" indent="0">
              <a:buFontTx/>
              <a:buNone/>
              <a:defRPr sz="1652" b="0">
                <a:solidFill>
                  <a:schemeClr val="accent1"/>
                </a:solidFill>
                <a:latin typeface="+mj-lt"/>
              </a:defRPr>
            </a:lvl1pPr>
            <a:lvl2pPr marL="257402" indent="-178752">
              <a:buFont typeface="Arial" panose="020B0604020202020204" pitchFamily="34" charset="0"/>
              <a:buChar char="•"/>
              <a:defRPr sz="1351"/>
            </a:lvl2pPr>
            <a:lvl3pPr marL="434964" indent="-169218">
              <a:buFont typeface="Calibri" panose="020F0502020204030204" pitchFamily="34" charset="0"/>
              <a:buChar char="–"/>
              <a:defRPr sz="1351"/>
            </a:lvl3pPr>
            <a:lvl4pPr marL="604181" indent="-169218">
              <a:buFont typeface="Arial" panose="020B0604020202020204" pitchFamily="34" charset="0"/>
              <a:buChar char="•"/>
              <a:defRPr sz="1351"/>
            </a:lvl4pPr>
            <a:lvl5pPr marL="773399" indent="-169218">
              <a:buFont typeface="Calibri" panose="020F0502020204030204" pitchFamily="34" charset="0"/>
              <a:buChar char="–"/>
              <a:defRPr sz="13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659099" y="284407"/>
            <a:ext cx="10873803" cy="770671"/>
          </a:xfrm>
        </p:spPr>
        <p:txBody>
          <a:bodyPr tIns="0" bIns="0"/>
          <a:lstStyle>
            <a:lvl1pPr>
              <a:defRPr>
                <a:solidFill>
                  <a:schemeClr val="bg1"/>
                </a:solidFill>
                <a:latin typeface="+mj-lt"/>
              </a:defRPr>
            </a:lvl1pPr>
          </a:lstStyle>
          <a:p>
            <a:r>
              <a:rPr lang="en-US"/>
              <a:t>Click to edit Master title style</a:t>
            </a:r>
          </a:p>
        </p:txBody>
      </p:sp>
      <p:sp>
        <p:nvSpPr>
          <p:cNvPr id="11" name="Content Placeholder 2"/>
          <p:cNvSpPr>
            <a:spLocks noGrp="1"/>
          </p:cNvSpPr>
          <p:nvPr>
            <p:ph idx="10"/>
          </p:nvPr>
        </p:nvSpPr>
        <p:spPr>
          <a:xfrm>
            <a:off x="4324922" y="1544637"/>
            <a:ext cx="3542169" cy="4678363"/>
          </a:xfrm>
          <a:ln w="6350">
            <a:noFill/>
          </a:ln>
        </p:spPr>
        <p:txBody>
          <a:bodyPr lIns="137160" tIns="137160" rIns="137160" bIns="137160"/>
          <a:lstStyle>
            <a:lvl1pPr marL="0" indent="0">
              <a:buFontTx/>
              <a:buNone/>
              <a:defRPr sz="1652" b="0">
                <a:solidFill>
                  <a:schemeClr val="accent1"/>
                </a:solidFill>
                <a:latin typeface="+mj-lt"/>
              </a:defRPr>
            </a:lvl1pPr>
            <a:lvl2pPr marL="257402" indent="-178752">
              <a:buFont typeface="Arial" panose="020B0604020202020204" pitchFamily="34" charset="0"/>
              <a:buChar char="•"/>
              <a:defRPr sz="1351"/>
            </a:lvl2pPr>
            <a:lvl3pPr marL="434964" indent="-169218">
              <a:buFont typeface="Calibri" panose="020F0502020204030204" pitchFamily="34" charset="0"/>
              <a:buChar char="–"/>
              <a:defRPr sz="1351"/>
            </a:lvl3pPr>
            <a:lvl4pPr marL="604181" indent="-169218">
              <a:buFont typeface="Arial" panose="020B0604020202020204" pitchFamily="34" charset="0"/>
              <a:buChar char="•"/>
              <a:defRPr sz="1351"/>
            </a:lvl4pPr>
            <a:lvl5pPr marL="773399" indent="-169218">
              <a:buFont typeface="Calibri" panose="020F0502020204030204" pitchFamily="34" charset="0"/>
              <a:buChar char="–"/>
              <a:defRPr sz="13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idx="11" hasCustomPrompt="1"/>
          </p:nvPr>
        </p:nvSpPr>
        <p:spPr>
          <a:xfrm>
            <a:off x="8232846" y="1544637"/>
            <a:ext cx="3542169" cy="4678363"/>
          </a:xfrm>
          <a:ln w="6350">
            <a:noFill/>
          </a:ln>
        </p:spPr>
        <p:txBody>
          <a:bodyPr lIns="137160" tIns="137160" rIns="137160" bIns="137160"/>
          <a:lstStyle>
            <a:lvl1pPr marL="0" indent="0">
              <a:buFontTx/>
              <a:buNone/>
              <a:defRPr sz="1652" b="0">
                <a:solidFill>
                  <a:schemeClr val="accent1"/>
                </a:solidFill>
                <a:latin typeface="+mj-lt"/>
              </a:defRPr>
            </a:lvl1pPr>
            <a:lvl2pPr marL="257402" indent="-178752">
              <a:buFont typeface="Arial" panose="020B0604020202020204" pitchFamily="34" charset="0"/>
              <a:buChar char="•"/>
              <a:defRPr sz="1351"/>
            </a:lvl2pPr>
            <a:lvl3pPr marL="434964" indent="-169218">
              <a:buFont typeface="Calibri" panose="020F0502020204030204" pitchFamily="34" charset="0"/>
              <a:buChar char="–"/>
              <a:defRPr sz="1351"/>
            </a:lvl3pPr>
            <a:lvl4pPr marL="604181" indent="-169218">
              <a:buFont typeface="Arial" panose="020B0604020202020204" pitchFamily="34" charset="0"/>
              <a:buChar char="•"/>
              <a:defRPr sz="1351"/>
            </a:lvl4pPr>
            <a:lvl5pPr marL="773399" indent="-169218">
              <a:buFont typeface="Calibri" panose="020F0502020204030204" pitchFamily="34" charset="0"/>
              <a:buChar char="–"/>
              <a:defRPr sz="1351"/>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a:xfrm>
            <a:off x="4142035" y="1544637"/>
            <a:ext cx="0" cy="4678363"/>
          </a:xfrm>
          <a:prstGeom prst="line">
            <a:avLst/>
          </a:prstGeom>
          <a:ln w="6350" cap="sq">
            <a:solidFill>
              <a:schemeClr val="bg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8049964" y="1544637"/>
            <a:ext cx="0" cy="4678363"/>
          </a:xfrm>
          <a:prstGeom prst="line">
            <a:avLst/>
          </a:prstGeom>
          <a:ln w="6350" cap="sq">
            <a:solidFill>
              <a:schemeClr val="bg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970890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Blank, gray">
    <p:bg>
      <p:bgPr>
        <a:solidFill>
          <a:schemeClr val="tx1"/>
        </a:solidFill>
        <a:effectLst/>
      </p:bgPr>
    </p:bg>
    <p:spTree>
      <p:nvGrpSpPr>
        <p:cNvPr id="1" name=""/>
        <p:cNvGrpSpPr/>
        <p:nvPr/>
      </p:nvGrpSpPr>
      <p:grpSpPr>
        <a:xfrm>
          <a:off x="0" y="0"/>
          <a:ext cx="0" cy="0"/>
          <a:chOff x="0" y="0"/>
          <a:chExt cx="0" cy="0"/>
        </a:xfrm>
      </p:grpSpPr>
      <p:sp>
        <p:nvSpPr>
          <p:cNvPr id="6" name="Slide Number Placeholder 5"/>
          <p:cNvSpPr txBox="1">
            <a:spLocks/>
          </p:cNvSpPr>
          <p:nvPr userDrawn="1"/>
        </p:nvSpPr>
        <p:spPr>
          <a:xfrm>
            <a:off x="10555980" y="6357939"/>
            <a:ext cx="1219200" cy="365125"/>
          </a:xfrm>
          <a:prstGeom prst="rect">
            <a:avLst/>
          </a:prstGeom>
        </p:spPr>
        <p:txBody>
          <a:bodyPr wrap="none" lIns="0" tIns="0" rIns="0" bIns="0" anchor="ctr"/>
          <a:lstStyle>
            <a:defPPr>
              <a:defRPr lang="en-US"/>
            </a:defPPr>
            <a:lvl1pPr marL="0" algn="r" defTabSz="457200" rtl="0" eaLnBrk="1" latinLnBrk="0" hangingPunct="1">
              <a:defRPr sz="9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C41822CB-767F-4789-9972-8ABB164B40BE}" type="slidenum">
              <a:rPr lang="en-US" sz="1067" smtClean="0">
                <a:solidFill>
                  <a:schemeClr val="bg1"/>
                </a:solidFill>
              </a:rPr>
              <a:pPr/>
              <a:t>‹#›</a:t>
            </a:fld>
            <a:endParaRPr lang="en-US" sz="1067">
              <a:solidFill>
                <a:schemeClr val="bg1"/>
              </a:solidFill>
            </a:endParaRPr>
          </a:p>
        </p:txBody>
      </p:sp>
    </p:spTree>
    <p:extLst>
      <p:ext uri="{BB962C8B-B14F-4D97-AF65-F5344CB8AC3E}">
        <p14:creationId xmlns:p14="http://schemas.microsoft.com/office/powerpoint/2010/main" val="15661769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with Box">
    <p:spTree>
      <p:nvGrpSpPr>
        <p:cNvPr id="1" name=""/>
        <p:cNvGrpSpPr/>
        <p:nvPr/>
      </p:nvGrpSpPr>
      <p:grpSpPr>
        <a:xfrm>
          <a:off x="0" y="0"/>
          <a:ext cx="0" cy="0"/>
          <a:chOff x="0" y="0"/>
          <a:chExt cx="0" cy="0"/>
        </a:xfrm>
      </p:grpSpPr>
      <p:sp>
        <p:nvSpPr>
          <p:cNvPr id="7" name="Rectangle">
            <a:extLst>
              <a:ext uri="{FF2B5EF4-FFF2-40B4-BE49-F238E27FC236}">
                <a16:creationId xmlns:a16="http://schemas.microsoft.com/office/drawing/2014/main" id="{0EFCD107-6A18-8840-A09F-1124596FCC97}"/>
              </a:ext>
              <a:ext uri="{C183D7F6-B498-43B3-948B-1728B52AA6E4}">
                <adec:decorative xmlns:adec="http://schemas.microsoft.com/office/drawing/2017/decorative" val="1"/>
              </a:ext>
            </a:extLst>
          </p:cNvPr>
          <p:cNvSpPr/>
          <p:nvPr userDrawn="1"/>
        </p:nvSpPr>
        <p:spPr>
          <a:xfrm>
            <a:off x="0" y="0"/>
            <a:ext cx="3822853" cy="61769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2" name="Title">
            <a:extLst>
              <a:ext uri="{FF2B5EF4-FFF2-40B4-BE49-F238E27FC236}">
                <a16:creationId xmlns:a16="http://schemas.microsoft.com/office/drawing/2014/main" id="{7838340A-32CC-9F44-9F2D-60B3B3C3A638}"/>
              </a:ext>
            </a:extLst>
          </p:cNvPr>
          <p:cNvSpPr>
            <a:spLocks noGrp="1"/>
          </p:cNvSpPr>
          <p:nvPr>
            <p:ph type="title"/>
            <p:custDataLst>
              <p:tags r:id="rId1"/>
            </p:custDataLst>
          </p:nvPr>
        </p:nvSpPr>
        <p:spPr>
          <a:xfrm>
            <a:off x="695308" y="567799"/>
            <a:ext cx="2605392" cy="4948098"/>
          </a:xfrm>
        </p:spPr>
        <p:txBody>
          <a:bodyPr lIns="0" tIns="0" rIns="0" bIns="0" anchor="ctr" anchorCtr="0">
            <a:normAutofit/>
          </a:bodyPr>
          <a:lstStyle>
            <a:lvl1pPr>
              <a:lnSpc>
                <a:spcPct val="110000"/>
              </a:lnSpc>
              <a:defRPr sz="2800">
                <a:solidFill>
                  <a:schemeClr val="tx1"/>
                </a:solidFill>
              </a:defRPr>
            </a:lvl1pPr>
          </a:lstStyle>
          <a:p>
            <a:r>
              <a:rPr lang="en-US"/>
              <a:t>Click to edit Master title style</a:t>
            </a:r>
          </a:p>
        </p:txBody>
      </p:sp>
      <p:sp>
        <p:nvSpPr>
          <p:cNvPr id="6" name="Slide Number Placeholder 5">
            <a:extLst>
              <a:ext uri="{FF2B5EF4-FFF2-40B4-BE49-F238E27FC236}">
                <a16:creationId xmlns:a16="http://schemas.microsoft.com/office/drawing/2014/main" id="{36465858-F858-7244-80D8-C8C8C6C8718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4347990" y="567798"/>
            <a:ext cx="7133693" cy="4948099"/>
          </a:xfrm>
        </p:spPr>
        <p:txBody>
          <a:bodyPr lIns="0" tIns="0" rIns="0" bIns="0" anchor="ctr" anchorCtr="0"/>
          <a:lstStyle>
            <a:lvl1pPr marL="0" indent="0">
              <a:lnSpc>
                <a:spcPct val="110000"/>
              </a:lnSpc>
              <a:spcBef>
                <a:spcPts val="600"/>
              </a:spcBef>
              <a:buNone/>
              <a:defRPr b="0" i="0">
                <a:latin typeface="Nunito Sans Light" pitchFamily="2" charset="77"/>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8" name="Logo protection area" hidden="1">
            <a:extLst>
              <a:ext uri="{FF2B5EF4-FFF2-40B4-BE49-F238E27FC236}">
                <a16:creationId xmlns:a16="http://schemas.microsoft.com/office/drawing/2014/main" id="{22EA314C-C62B-4579-A6F8-514A5A6A5104}"/>
              </a:ext>
            </a:extLst>
          </p:cNvPr>
          <p:cNvSpPr/>
          <p:nvPr userDrawn="1">
            <p:custDataLst>
              <p:tags r:id="rId2"/>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9" name="Layout Protection area" hidden="1">
            <a:extLst>
              <a:ext uri="{FF2B5EF4-FFF2-40B4-BE49-F238E27FC236}">
                <a16:creationId xmlns:a16="http://schemas.microsoft.com/office/drawing/2014/main" id="{2EC2D2DD-790A-489D-8698-E9DA9ADCBB75}"/>
              </a:ext>
            </a:extLst>
          </p:cNvPr>
          <p:cNvSpPr/>
          <p:nvPr userDrawn="1">
            <p:custDataLst>
              <p:tags r:id="rId3"/>
            </p:custDataLst>
          </p:nvPr>
        </p:nvSpPr>
        <p:spPr>
          <a:xfrm>
            <a:off x="3822852" y="0"/>
            <a:ext cx="8369148" cy="60718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Tree>
    <p:extLst>
      <p:ext uri="{BB962C8B-B14F-4D97-AF65-F5344CB8AC3E}">
        <p14:creationId xmlns:p14="http://schemas.microsoft.com/office/powerpoint/2010/main" val="96708224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with Box 2">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FCD107-6A18-8840-A09F-1124596FCC97}"/>
              </a:ext>
              <a:ext uri="{C183D7F6-B498-43B3-948B-1728B52AA6E4}">
                <adec:decorative xmlns:adec="http://schemas.microsoft.com/office/drawing/2017/decorative" val="1"/>
              </a:ext>
            </a:extLst>
          </p:cNvPr>
          <p:cNvSpPr/>
          <p:nvPr userDrawn="1"/>
        </p:nvSpPr>
        <p:spPr>
          <a:xfrm>
            <a:off x="0" y="0"/>
            <a:ext cx="3822853"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2" name="Title">
            <a:extLst>
              <a:ext uri="{FF2B5EF4-FFF2-40B4-BE49-F238E27FC236}">
                <a16:creationId xmlns:a16="http://schemas.microsoft.com/office/drawing/2014/main" id="{7838340A-32CC-9F44-9F2D-60B3B3C3A638}"/>
              </a:ext>
            </a:extLst>
          </p:cNvPr>
          <p:cNvSpPr>
            <a:spLocks noGrp="1"/>
          </p:cNvSpPr>
          <p:nvPr>
            <p:ph type="title"/>
            <p:custDataLst>
              <p:tags r:id="rId1"/>
            </p:custDataLst>
          </p:nvPr>
        </p:nvSpPr>
        <p:spPr>
          <a:xfrm>
            <a:off x="695308" y="567799"/>
            <a:ext cx="2605392" cy="4948098"/>
          </a:xfrm>
        </p:spPr>
        <p:txBody>
          <a:bodyPr lIns="0" tIns="0" rIns="0" bIns="0" anchor="ctr" anchorCtr="0">
            <a:normAutofit/>
          </a:bodyPr>
          <a:lstStyle>
            <a:lvl1pPr>
              <a:lnSpc>
                <a:spcPct val="110000"/>
              </a:lnSpc>
              <a:defRPr sz="2800">
                <a:solidFill>
                  <a:schemeClr val="tx1"/>
                </a:solidFill>
              </a:defRPr>
            </a:lvl1pPr>
          </a:lstStyle>
          <a:p>
            <a:r>
              <a:rPr lang="en-US"/>
              <a:t>Click to edit Master title style</a:t>
            </a:r>
          </a:p>
        </p:txBody>
      </p:sp>
      <p:sp>
        <p:nvSpPr>
          <p:cNvPr id="3" name="Content Placeholder">
            <a:extLst>
              <a:ext uri="{FF2B5EF4-FFF2-40B4-BE49-F238E27FC236}">
                <a16:creationId xmlns:a16="http://schemas.microsoft.com/office/drawing/2014/main" id="{0F9A9D20-B7D2-0A40-A263-FD2D0E2A77D8}"/>
              </a:ext>
            </a:extLst>
          </p:cNvPr>
          <p:cNvSpPr>
            <a:spLocks noGrp="1"/>
          </p:cNvSpPr>
          <p:nvPr>
            <p:ph idx="1"/>
          </p:nvPr>
        </p:nvSpPr>
        <p:spPr>
          <a:xfrm>
            <a:off x="4347990" y="567798"/>
            <a:ext cx="7133693" cy="4948099"/>
          </a:xfrm>
        </p:spPr>
        <p:txBody>
          <a:bodyPr lIns="0" tIns="0" rIns="0" bIns="0" anchor="ctr" anchorCtr="0"/>
          <a:lstStyle>
            <a:lvl1pPr marL="0" indent="0">
              <a:lnSpc>
                <a:spcPct val="110000"/>
              </a:lnSpc>
              <a:spcBef>
                <a:spcPts val="600"/>
              </a:spcBef>
              <a:buNone/>
              <a:defRPr b="0" i="0">
                <a:latin typeface="Nunito Sans Light" pitchFamily="2" charset="77"/>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8" name="Layout Protection area" hidden="1">
            <a:extLst>
              <a:ext uri="{FF2B5EF4-FFF2-40B4-BE49-F238E27FC236}">
                <a16:creationId xmlns:a16="http://schemas.microsoft.com/office/drawing/2014/main" id="{DD611D7A-8FA4-4195-9CBB-6EB6D27BA49C}"/>
              </a:ext>
            </a:extLst>
          </p:cNvPr>
          <p:cNvSpPr/>
          <p:nvPr userDrawn="1">
            <p:custDataLst>
              <p:tags r:id="rId2"/>
            </p:custDataLst>
          </p:nvPr>
        </p:nvSpPr>
        <p:spPr>
          <a:xfrm>
            <a:off x="3822852" y="0"/>
            <a:ext cx="8369148" cy="6858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6" name="Slide Number Placeholder 5">
            <a:extLst>
              <a:ext uri="{FF2B5EF4-FFF2-40B4-BE49-F238E27FC236}">
                <a16:creationId xmlns:a16="http://schemas.microsoft.com/office/drawing/2014/main" id="{36465858-F858-7244-80D8-C8C8C6C8718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69991461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4" name="Logo protection area" hidden="1">
            <a:extLst>
              <a:ext uri="{FF2B5EF4-FFF2-40B4-BE49-F238E27FC236}">
                <a16:creationId xmlns:a16="http://schemas.microsoft.com/office/drawing/2014/main" id="{FB99A54E-C6B2-4241-929C-D09F70882EA8}"/>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6" name="Layout Protection area" hidden="1">
            <a:extLst>
              <a:ext uri="{FF2B5EF4-FFF2-40B4-BE49-F238E27FC236}">
                <a16:creationId xmlns:a16="http://schemas.microsoft.com/office/drawing/2014/main" id="{677B9344-2687-4991-B810-FB28E3B48818}"/>
              </a:ext>
            </a:extLst>
          </p:cNvPr>
          <p:cNvSpPr/>
          <p:nvPr userDrawn="1">
            <p:custDataLst>
              <p:tags r:id="rId2"/>
            </p:custDataLst>
          </p:nvPr>
        </p:nvSpPr>
        <p:spPr>
          <a:xfrm>
            <a:off x="0" y="1572242"/>
            <a:ext cx="12176098" cy="45193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5" name="Slide Number Placeholder 4">
            <a:extLst>
              <a:ext uri="{FF2B5EF4-FFF2-40B4-BE49-F238E27FC236}">
                <a16:creationId xmlns:a16="http://schemas.microsoft.com/office/drawing/2014/main" id="{5AB76B8E-1A27-3048-9606-442ADC84E47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399874656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50117-E1F4-4D7A-8CDB-CE5CC1B660FF}"/>
              </a:ext>
            </a:extLst>
          </p:cNvPr>
          <p:cNvSpPr>
            <a:spLocks noGrp="1"/>
          </p:cNvSpPr>
          <p:nvPr>
            <p:ph type="title"/>
          </p:nvPr>
        </p:nvSpPr>
        <p:spPr/>
        <p:txBody>
          <a:bodyPr/>
          <a:lstStyle/>
          <a:p>
            <a:r>
              <a:rPr lang="en-US"/>
              <a:t>Click to edit Master title style</a:t>
            </a:r>
          </a:p>
        </p:txBody>
      </p:sp>
      <p:sp>
        <p:nvSpPr>
          <p:cNvPr id="4" name="Layout Protection area" hidden="1">
            <a:extLst>
              <a:ext uri="{FF2B5EF4-FFF2-40B4-BE49-F238E27FC236}">
                <a16:creationId xmlns:a16="http://schemas.microsoft.com/office/drawing/2014/main" id="{8242F7E1-D0FF-42D3-BA5D-FD592BC2A432}"/>
              </a:ext>
            </a:extLst>
          </p:cNvPr>
          <p:cNvSpPr/>
          <p:nvPr userDrawn="1">
            <p:custDataLst>
              <p:tags r:id="rId1"/>
            </p:custDataLst>
          </p:nvPr>
        </p:nvSpPr>
        <p:spPr>
          <a:xfrm>
            <a:off x="0" y="1572242"/>
            <a:ext cx="12176098" cy="528575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5" name="Slide Number Placeholder 4">
            <a:extLst>
              <a:ext uri="{FF2B5EF4-FFF2-40B4-BE49-F238E27FC236}">
                <a16:creationId xmlns:a16="http://schemas.microsoft.com/office/drawing/2014/main" id="{5AB76B8E-1A27-3048-9606-442ADC84E47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196690206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3" name="Footer Placeholder 2" hidden="1">
            <a:extLst>
              <a:ext uri="{FF2B5EF4-FFF2-40B4-BE49-F238E27FC236}">
                <a16:creationId xmlns:a16="http://schemas.microsoft.com/office/drawing/2014/main" id="{C1F34A88-E870-4542-8E40-0AB050539B9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5" name="Layout Protection area" hidden="1">
            <a:extLst>
              <a:ext uri="{FF2B5EF4-FFF2-40B4-BE49-F238E27FC236}">
                <a16:creationId xmlns:a16="http://schemas.microsoft.com/office/drawing/2014/main" id="{52780D13-14EF-4CB3-A8FD-8A0448CFB53B}"/>
              </a:ext>
            </a:extLst>
          </p:cNvPr>
          <p:cNvSpPr/>
          <p:nvPr userDrawn="1">
            <p:custDataLst>
              <p:tags r:id="rId1"/>
            </p:custDataLst>
          </p:nvPr>
        </p:nvSpPr>
        <p:spPr>
          <a:xfrm>
            <a:off x="0" y="0"/>
            <a:ext cx="12176098" cy="6858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4" name="Slide Number Placeholder 3">
            <a:extLst>
              <a:ext uri="{FF2B5EF4-FFF2-40B4-BE49-F238E27FC236}">
                <a16:creationId xmlns:a16="http://schemas.microsoft.com/office/drawing/2014/main" id="{DD2DA6D7-3213-8747-BBAC-FA39EEBE90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191323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wo Presenters">
    <p:spTree>
      <p:nvGrpSpPr>
        <p:cNvPr id="1" name=""/>
        <p:cNvGrpSpPr/>
        <p:nvPr/>
      </p:nvGrpSpPr>
      <p:grpSpPr>
        <a:xfrm>
          <a:off x="0" y="0"/>
          <a:ext cx="0" cy="0"/>
          <a:chOff x="0" y="0"/>
          <a:chExt cx="0" cy="0"/>
        </a:xfrm>
      </p:grpSpPr>
      <p:sp>
        <p:nvSpPr>
          <p:cNvPr id="32" name="Text Placeholder 8">
            <a:extLst>
              <a:ext uri="{FF2B5EF4-FFF2-40B4-BE49-F238E27FC236}">
                <a16:creationId xmlns:a16="http://schemas.microsoft.com/office/drawing/2014/main" id="{8F289818-772D-A140-AA34-CF35FE3184CE}"/>
              </a:ext>
            </a:extLst>
          </p:cNvPr>
          <p:cNvSpPr>
            <a:spLocks noGrp="1"/>
          </p:cNvSpPr>
          <p:nvPr>
            <p:ph type="body" sz="quarter" idx="17"/>
          </p:nvPr>
        </p:nvSpPr>
        <p:spPr>
          <a:xfrm>
            <a:off x="1371123" y="3943911"/>
            <a:ext cx="4279900" cy="457200"/>
          </a:xfrm>
        </p:spPr>
        <p:txBody>
          <a:bodyPr anchor="b" anchorCtr="0">
            <a:normAutofit/>
          </a:bodyPr>
          <a:lstStyle>
            <a:lvl1pPr marL="0" indent="0" algn="ctr">
              <a:buFont typeface="Arial" panose="020B0604020202020204" pitchFamily="34" charset="0"/>
              <a:buChar char="​"/>
              <a:defRPr sz="1800" b="0" i="0" spc="0">
                <a:latin typeface="+mj-lt"/>
                <a:ea typeface="Roboto Medium" panose="02000000000000000000" pitchFamily="2" charset="0"/>
                <a:cs typeface="Roboto Medium" panose="02000000000000000000" pitchFamily="2" charset="0"/>
              </a:defRPr>
            </a:lvl1pPr>
          </a:lstStyle>
          <a:p>
            <a:pPr lvl="0"/>
            <a:r>
              <a:rPr lang="en-US"/>
              <a:t>Click to edit Master text styles</a:t>
            </a:r>
          </a:p>
        </p:txBody>
      </p:sp>
      <p:sp>
        <p:nvSpPr>
          <p:cNvPr id="33" name="Text Placeholder 10">
            <a:extLst>
              <a:ext uri="{FF2B5EF4-FFF2-40B4-BE49-F238E27FC236}">
                <a16:creationId xmlns:a16="http://schemas.microsoft.com/office/drawing/2014/main" id="{B4C7420B-45DC-474D-99FE-866DCAFF6544}"/>
              </a:ext>
            </a:extLst>
          </p:cNvPr>
          <p:cNvSpPr>
            <a:spLocks noGrp="1"/>
          </p:cNvSpPr>
          <p:nvPr>
            <p:ph type="body" sz="quarter" idx="18"/>
          </p:nvPr>
        </p:nvSpPr>
        <p:spPr>
          <a:xfrm>
            <a:off x="1371123" y="4514944"/>
            <a:ext cx="4279900" cy="1236953"/>
          </a:xfrm>
        </p:spPr>
        <p:txBody>
          <a:bodyPr anchor="t" anchorCtr="0">
            <a:normAutofit/>
          </a:bodyPr>
          <a:lstStyle>
            <a:lvl1pPr marL="0" indent="0" algn="ctr">
              <a:buFont typeface="Arial" panose="020B0604020202020204" pitchFamily="34" charset="0"/>
              <a:buChar char="​"/>
              <a:defRPr sz="1800" b="0" i="0">
                <a:latin typeface="+mn-lt"/>
              </a:defRPr>
            </a:lvl1pPr>
          </a:lstStyle>
          <a:p>
            <a:pPr lvl="0"/>
            <a:r>
              <a:rPr lang="en-US"/>
              <a:t>Click to edit Master text styles</a:t>
            </a:r>
          </a:p>
        </p:txBody>
      </p:sp>
      <p:sp>
        <p:nvSpPr>
          <p:cNvPr id="19" name="Text Placeholder 8">
            <a:extLst>
              <a:ext uri="{FF2B5EF4-FFF2-40B4-BE49-F238E27FC236}">
                <a16:creationId xmlns:a16="http://schemas.microsoft.com/office/drawing/2014/main" id="{3AA5EC31-34A8-3748-B3E4-4300537A07E0}"/>
              </a:ext>
            </a:extLst>
          </p:cNvPr>
          <p:cNvSpPr>
            <a:spLocks noGrp="1"/>
          </p:cNvSpPr>
          <p:nvPr>
            <p:ph type="body" sz="quarter" idx="34"/>
          </p:nvPr>
        </p:nvSpPr>
        <p:spPr>
          <a:xfrm>
            <a:off x="6540979" y="3943911"/>
            <a:ext cx="4279900" cy="457200"/>
          </a:xfrm>
        </p:spPr>
        <p:txBody>
          <a:bodyPr anchor="b" anchorCtr="0">
            <a:normAutofit/>
          </a:bodyPr>
          <a:lstStyle>
            <a:lvl1pPr marL="0" indent="0" algn="ctr">
              <a:buFont typeface="Arial" panose="020B0604020202020204" pitchFamily="34" charset="0"/>
              <a:buChar char="​"/>
              <a:defRPr sz="1800" b="0" i="0" spc="0">
                <a:latin typeface="+mj-lt"/>
                <a:ea typeface="Roboto Medium" panose="02000000000000000000" pitchFamily="2" charset="0"/>
                <a:cs typeface="Roboto Medium" panose="02000000000000000000" pitchFamily="2" charset="0"/>
              </a:defRPr>
            </a:lvl1pPr>
          </a:lstStyle>
          <a:p>
            <a:pPr lvl="0"/>
            <a:r>
              <a:rPr lang="en-US"/>
              <a:t>Click to edit Master text styles</a:t>
            </a:r>
          </a:p>
        </p:txBody>
      </p:sp>
      <p:sp>
        <p:nvSpPr>
          <p:cNvPr id="20" name="Text Placeholder 10">
            <a:extLst>
              <a:ext uri="{FF2B5EF4-FFF2-40B4-BE49-F238E27FC236}">
                <a16:creationId xmlns:a16="http://schemas.microsoft.com/office/drawing/2014/main" id="{441D54F8-3EB7-0144-AC0F-D055EE95342C}"/>
              </a:ext>
            </a:extLst>
          </p:cNvPr>
          <p:cNvSpPr>
            <a:spLocks noGrp="1"/>
          </p:cNvSpPr>
          <p:nvPr>
            <p:ph type="body" sz="quarter" idx="35"/>
          </p:nvPr>
        </p:nvSpPr>
        <p:spPr>
          <a:xfrm>
            <a:off x="6540979" y="4514944"/>
            <a:ext cx="4279900" cy="1236953"/>
          </a:xfrm>
        </p:spPr>
        <p:txBody>
          <a:bodyPr anchor="t" anchorCtr="0">
            <a:normAutofit/>
          </a:bodyPr>
          <a:lstStyle>
            <a:lvl1pPr marL="0" indent="0" algn="ctr">
              <a:buFont typeface="Arial" panose="020B0604020202020204" pitchFamily="34" charset="0"/>
              <a:buChar char="​"/>
              <a:defRPr sz="1800" b="0" i="0">
                <a:latin typeface="+mn-lt"/>
              </a:defRPr>
            </a:lvl1pPr>
          </a:lstStyle>
          <a:p>
            <a:pPr lvl="0"/>
            <a:r>
              <a:rPr lang="en-US"/>
              <a:t>Click to edit Master text styles</a:t>
            </a:r>
          </a:p>
        </p:txBody>
      </p:sp>
      <p:sp>
        <p:nvSpPr>
          <p:cNvPr id="29" name="Rectangle 28">
            <a:extLst>
              <a:ext uri="{FF2B5EF4-FFF2-40B4-BE49-F238E27FC236}">
                <a16:creationId xmlns:a16="http://schemas.microsoft.com/office/drawing/2014/main" id="{E3AD3F1B-6514-1946-9D1A-5523E60EB659}"/>
              </a:ext>
              <a:ext uri="{C183D7F6-B498-43B3-948B-1728B52AA6E4}">
                <adec:decorative xmlns:adec="http://schemas.microsoft.com/office/drawing/2017/decorative" val="1"/>
              </a:ext>
            </a:extLst>
          </p:cNvPr>
          <p:cNvSpPr/>
          <p:nvPr userDrawn="1"/>
        </p:nvSpPr>
        <p:spPr>
          <a:xfrm>
            <a:off x="2198309" y="1225254"/>
            <a:ext cx="2602319" cy="2514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unito Sans Light" pitchFamily="2" charset="77"/>
            </a:endParaRPr>
          </a:p>
        </p:txBody>
      </p:sp>
      <p:sp>
        <p:nvSpPr>
          <p:cNvPr id="30" name="Rectangle 29">
            <a:extLst>
              <a:ext uri="{FF2B5EF4-FFF2-40B4-BE49-F238E27FC236}">
                <a16:creationId xmlns:a16="http://schemas.microsoft.com/office/drawing/2014/main" id="{B7245169-8F76-8C4A-BCB7-A88BE50181AA}"/>
              </a:ext>
              <a:ext uri="{C183D7F6-B498-43B3-948B-1728B52AA6E4}">
                <adec:decorative xmlns:adec="http://schemas.microsoft.com/office/drawing/2017/decorative" val="1"/>
              </a:ext>
            </a:extLst>
          </p:cNvPr>
          <p:cNvSpPr/>
          <p:nvPr userDrawn="1"/>
        </p:nvSpPr>
        <p:spPr>
          <a:xfrm>
            <a:off x="2288846" y="1225254"/>
            <a:ext cx="2511783" cy="251460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unito Sans Light" pitchFamily="2" charset="77"/>
              </a:rPr>
              <a:t>  </a:t>
            </a:r>
          </a:p>
        </p:txBody>
      </p:sp>
      <p:sp>
        <p:nvSpPr>
          <p:cNvPr id="31" name="TextBox 30">
            <a:extLst>
              <a:ext uri="{FF2B5EF4-FFF2-40B4-BE49-F238E27FC236}">
                <a16:creationId xmlns:a16="http://schemas.microsoft.com/office/drawing/2014/main" id="{38DBF907-AC21-9141-8503-A925D9043E04}"/>
              </a:ext>
              <a:ext uri="{C183D7F6-B498-43B3-948B-1728B52AA6E4}">
                <adec:decorative xmlns:adec="http://schemas.microsoft.com/office/drawing/2017/decorative" val="1"/>
              </a:ext>
            </a:extLst>
          </p:cNvPr>
          <p:cNvSpPr txBox="1"/>
          <p:nvPr userDrawn="1"/>
        </p:nvSpPr>
        <p:spPr>
          <a:xfrm>
            <a:off x="2896421" y="2297888"/>
            <a:ext cx="1296632" cy="369332"/>
          </a:xfrm>
          <a:prstGeom prst="rect">
            <a:avLst/>
          </a:prstGeom>
          <a:noFill/>
        </p:spPr>
        <p:txBody>
          <a:bodyPr wrap="square" rtlCol="0">
            <a:spAutoFit/>
          </a:bodyPr>
          <a:lstStyle/>
          <a:p>
            <a:pPr algn="ctr"/>
            <a:r>
              <a:rPr lang="en-US" b="0" i="0">
                <a:latin typeface="Nunito Sans Light" pitchFamily="2" charset="77"/>
                <a:ea typeface="Roboto Medium" panose="02000000000000000000" pitchFamily="2" charset="0"/>
                <a:cs typeface="Roboto Medium" panose="02000000000000000000" pitchFamily="2" charset="0"/>
              </a:rPr>
              <a:t>Headshot</a:t>
            </a:r>
          </a:p>
        </p:txBody>
      </p:sp>
      <p:sp>
        <p:nvSpPr>
          <p:cNvPr id="2" name="Date Placeholder 1">
            <a:extLst>
              <a:ext uri="{FF2B5EF4-FFF2-40B4-BE49-F238E27FC236}">
                <a16:creationId xmlns:a16="http://schemas.microsoft.com/office/drawing/2014/main" id="{BEC7E80B-BEA4-402F-83AA-50D9834C817E}"/>
              </a:ext>
            </a:extLst>
          </p:cNvPr>
          <p:cNvSpPr>
            <a:spLocks noGrp="1"/>
          </p:cNvSpPr>
          <p:nvPr>
            <p:ph type="dt" sz="half" idx="30"/>
          </p:nvPr>
        </p:nvSpPr>
        <p:spPr/>
        <p:txBody>
          <a:bodyPr/>
          <a:lstStyle/>
          <a:p>
            <a:fld id="{77AA6E6C-BB3E-E94D-B480-811E6A5390FE}" type="datetime1">
              <a:rPr lang="en-US"/>
              <a:pPr/>
              <a:t>5/10/2023</a:t>
            </a:fld>
            <a:endParaRPr lang="en-US"/>
          </a:p>
        </p:txBody>
      </p:sp>
      <p:sp>
        <p:nvSpPr>
          <p:cNvPr id="6" name="Footer Placeholder 5">
            <a:extLst>
              <a:ext uri="{FF2B5EF4-FFF2-40B4-BE49-F238E27FC236}">
                <a16:creationId xmlns:a16="http://schemas.microsoft.com/office/drawing/2014/main" id="{65FAC813-B34C-46E5-BA68-FE76BFC664A6}"/>
              </a:ext>
            </a:extLst>
          </p:cNvPr>
          <p:cNvSpPr>
            <a:spLocks noGrp="1"/>
          </p:cNvSpPr>
          <p:nvPr>
            <p:ph type="ftr" sz="quarter" idx="31"/>
          </p:nvPr>
        </p:nvSpPr>
        <p:spPr/>
        <p:txBody>
          <a:bodyPr/>
          <a:lstStyle/>
          <a:p>
            <a:pPr algn="r"/>
            <a:endParaRPr lang="en-US"/>
          </a:p>
        </p:txBody>
      </p:sp>
      <p:sp>
        <p:nvSpPr>
          <p:cNvPr id="15" name="Rectangle 14">
            <a:extLst>
              <a:ext uri="{FF2B5EF4-FFF2-40B4-BE49-F238E27FC236}">
                <a16:creationId xmlns:a16="http://schemas.microsoft.com/office/drawing/2014/main" id="{F4C3EF2A-4814-884A-821F-9CD9CB466CA2}"/>
              </a:ext>
              <a:ext uri="{C183D7F6-B498-43B3-948B-1728B52AA6E4}">
                <adec:decorative xmlns:adec="http://schemas.microsoft.com/office/drawing/2017/decorative" val="1"/>
              </a:ext>
            </a:extLst>
          </p:cNvPr>
          <p:cNvSpPr/>
          <p:nvPr userDrawn="1"/>
        </p:nvSpPr>
        <p:spPr>
          <a:xfrm>
            <a:off x="7391371" y="1225254"/>
            <a:ext cx="2602319" cy="2514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unito Sans Light" pitchFamily="2" charset="77"/>
            </a:endParaRPr>
          </a:p>
        </p:txBody>
      </p:sp>
      <p:sp>
        <p:nvSpPr>
          <p:cNvPr id="16" name="Rectangle 15">
            <a:extLst>
              <a:ext uri="{FF2B5EF4-FFF2-40B4-BE49-F238E27FC236}">
                <a16:creationId xmlns:a16="http://schemas.microsoft.com/office/drawing/2014/main" id="{955DCD1A-6A68-9E48-8432-6A2BDC0F902A}"/>
              </a:ext>
              <a:ext uri="{C183D7F6-B498-43B3-948B-1728B52AA6E4}">
                <adec:decorative xmlns:adec="http://schemas.microsoft.com/office/drawing/2017/decorative" val="1"/>
              </a:ext>
            </a:extLst>
          </p:cNvPr>
          <p:cNvSpPr/>
          <p:nvPr userDrawn="1"/>
        </p:nvSpPr>
        <p:spPr>
          <a:xfrm>
            <a:off x="7481908" y="1225254"/>
            <a:ext cx="2511783" cy="251460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unito Sans Light" pitchFamily="2" charset="77"/>
              </a:rPr>
              <a:t>  </a:t>
            </a:r>
          </a:p>
        </p:txBody>
      </p:sp>
      <p:sp>
        <p:nvSpPr>
          <p:cNvPr id="17" name="TextBox 16">
            <a:extLst>
              <a:ext uri="{FF2B5EF4-FFF2-40B4-BE49-F238E27FC236}">
                <a16:creationId xmlns:a16="http://schemas.microsoft.com/office/drawing/2014/main" id="{9642F52C-115E-6D42-811C-652E9C07DCB9}"/>
              </a:ext>
              <a:ext uri="{C183D7F6-B498-43B3-948B-1728B52AA6E4}">
                <adec:decorative xmlns:adec="http://schemas.microsoft.com/office/drawing/2017/decorative" val="1"/>
              </a:ext>
            </a:extLst>
          </p:cNvPr>
          <p:cNvSpPr txBox="1"/>
          <p:nvPr userDrawn="1"/>
        </p:nvSpPr>
        <p:spPr>
          <a:xfrm>
            <a:off x="8168967" y="2280653"/>
            <a:ext cx="1296632" cy="369332"/>
          </a:xfrm>
          <a:prstGeom prst="rect">
            <a:avLst/>
          </a:prstGeom>
          <a:noFill/>
        </p:spPr>
        <p:txBody>
          <a:bodyPr wrap="square" rtlCol="0">
            <a:spAutoFit/>
          </a:bodyPr>
          <a:lstStyle/>
          <a:p>
            <a:pPr algn="ctr"/>
            <a:r>
              <a:rPr lang="en-US" b="0" i="0">
                <a:latin typeface="Nunito Sans Light" pitchFamily="2" charset="77"/>
                <a:ea typeface="Roboto Medium" panose="02000000000000000000" pitchFamily="2" charset="0"/>
                <a:cs typeface="Roboto Medium" panose="02000000000000000000" pitchFamily="2" charset="0"/>
              </a:rPr>
              <a:t>Headshot</a:t>
            </a:r>
          </a:p>
        </p:txBody>
      </p:sp>
      <p:sp>
        <p:nvSpPr>
          <p:cNvPr id="36" name="Picture Placeholder 5">
            <a:extLst>
              <a:ext uri="{FF2B5EF4-FFF2-40B4-BE49-F238E27FC236}">
                <a16:creationId xmlns:a16="http://schemas.microsoft.com/office/drawing/2014/main" id="{951E437E-C5AA-3740-8222-BE69F3897B3F}"/>
              </a:ext>
              <a:ext uri="{C183D7F6-B498-43B3-948B-1728B52AA6E4}">
                <adec:decorative xmlns:adec="http://schemas.microsoft.com/office/drawing/2017/decorative" val="1"/>
              </a:ext>
            </a:extLst>
          </p:cNvPr>
          <p:cNvSpPr>
            <a:spLocks noGrp="1"/>
          </p:cNvSpPr>
          <p:nvPr>
            <p:ph type="pic" sz="quarter" idx="28" hasCustomPrompt="1"/>
          </p:nvPr>
        </p:nvSpPr>
        <p:spPr>
          <a:xfrm>
            <a:off x="2288879" y="1225254"/>
            <a:ext cx="2511750" cy="2514600"/>
          </a:xfrm>
        </p:spPr>
        <p:txBody>
          <a:bodyPr tIns="274320"/>
          <a:lstStyle>
            <a:lvl1pPr algn="ctr">
              <a:buNone/>
              <a:defRPr b="0" i="0"/>
            </a:lvl1pPr>
          </a:lstStyle>
          <a:p>
            <a:r>
              <a:rPr lang="en-US"/>
              <a:t>Click icon to insert image</a:t>
            </a:r>
          </a:p>
        </p:txBody>
      </p:sp>
      <p:sp>
        <p:nvSpPr>
          <p:cNvPr id="18" name="Picture Placeholder 5">
            <a:extLst>
              <a:ext uri="{FF2B5EF4-FFF2-40B4-BE49-F238E27FC236}">
                <a16:creationId xmlns:a16="http://schemas.microsoft.com/office/drawing/2014/main" id="{D0CABE6B-EBE8-C347-8801-2B97D6234151}"/>
              </a:ext>
              <a:ext uri="{C183D7F6-B498-43B3-948B-1728B52AA6E4}">
                <adec:decorative xmlns:adec="http://schemas.microsoft.com/office/drawing/2017/decorative" val="1"/>
              </a:ext>
            </a:extLst>
          </p:cNvPr>
          <p:cNvSpPr>
            <a:spLocks noGrp="1"/>
          </p:cNvSpPr>
          <p:nvPr>
            <p:ph type="pic" sz="quarter" idx="33" hasCustomPrompt="1"/>
          </p:nvPr>
        </p:nvSpPr>
        <p:spPr>
          <a:xfrm>
            <a:off x="7481941" y="1225254"/>
            <a:ext cx="2511750" cy="2514600"/>
          </a:xfrm>
        </p:spPr>
        <p:txBody>
          <a:bodyPr tIns="274320"/>
          <a:lstStyle>
            <a:lvl1pPr algn="ctr">
              <a:buNone/>
              <a:defRPr b="0" i="0"/>
            </a:lvl1pPr>
          </a:lstStyle>
          <a:p>
            <a:r>
              <a:rPr lang="en-US"/>
              <a:t>Click icon to insert image</a:t>
            </a:r>
          </a:p>
        </p:txBody>
      </p:sp>
      <p:sp>
        <p:nvSpPr>
          <p:cNvPr id="7" name="Slide Number Placeholder 6">
            <a:extLst>
              <a:ext uri="{FF2B5EF4-FFF2-40B4-BE49-F238E27FC236}">
                <a16:creationId xmlns:a16="http://schemas.microsoft.com/office/drawing/2014/main" id="{7F380CA8-A72A-4D2A-9CC8-3A5723A3AB1D}"/>
              </a:ext>
            </a:extLst>
          </p:cNvPr>
          <p:cNvSpPr>
            <a:spLocks noGrp="1"/>
          </p:cNvSpPr>
          <p:nvPr>
            <p:ph type="sldNum" sz="quarter" idx="32"/>
          </p:nvPr>
        </p:nvSpPr>
        <p:spPr/>
        <p:txBody>
          <a:bodyPr/>
          <a:lstStyle/>
          <a:p>
            <a:fld id="{7F9396FD-A8D2-5548-97AD-44EE9AACF15F}" type="slidenum">
              <a:rPr lang="en-US"/>
              <a:pPr/>
              <a:t>‹#›</a:t>
            </a:fld>
            <a:endParaRPr lang="en-US"/>
          </a:p>
        </p:txBody>
      </p:sp>
    </p:spTree>
    <p:extLst>
      <p:ext uri="{BB962C8B-B14F-4D97-AF65-F5344CB8AC3E}">
        <p14:creationId xmlns:p14="http://schemas.microsoft.com/office/powerpoint/2010/main" val="4981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with Footer">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1FC6F668-08C4-4EB5-A77F-04D48755F71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3" name="Footer Placeholder 2" hidden="1">
            <a:extLst>
              <a:ext uri="{FF2B5EF4-FFF2-40B4-BE49-F238E27FC236}">
                <a16:creationId xmlns:a16="http://schemas.microsoft.com/office/drawing/2014/main" id="{7F34DC91-6E79-4C29-AF99-77F4585855D2}"/>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5" name="Logo protection area" hidden="1">
            <a:extLst>
              <a:ext uri="{FF2B5EF4-FFF2-40B4-BE49-F238E27FC236}">
                <a16:creationId xmlns:a16="http://schemas.microsoft.com/office/drawing/2014/main" id="{F480B885-9EF9-48C0-A344-E32EC2F6FD19}"/>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6" name="Layout Protection area" hidden="1">
            <a:extLst>
              <a:ext uri="{FF2B5EF4-FFF2-40B4-BE49-F238E27FC236}">
                <a16:creationId xmlns:a16="http://schemas.microsoft.com/office/drawing/2014/main" id="{BC2C30C9-9B51-45A8-B625-FD2CB4E84003}"/>
              </a:ext>
            </a:extLst>
          </p:cNvPr>
          <p:cNvSpPr/>
          <p:nvPr userDrawn="1">
            <p:custDataLst>
              <p:tags r:id="rId2"/>
            </p:custDataLst>
          </p:nvPr>
        </p:nvSpPr>
        <p:spPr>
          <a:xfrm>
            <a:off x="0" y="0"/>
            <a:ext cx="12176098" cy="618627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4" name="Slide Number Placeholder 3">
            <a:extLst>
              <a:ext uri="{FF2B5EF4-FFF2-40B4-BE49-F238E27FC236}">
                <a16:creationId xmlns:a16="http://schemas.microsoft.com/office/drawing/2014/main" id="{55895876-C1DF-48AF-8D14-B683B1B9BCC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D34398-B1E2-43C1-9165-889316B49F6D}"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147752151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Resource Slide_6-Up">
    <p:spTree>
      <p:nvGrpSpPr>
        <p:cNvPr id="1" name=""/>
        <p:cNvGrpSpPr/>
        <p:nvPr/>
      </p:nvGrpSpPr>
      <p:grpSpPr>
        <a:xfrm>
          <a:off x="0" y="0"/>
          <a:ext cx="0" cy="0"/>
          <a:chOff x="0" y="0"/>
          <a:chExt cx="0" cy="0"/>
        </a:xfrm>
      </p:grpSpPr>
      <p:sp>
        <p:nvSpPr>
          <p:cNvPr id="4" name="Layout Protection area" hidden="1">
            <a:extLst>
              <a:ext uri="{FF2B5EF4-FFF2-40B4-BE49-F238E27FC236}">
                <a16:creationId xmlns:a16="http://schemas.microsoft.com/office/drawing/2014/main" id="{8242F7E1-D0FF-42D3-BA5D-FD592BC2A432}"/>
              </a:ext>
            </a:extLst>
          </p:cNvPr>
          <p:cNvSpPr/>
          <p:nvPr userDrawn="1">
            <p:custDataLst>
              <p:tags r:id="rId1"/>
            </p:custDataLst>
          </p:nvPr>
        </p:nvSpPr>
        <p:spPr>
          <a:xfrm>
            <a:off x="0" y="1572242"/>
            <a:ext cx="12176098" cy="528575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3" name="Text Placeholder 12">
            <a:extLst>
              <a:ext uri="{FF2B5EF4-FFF2-40B4-BE49-F238E27FC236}">
                <a16:creationId xmlns:a16="http://schemas.microsoft.com/office/drawing/2014/main" id="{25285739-3FE0-424D-851E-F43C653AF29D}"/>
              </a:ext>
            </a:extLst>
          </p:cNvPr>
          <p:cNvSpPr>
            <a:spLocks noGrp="1"/>
          </p:cNvSpPr>
          <p:nvPr>
            <p:ph type="body" sz="quarter" idx="16" hasCustomPrompt="1"/>
          </p:nvPr>
        </p:nvSpPr>
        <p:spPr>
          <a:xfrm>
            <a:off x="685800" y="2258886"/>
            <a:ext cx="3200400" cy="938782"/>
          </a:xfrm>
        </p:spPr>
        <p:txBody>
          <a:bodyPr>
            <a:normAutofit/>
          </a:bodyPr>
          <a:lstStyle>
            <a:lvl1pPr marL="0" indent="0">
              <a:buFontTx/>
              <a:buNone/>
              <a:defRPr sz="1400" spc="0">
                <a:latin typeface="+mj-lt"/>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a:t>Resource title</a:t>
            </a:r>
          </a:p>
        </p:txBody>
      </p:sp>
      <p:sp>
        <p:nvSpPr>
          <p:cNvPr id="14" name="Text Placeholder 12">
            <a:extLst>
              <a:ext uri="{FF2B5EF4-FFF2-40B4-BE49-F238E27FC236}">
                <a16:creationId xmlns:a16="http://schemas.microsoft.com/office/drawing/2014/main" id="{CC7CE1CD-A547-F541-A52D-D9A2CB707111}"/>
              </a:ext>
            </a:extLst>
          </p:cNvPr>
          <p:cNvSpPr>
            <a:spLocks noGrp="1"/>
          </p:cNvSpPr>
          <p:nvPr>
            <p:ph type="body" sz="quarter" idx="17" hasCustomPrompt="1"/>
          </p:nvPr>
        </p:nvSpPr>
        <p:spPr>
          <a:xfrm>
            <a:off x="4495800" y="2258886"/>
            <a:ext cx="3200400" cy="938782"/>
          </a:xfrm>
        </p:spPr>
        <p:txBody>
          <a:bodyPr>
            <a:normAutofit/>
          </a:bodyPr>
          <a:lstStyle>
            <a:lvl1pPr marL="0" indent="0">
              <a:buFontTx/>
              <a:buNone/>
              <a:defRPr sz="1400" spc="0">
                <a:latin typeface="+mj-lt"/>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a:t>Resource title</a:t>
            </a:r>
          </a:p>
        </p:txBody>
      </p:sp>
      <p:sp>
        <p:nvSpPr>
          <p:cNvPr id="15" name="Text Placeholder 12">
            <a:extLst>
              <a:ext uri="{FF2B5EF4-FFF2-40B4-BE49-F238E27FC236}">
                <a16:creationId xmlns:a16="http://schemas.microsoft.com/office/drawing/2014/main" id="{0E114D1C-9378-D641-9D44-74CA6A622208}"/>
              </a:ext>
            </a:extLst>
          </p:cNvPr>
          <p:cNvSpPr>
            <a:spLocks noGrp="1"/>
          </p:cNvSpPr>
          <p:nvPr>
            <p:ph type="body" sz="quarter" idx="18" hasCustomPrompt="1"/>
          </p:nvPr>
        </p:nvSpPr>
        <p:spPr>
          <a:xfrm>
            <a:off x="8275320" y="2258886"/>
            <a:ext cx="3200400" cy="938782"/>
          </a:xfrm>
        </p:spPr>
        <p:txBody>
          <a:bodyPr>
            <a:normAutofit/>
          </a:bodyPr>
          <a:lstStyle>
            <a:lvl1pPr marL="0" indent="0">
              <a:buFontTx/>
              <a:buNone/>
              <a:defRPr sz="1400" spc="0">
                <a:latin typeface="+mj-lt"/>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a:t>Resource title</a:t>
            </a:r>
          </a:p>
        </p:txBody>
      </p:sp>
      <p:sp>
        <p:nvSpPr>
          <p:cNvPr id="17" name="Text Placeholder 16">
            <a:extLst>
              <a:ext uri="{FF2B5EF4-FFF2-40B4-BE49-F238E27FC236}">
                <a16:creationId xmlns:a16="http://schemas.microsoft.com/office/drawing/2014/main" id="{D03A6F76-C14A-F844-B0F5-3F23EF85D157}"/>
              </a:ext>
            </a:extLst>
          </p:cNvPr>
          <p:cNvSpPr>
            <a:spLocks noGrp="1"/>
          </p:cNvSpPr>
          <p:nvPr>
            <p:ph type="body" sz="quarter" idx="19" hasCustomPrompt="1"/>
          </p:nvPr>
        </p:nvSpPr>
        <p:spPr>
          <a:xfrm>
            <a:off x="685800" y="1947355"/>
            <a:ext cx="3200400" cy="244475"/>
          </a:xfrm>
        </p:spPr>
        <p:txBody>
          <a:bodyPr/>
          <a:lstStyle>
            <a:lvl1pPr marL="0" indent="0">
              <a:buFontTx/>
              <a:buNone/>
              <a:defRPr sz="1200">
                <a:solidFill>
                  <a:schemeClr val="tx1">
                    <a:lumMod val="50000"/>
                    <a:lumOff val="50000"/>
                  </a:schemeClr>
                </a:solidFill>
                <a:latin typeface="+mn-lt"/>
              </a:defRPr>
            </a:lvl1pPr>
            <a:lvl2pPr marL="457200" indent="0">
              <a:buFontTx/>
              <a:buNone/>
              <a:defRPr sz="1200">
                <a:latin typeface="+mn-lt"/>
              </a:defRPr>
            </a:lvl2pPr>
            <a:lvl3pPr marL="914400" indent="0">
              <a:buFontTx/>
              <a:buNone/>
              <a:defRPr sz="1200">
                <a:latin typeface="+mn-lt"/>
              </a:defRPr>
            </a:lvl3pPr>
            <a:lvl4pPr marL="1371600" indent="0">
              <a:buFontTx/>
              <a:buNone/>
              <a:defRPr sz="1200">
                <a:latin typeface="+mn-lt"/>
              </a:defRPr>
            </a:lvl4pPr>
            <a:lvl5pPr marL="1828800" indent="0">
              <a:buFontTx/>
              <a:buNone/>
              <a:defRPr sz="1200">
                <a:latin typeface="+mn-lt"/>
              </a:defRPr>
            </a:lvl5pPr>
          </a:lstStyle>
          <a:p>
            <a:pPr lvl="0"/>
            <a:r>
              <a:rPr lang="en-US"/>
              <a:t>Resource Type, e.g., Webinar, White Paper…</a:t>
            </a:r>
          </a:p>
        </p:txBody>
      </p:sp>
      <p:sp>
        <p:nvSpPr>
          <p:cNvPr id="18" name="Text Placeholder 16">
            <a:extLst>
              <a:ext uri="{FF2B5EF4-FFF2-40B4-BE49-F238E27FC236}">
                <a16:creationId xmlns:a16="http://schemas.microsoft.com/office/drawing/2014/main" id="{8C7FDD29-D1D7-5C4E-A795-7196379021EE}"/>
              </a:ext>
            </a:extLst>
          </p:cNvPr>
          <p:cNvSpPr>
            <a:spLocks noGrp="1"/>
          </p:cNvSpPr>
          <p:nvPr>
            <p:ph type="body" sz="quarter" idx="20" hasCustomPrompt="1"/>
          </p:nvPr>
        </p:nvSpPr>
        <p:spPr>
          <a:xfrm>
            <a:off x="4495800" y="1947355"/>
            <a:ext cx="3200400" cy="244475"/>
          </a:xfrm>
        </p:spPr>
        <p:txBody>
          <a:bodyPr/>
          <a:lstStyle>
            <a:lvl1pPr marL="0" indent="0">
              <a:buFontTx/>
              <a:buNone/>
              <a:defRPr sz="1200">
                <a:solidFill>
                  <a:schemeClr val="tx1">
                    <a:lumMod val="50000"/>
                    <a:lumOff val="50000"/>
                  </a:schemeClr>
                </a:solidFill>
                <a:latin typeface="+mn-lt"/>
              </a:defRPr>
            </a:lvl1pPr>
            <a:lvl2pPr marL="457200" indent="0">
              <a:buFontTx/>
              <a:buNone/>
              <a:defRPr sz="1200">
                <a:latin typeface="+mn-lt"/>
              </a:defRPr>
            </a:lvl2pPr>
            <a:lvl3pPr marL="914400" indent="0">
              <a:buFontTx/>
              <a:buNone/>
              <a:defRPr sz="1200">
                <a:latin typeface="+mn-lt"/>
              </a:defRPr>
            </a:lvl3pPr>
            <a:lvl4pPr marL="1371600" indent="0">
              <a:buFontTx/>
              <a:buNone/>
              <a:defRPr sz="1200">
                <a:latin typeface="+mn-lt"/>
              </a:defRPr>
            </a:lvl4pPr>
            <a:lvl5pPr marL="1828800" indent="0">
              <a:buFontTx/>
              <a:buNone/>
              <a:defRPr sz="1200">
                <a:latin typeface="+mn-lt"/>
              </a:defRPr>
            </a:lvl5pPr>
          </a:lstStyle>
          <a:p>
            <a:pPr lvl="0"/>
            <a:r>
              <a:rPr lang="en-US"/>
              <a:t>Resource Type, e.g., Webinar, White Paper…</a:t>
            </a:r>
          </a:p>
        </p:txBody>
      </p:sp>
      <p:sp>
        <p:nvSpPr>
          <p:cNvPr id="19" name="Text Placeholder 16">
            <a:extLst>
              <a:ext uri="{FF2B5EF4-FFF2-40B4-BE49-F238E27FC236}">
                <a16:creationId xmlns:a16="http://schemas.microsoft.com/office/drawing/2014/main" id="{8CD84EFF-5C63-4849-B5D9-6553DF80041E}"/>
              </a:ext>
            </a:extLst>
          </p:cNvPr>
          <p:cNvSpPr>
            <a:spLocks noGrp="1"/>
          </p:cNvSpPr>
          <p:nvPr>
            <p:ph type="body" sz="quarter" idx="21" hasCustomPrompt="1"/>
          </p:nvPr>
        </p:nvSpPr>
        <p:spPr>
          <a:xfrm>
            <a:off x="8275320" y="1947355"/>
            <a:ext cx="3200400" cy="244475"/>
          </a:xfrm>
        </p:spPr>
        <p:txBody>
          <a:bodyPr/>
          <a:lstStyle>
            <a:lvl1pPr marL="0" indent="0">
              <a:buFontTx/>
              <a:buNone/>
              <a:defRPr sz="1200">
                <a:solidFill>
                  <a:schemeClr val="tx1">
                    <a:lumMod val="50000"/>
                    <a:lumOff val="50000"/>
                  </a:schemeClr>
                </a:solidFill>
                <a:latin typeface="+mn-lt"/>
              </a:defRPr>
            </a:lvl1pPr>
            <a:lvl2pPr marL="457200" indent="0">
              <a:buFontTx/>
              <a:buNone/>
              <a:defRPr sz="1200">
                <a:latin typeface="+mn-lt"/>
              </a:defRPr>
            </a:lvl2pPr>
            <a:lvl3pPr marL="914400" indent="0">
              <a:buFontTx/>
              <a:buNone/>
              <a:defRPr sz="1200">
                <a:latin typeface="+mn-lt"/>
              </a:defRPr>
            </a:lvl3pPr>
            <a:lvl4pPr marL="1371600" indent="0">
              <a:buFontTx/>
              <a:buNone/>
              <a:defRPr sz="1200">
                <a:latin typeface="+mn-lt"/>
              </a:defRPr>
            </a:lvl4pPr>
            <a:lvl5pPr marL="1828800" indent="0">
              <a:buFontTx/>
              <a:buNone/>
              <a:defRPr sz="1200">
                <a:latin typeface="+mn-lt"/>
              </a:defRPr>
            </a:lvl5pPr>
          </a:lstStyle>
          <a:p>
            <a:pPr lvl="0"/>
            <a:r>
              <a:rPr lang="en-US"/>
              <a:t>Resource Type, e.g., Webinar, White Paper…</a:t>
            </a:r>
          </a:p>
        </p:txBody>
      </p:sp>
      <p:cxnSp>
        <p:nvCxnSpPr>
          <p:cNvPr id="5" name="Straight Connector 4">
            <a:extLst>
              <a:ext uri="{FF2B5EF4-FFF2-40B4-BE49-F238E27FC236}">
                <a16:creationId xmlns:a16="http://schemas.microsoft.com/office/drawing/2014/main" id="{AFCF73C1-788C-9644-9BF9-9BCB871AA8F1}"/>
              </a:ext>
            </a:extLst>
          </p:cNvPr>
          <p:cNvCxnSpPr/>
          <p:nvPr userDrawn="1"/>
        </p:nvCxnSpPr>
        <p:spPr>
          <a:xfrm>
            <a:off x="685800" y="1771206"/>
            <a:ext cx="320040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AADCC59E-7F81-5549-A62F-9A0AEBCAB257}"/>
              </a:ext>
            </a:extLst>
          </p:cNvPr>
          <p:cNvCxnSpPr>
            <a:cxnSpLocks/>
          </p:cNvCxnSpPr>
          <p:nvPr userDrawn="1"/>
        </p:nvCxnSpPr>
        <p:spPr>
          <a:xfrm>
            <a:off x="4495800" y="1771206"/>
            <a:ext cx="320040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FA31E09F-3B12-0F46-953D-8C540AEF397B}"/>
              </a:ext>
            </a:extLst>
          </p:cNvPr>
          <p:cNvCxnSpPr>
            <a:cxnSpLocks/>
          </p:cNvCxnSpPr>
          <p:nvPr userDrawn="1"/>
        </p:nvCxnSpPr>
        <p:spPr>
          <a:xfrm>
            <a:off x="8275320" y="1771206"/>
            <a:ext cx="320040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21" name="Text Placeholder 12">
            <a:extLst>
              <a:ext uri="{FF2B5EF4-FFF2-40B4-BE49-F238E27FC236}">
                <a16:creationId xmlns:a16="http://schemas.microsoft.com/office/drawing/2014/main" id="{847B722A-532F-E141-9A2B-6AD849FC98CE}"/>
              </a:ext>
            </a:extLst>
          </p:cNvPr>
          <p:cNvSpPr>
            <a:spLocks noGrp="1"/>
          </p:cNvSpPr>
          <p:nvPr>
            <p:ph type="body" sz="quarter" idx="22" hasCustomPrompt="1"/>
          </p:nvPr>
        </p:nvSpPr>
        <p:spPr>
          <a:xfrm>
            <a:off x="685800" y="3941382"/>
            <a:ext cx="3200400" cy="938782"/>
          </a:xfrm>
        </p:spPr>
        <p:txBody>
          <a:bodyPr>
            <a:normAutofit/>
          </a:bodyPr>
          <a:lstStyle>
            <a:lvl1pPr marL="0" indent="0">
              <a:buFontTx/>
              <a:buNone/>
              <a:defRPr sz="1400" spc="0">
                <a:latin typeface="+mj-lt"/>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a:t>Resource title</a:t>
            </a:r>
          </a:p>
        </p:txBody>
      </p:sp>
      <p:sp>
        <p:nvSpPr>
          <p:cNvPr id="22" name="Text Placeholder 12">
            <a:extLst>
              <a:ext uri="{FF2B5EF4-FFF2-40B4-BE49-F238E27FC236}">
                <a16:creationId xmlns:a16="http://schemas.microsoft.com/office/drawing/2014/main" id="{A8865AB6-EFB6-4844-B69F-1AA7689898B5}"/>
              </a:ext>
            </a:extLst>
          </p:cNvPr>
          <p:cNvSpPr>
            <a:spLocks noGrp="1"/>
          </p:cNvSpPr>
          <p:nvPr>
            <p:ph type="body" sz="quarter" idx="23" hasCustomPrompt="1"/>
          </p:nvPr>
        </p:nvSpPr>
        <p:spPr>
          <a:xfrm>
            <a:off x="4495800" y="3941382"/>
            <a:ext cx="3200400" cy="938782"/>
          </a:xfrm>
        </p:spPr>
        <p:txBody>
          <a:bodyPr>
            <a:normAutofit/>
          </a:bodyPr>
          <a:lstStyle>
            <a:lvl1pPr marL="0" indent="0">
              <a:buFontTx/>
              <a:buNone/>
              <a:defRPr sz="1400" spc="0">
                <a:latin typeface="+mj-lt"/>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a:t>Resource title</a:t>
            </a:r>
          </a:p>
        </p:txBody>
      </p:sp>
      <p:sp>
        <p:nvSpPr>
          <p:cNvPr id="23" name="Text Placeholder 12">
            <a:extLst>
              <a:ext uri="{FF2B5EF4-FFF2-40B4-BE49-F238E27FC236}">
                <a16:creationId xmlns:a16="http://schemas.microsoft.com/office/drawing/2014/main" id="{5939E6CA-97F7-4547-8B7C-DF7F1F45A056}"/>
              </a:ext>
            </a:extLst>
          </p:cNvPr>
          <p:cNvSpPr>
            <a:spLocks noGrp="1"/>
          </p:cNvSpPr>
          <p:nvPr>
            <p:ph type="body" sz="quarter" idx="24" hasCustomPrompt="1"/>
          </p:nvPr>
        </p:nvSpPr>
        <p:spPr>
          <a:xfrm>
            <a:off x="8275320" y="3941382"/>
            <a:ext cx="3200400" cy="938782"/>
          </a:xfrm>
        </p:spPr>
        <p:txBody>
          <a:bodyPr>
            <a:normAutofit/>
          </a:bodyPr>
          <a:lstStyle>
            <a:lvl1pPr marL="0" indent="0">
              <a:buFontTx/>
              <a:buNone/>
              <a:defRPr sz="1400" spc="0">
                <a:latin typeface="+mj-lt"/>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a:t>Resource title</a:t>
            </a:r>
          </a:p>
        </p:txBody>
      </p:sp>
      <p:sp>
        <p:nvSpPr>
          <p:cNvPr id="24" name="Text Placeholder 16">
            <a:extLst>
              <a:ext uri="{FF2B5EF4-FFF2-40B4-BE49-F238E27FC236}">
                <a16:creationId xmlns:a16="http://schemas.microsoft.com/office/drawing/2014/main" id="{994884FC-08F1-CD44-8CEB-7E1B4F892A9B}"/>
              </a:ext>
            </a:extLst>
          </p:cNvPr>
          <p:cNvSpPr>
            <a:spLocks noGrp="1"/>
          </p:cNvSpPr>
          <p:nvPr>
            <p:ph type="body" sz="quarter" idx="25" hasCustomPrompt="1"/>
          </p:nvPr>
        </p:nvSpPr>
        <p:spPr>
          <a:xfrm>
            <a:off x="685800" y="3629851"/>
            <a:ext cx="3200400" cy="244475"/>
          </a:xfrm>
        </p:spPr>
        <p:txBody>
          <a:bodyPr/>
          <a:lstStyle>
            <a:lvl1pPr marL="0" indent="0">
              <a:buFontTx/>
              <a:buNone/>
              <a:defRPr sz="1200">
                <a:solidFill>
                  <a:schemeClr val="tx1">
                    <a:lumMod val="50000"/>
                    <a:lumOff val="50000"/>
                  </a:schemeClr>
                </a:solidFill>
                <a:latin typeface="+mn-lt"/>
              </a:defRPr>
            </a:lvl1pPr>
            <a:lvl2pPr marL="457200" indent="0">
              <a:buFontTx/>
              <a:buNone/>
              <a:defRPr sz="1200">
                <a:latin typeface="+mn-lt"/>
              </a:defRPr>
            </a:lvl2pPr>
            <a:lvl3pPr marL="914400" indent="0">
              <a:buFontTx/>
              <a:buNone/>
              <a:defRPr sz="1200">
                <a:latin typeface="+mn-lt"/>
              </a:defRPr>
            </a:lvl3pPr>
            <a:lvl4pPr marL="1371600" indent="0">
              <a:buFontTx/>
              <a:buNone/>
              <a:defRPr sz="1200">
                <a:latin typeface="+mn-lt"/>
              </a:defRPr>
            </a:lvl4pPr>
            <a:lvl5pPr marL="1828800" indent="0">
              <a:buFontTx/>
              <a:buNone/>
              <a:defRPr sz="1200">
                <a:latin typeface="+mn-lt"/>
              </a:defRPr>
            </a:lvl5pPr>
          </a:lstStyle>
          <a:p>
            <a:pPr lvl="0"/>
            <a:r>
              <a:rPr lang="en-US"/>
              <a:t>Resource Type, e.g., Webinar, White Paper…</a:t>
            </a:r>
          </a:p>
        </p:txBody>
      </p:sp>
      <p:sp>
        <p:nvSpPr>
          <p:cNvPr id="25" name="Text Placeholder 16">
            <a:extLst>
              <a:ext uri="{FF2B5EF4-FFF2-40B4-BE49-F238E27FC236}">
                <a16:creationId xmlns:a16="http://schemas.microsoft.com/office/drawing/2014/main" id="{C7C437DE-81F0-2140-9FC7-4A09F00C1E90}"/>
              </a:ext>
            </a:extLst>
          </p:cNvPr>
          <p:cNvSpPr>
            <a:spLocks noGrp="1"/>
          </p:cNvSpPr>
          <p:nvPr>
            <p:ph type="body" sz="quarter" idx="26" hasCustomPrompt="1"/>
          </p:nvPr>
        </p:nvSpPr>
        <p:spPr>
          <a:xfrm>
            <a:off x="4495800" y="3629851"/>
            <a:ext cx="3200400" cy="244475"/>
          </a:xfrm>
        </p:spPr>
        <p:txBody>
          <a:bodyPr/>
          <a:lstStyle>
            <a:lvl1pPr marL="0" indent="0">
              <a:buFontTx/>
              <a:buNone/>
              <a:defRPr sz="1200">
                <a:solidFill>
                  <a:schemeClr val="tx1">
                    <a:lumMod val="50000"/>
                    <a:lumOff val="50000"/>
                  </a:schemeClr>
                </a:solidFill>
                <a:latin typeface="+mn-lt"/>
              </a:defRPr>
            </a:lvl1pPr>
            <a:lvl2pPr marL="457200" indent="0">
              <a:buFontTx/>
              <a:buNone/>
              <a:defRPr sz="1200">
                <a:latin typeface="+mn-lt"/>
              </a:defRPr>
            </a:lvl2pPr>
            <a:lvl3pPr marL="914400" indent="0">
              <a:buFontTx/>
              <a:buNone/>
              <a:defRPr sz="1200">
                <a:latin typeface="+mn-lt"/>
              </a:defRPr>
            </a:lvl3pPr>
            <a:lvl4pPr marL="1371600" indent="0">
              <a:buFontTx/>
              <a:buNone/>
              <a:defRPr sz="1200">
                <a:latin typeface="+mn-lt"/>
              </a:defRPr>
            </a:lvl4pPr>
            <a:lvl5pPr marL="1828800" indent="0">
              <a:buFontTx/>
              <a:buNone/>
              <a:defRPr sz="1200">
                <a:latin typeface="+mn-lt"/>
              </a:defRPr>
            </a:lvl5pPr>
          </a:lstStyle>
          <a:p>
            <a:pPr lvl="0"/>
            <a:r>
              <a:rPr lang="en-US"/>
              <a:t>Resource Type, e.g., Webinar, White Paper…</a:t>
            </a:r>
          </a:p>
        </p:txBody>
      </p:sp>
      <p:sp>
        <p:nvSpPr>
          <p:cNvPr id="26" name="Text Placeholder 16">
            <a:extLst>
              <a:ext uri="{FF2B5EF4-FFF2-40B4-BE49-F238E27FC236}">
                <a16:creationId xmlns:a16="http://schemas.microsoft.com/office/drawing/2014/main" id="{0CB86C8B-9ABB-5C46-AEDD-23A9B6E7DAE2}"/>
              </a:ext>
            </a:extLst>
          </p:cNvPr>
          <p:cNvSpPr>
            <a:spLocks noGrp="1"/>
          </p:cNvSpPr>
          <p:nvPr>
            <p:ph type="body" sz="quarter" idx="27" hasCustomPrompt="1"/>
          </p:nvPr>
        </p:nvSpPr>
        <p:spPr>
          <a:xfrm>
            <a:off x="8275320" y="3629851"/>
            <a:ext cx="3200400" cy="244475"/>
          </a:xfrm>
        </p:spPr>
        <p:txBody>
          <a:bodyPr/>
          <a:lstStyle>
            <a:lvl1pPr marL="0" indent="0">
              <a:buFontTx/>
              <a:buNone/>
              <a:defRPr sz="1200">
                <a:solidFill>
                  <a:schemeClr val="tx1">
                    <a:lumMod val="50000"/>
                    <a:lumOff val="50000"/>
                  </a:schemeClr>
                </a:solidFill>
                <a:latin typeface="+mn-lt"/>
              </a:defRPr>
            </a:lvl1pPr>
            <a:lvl2pPr marL="457200" indent="0">
              <a:buFontTx/>
              <a:buNone/>
              <a:defRPr sz="1200">
                <a:latin typeface="+mn-lt"/>
              </a:defRPr>
            </a:lvl2pPr>
            <a:lvl3pPr marL="914400" indent="0">
              <a:buFontTx/>
              <a:buNone/>
              <a:defRPr sz="1200">
                <a:latin typeface="+mn-lt"/>
              </a:defRPr>
            </a:lvl3pPr>
            <a:lvl4pPr marL="1371600" indent="0">
              <a:buFontTx/>
              <a:buNone/>
              <a:defRPr sz="1200">
                <a:latin typeface="+mn-lt"/>
              </a:defRPr>
            </a:lvl4pPr>
            <a:lvl5pPr marL="1828800" indent="0">
              <a:buFontTx/>
              <a:buNone/>
              <a:defRPr sz="1200">
                <a:latin typeface="+mn-lt"/>
              </a:defRPr>
            </a:lvl5pPr>
          </a:lstStyle>
          <a:p>
            <a:pPr lvl="0"/>
            <a:r>
              <a:rPr lang="en-US"/>
              <a:t>Resource Type, e.g., Webinar, White Paper…</a:t>
            </a:r>
          </a:p>
        </p:txBody>
      </p:sp>
      <p:cxnSp>
        <p:nvCxnSpPr>
          <p:cNvPr id="27" name="Straight Connector 26">
            <a:extLst>
              <a:ext uri="{FF2B5EF4-FFF2-40B4-BE49-F238E27FC236}">
                <a16:creationId xmlns:a16="http://schemas.microsoft.com/office/drawing/2014/main" id="{55478C67-45AA-434B-8061-D72141A7E605}"/>
              </a:ext>
            </a:extLst>
          </p:cNvPr>
          <p:cNvCxnSpPr/>
          <p:nvPr userDrawn="1"/>
        </p:nvCxnSpPr>
        <p:spPr>
          <a:xfrm>
            <a:off x="685800" y="3453702"/>
            <a:ext cx="320040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E136EE78-8EC7-D148-BAFA-4DAF1EEA609F}"/>
              </a:ext>
            </a:extLst>
          </p:cNvPr>
          <p:cNvCxnSpPr>
            <a:cxnSpLocks/>
          </p:cNvCxnSpPr>
          <p:nvPr userDrawn="1"/>
        </p:nvCxnSpPr>
        <p:spPr>
          <a:xfrm>
            <a:off x="4495800" y="3453702"/>
            <a:ext cx="320040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14E0A5F4-FCC3-9C41-A5C0-3C5CC26ECB0B}"/>
              </a:ext>
            </a:extLst>
          </p:cNvPr>
          <p:cNvCxnSpPr>
            <a:cxnSpLocks/>
          </p:cNvCxnSpPr>
          <p:nvPr userDrawn="1"/>
        </p:nvCxnSpPr>
        <p:spPr>
          <a:xfrm>
            <a:off x="8275320" y="3453702"/>
            <a:ext cx="3200400" cy="0"/>
          </a:xfrm>
          <a:prstGeom prst="line">
            <a:avLst/>
          </a:prstGeom>
          <a:ln w="28575">
            <a:solidFill>
              <a:schemeClr val="accent4"/>
            </a:solidFill>
          </a:ln>
        </p:spPr>
        <p:style>
          <a:lnRef idx="1">
            <a:schemeClr val="accent1"/>
          </a:lnRef>
          <a:fillRef idx="0">
            <a:schemeClr val="accent1"/>
          </a:fillRef>
          <a:effectRef idx="0">
            <a:schemeClr val="accent1"/>
          </a:effectRef>
          <a:fontRef idx="minor">
            <a:schemeClr val="tx1"/>
          </a:fontRef>
        </p:style>
      </p:cxnSp>
      <p:sp>
        <p:nvSpPr>
          <p:cNvPr id="6" name="Rectangle 5">
            <a:extLst>
              <a:ext uri="{FF2B5EF4-FFF2-40B4-BE49-F238E27FC236}">
                <a16:creationId xmlns:a16="http://schemas.microsoft.com/office/drawing/2014/main" id="{012DE2D1-B340-EC42-AA9B-BD085E7CEE22}"/>
              </a:ext>
            </a:extLst>
          </p:cNvPr>
          <p:cNvSpPr/>
          <p:nvPr userDrawn="1"/>
        </p:nvSpPr>
        <p:spPr>
          <a:xfrm>
            <a:off x="0" y="5196850"/>
            <a:ext cx="12192000" cy="16611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itle 6">
            <a:extLst>
              <a:ext uri="{FF2B5EF4-FFF2-40B4-BE49-F238E27FC236}">
                <a16:creationId xmlns:a16="http://schemas.microsoft.com/office/drawing/2014/main" id="{FDB683D2-7EB0-0645-A6AF-FF9814C06093}"/>
              </a:ext>
            </a:extLst>
          </p:cNvPr>
          <p:cNvSpPr>
            <a:spLocks noGrp="1"/>
          </p:cNvSpPr>
          <p:nvPr>
            <p:ph type="title"/>
          </p:nvPr>
        </p:nvSpPr>
        <p:spPr/>
        <p:txBody>
          <a:bodyPr/>
          <a:lstStyle/>
          <a:p>
            <a:r>
              <a:rPr lang="en-US"/>
              <a:t>Click to edit Master title style</a:t>
            </a:r>
          </a:p>
        </p:txBody>
      </p:sp>
      <p:sp>
        <p:nvSpPr>
          <p:cNvPr id="31" name="Picture Placeholder 30">
            <a:extLst>
              <a:ext uri="{FF2B5EF4-FFF2-40B4-BE49-F238E27FC236}">
                <a16:creationId xmlns:a16="http://schemas.microsoft.com/office/drawing/2014/main" id="{29DCBD1E-2092-9A47-9091-53D814817F2F}"/>
              </a:ext>
            </a:extLst>
          </p:cNvPr>
          <p:cNvSpPr>
            <a:spLocks noGrp="1"/>
          </p:cNvSpPr>
          <p:nvPr>
            <p:ph type="pic" sz="quarter" idx="29"/>
          </p:nvPr>
        </p:nvSpPr>
        <p:spPr>
          <a:xfrm>
            <a:off x="685800" y="5417825"/>
            <a:ext cx="1219200" cy="1219200"/>
          </a:xfrm>
          <a:solidFill>
            <a:schemeClr val="tx1">
              <a:lumMod val="50000"/>
              <a:lumOff val="50000"/>
            </a:schemeClr>
          </a:solidFill>
        </p:spPr>
        <p:txBody>
          <a:bodyPr/>
          <a:lstStyle/>
          <a:p>
            <a:r>
              <a:rPr lang="en-US"/>
              <a:t>Click icon to add picture</a:t>
            </a:r>
          </a:p>
        </p:txBody>
      </p:sp>
      <p:sp>
        <p:nvSpPr>
          <p:cNvPr id="32" name="Picture Placeholder 30">
            <a:extLst>
              <a:ext uri="{FF2B5EF4-FFF2-40B4-BE49-F238E27FC236}">
                <a16:creationId xmlns:a16="http://schemas.microsoft.com/office/drawing/2014/main" id="{2C573568-0268-3E43-8837-BDD87C96DF60}"/>
              </a:ext>
            </a:extLst>
          </p:cNvPr>
          <p:cNvSpPr>
            <a:spLocks noGrp="1"/>
          </p:cNvSpPr>
          <p:nvPr>
            <p:ph type="pic" sz="quarter" idx="30"/>
          </p:nvPr>
        </p:nvSpPr>
        <p:spPr>
          <a:xfrm>
            <a:off x="2385060" y="5417825"/>
            <a:ext cx="1219200" cy="1219200"/>
          </a:xfrm>
          <a:solidFill>
            <a:schemeClr val="tx1">
              <a:lumMod val="50000"/>
              <a:lumOff val="50000"/>
            </a:schemeClr>
          </a:solidFill>
        </p:spPr>
        <p:txBody>
          <a:bodyPr/>
          <a:lstStyle/>
          <a:p>
            <a:r>
              <a:rPr lang="en-US"/>
              <a:t>Click icon to add picture</a:t>
            </a:r>
          </a:p>
        </p:txBody>
      </p:sp>
      <p:sp>
        <p:nvSpPr>
          <p:cNvPr id="33" name="Picture Placeholder 30">
            <a:extLst>
              <a:ext uri="{FF2B5EF4-FFF2-40B4-BE49-F238E27FC236}">
                <a16:creationId xmlns:a16="http://schemas.microsoft.com/office/drawing/2014/main" id="{3E65781C-B2F4-D840-8135-6F2A4309EFFF}"/>
              </a:ext>
            </a:extLst>
          </p:cNvPr>
          <p:cNvSpPr>
            <a:spLocks noGrp="1"/>
          </p:cNvSpPr>
          <p:nvPr>
            <p:ph type="pic" sz="quarter" idx="31"/>
          </p:nvPr>
        </p:nvSpPr>
        <p:spPr>
          <a:xfrm>
            <a:off x="4084320" y="5417825"/>
            <a:ext cx="1219200" cy="1219200"/>
          </a:xfrm>
          <a:solidFill>
            <a:schemeClr val="tx1">
              <a:lumMod val="50000"/>
              <a:lumOff val="50000"/>
            </a:schemeClr>
          </a:solidFill>
        </p:spPr>
        <p:txBody>
          <a:bodyPr/>
          <a:lstStyle/>
          <a:p>
            <a:r>
              <a:rPr lang="en-US"/>
              <a:t>Click icon to add picture</a:t>
            </a:r>
          </a:p>
        </p:txBody>
      </p:sp>
      <p:sp>
        <p:nvSpPr>
          <p:cNvPr id="30" name="Text Placeholder 12">
            <a:extLst>
              <a:ext uri="{FF2B5EF4-FFF2-40B4-BE49-F238E27FC236}">
                <a16:creationId xmlns:a16="http://schemas.microsoft.com/office/drawing/2014/main" id="{88A96017-09CB-A546-82A8-FF5377793FA4}"/>
              </a:ext>
            </a:extLst>
          </p:cNvPr>
          <p:cNvSpPr>
            <a:spLocks noGrp="1"/>
          </p:cNvSpPr>
          <p:nvPr>
            <p:ph type="body" sz="quarter" idx="32" hasCustomPrompt="1"/>
          </p:nvPr>
        </p:nvSpPr>
        <p:spPr>
          <a:xfrm>
            <a:off x="5585603" y="5407528"/>
            <a:ext cx="5890118" cy="209945"/>
          </a:xfrm>
        </p:spPr>
        <p:txBody>
          <a:bodyPr>
            <a:normAutofit/>
          </a:bodyPr>
          <a:lstStyle>
            <a:lvl1pPr marL="0" indent="0">
              <a:buFontTx/>
              <a:buNone/>
              <a:defRPr sz="1400" spc="0">
                <a:latin typeface="+mj-lt"/>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a:t>Title for upcoming resources</a:t>
            </a:r>
          </a:p>
        </p:txBody>
      </p:sp>
      <p:sp>
        <p:nvSpPr>
          <p:cNvPr id="3" name="Text Placeholder 2">
            <a:extLst>
              <a:ext uri="{FF2B5EF4-FFF2-40B4-BE49-F238E27FC236}">
                <a16:creationId xmlns:a16="http://schemas.microsoft.com/office/drawing/2014/main" id="{30EB270A-6C9C-C74F-B685-1E37CD84E351}"/>
              </a:ext>
            </a:extLst>
          </p:cNvPr>
          <p:cNvSpPr>
            <a:spLocks noGrp="1"/>
          </p:cNvSpPr>
          <p:nvPr>
            <p:ph type="body" sz="quarter" idx="33" hasCustomPrompt="1"/>
          </p:nvPr>
        </p:nvSpPr>
        <p:spPr>
          <a:xfrm>
            <a:off x="5584825" y="5693196"/>
            <a:ext cx="5891213" cy="909638"/>
          </a:xfrm>
        </p:spPr>
        <p:txBody>
          <a:bodyPr/>
          <a:lstStyle>
            <a:lvl1pPr marL="230188" marR="0" indent="-230188" algn="l" defTabSz="914400" rtl="0" eaLnBrk="1" fontAlgn="auto" latinLnBrk="0" hangingPunct="1">
              <a:lnSpc>
                <a:spcPct val="100000"/>
              </a:lnSpc>
              <a:spcBef>
                <a:spcPts val="600"/>
              </a:spcBef>
              <a:spcAft>
                <a:spcPts val="0"/>
              </a:spcAft>
              <a:buClr>
                <a:schemeClr val="accent4"/>
              </a:buClr>
              <a:buSzPct val="120000"/>
              <a:buFont typeface="Arial" panose="020B0604020202020204" pitchFamily="34" charset="0"/>
              <a:buChar char="•"/>
              <a:tabLst/>
              <a:defRPr sz="1400"/>
            </a:lvl1pPr>
            <a:lvl2pPr>
              <a:defRPr sz="1400"/>
            </a:lvl2pPr>
          </a:lstStyle>
          <a:p>
            <a:pPr lvl="0"/>
            <a:r>
              <a:rPr lang="en-US"/>
              <a:t>Description of future resource...</a:t>
            </a:r>
          </a:p>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Description of future resource...</a:t>
            </a:r>
          </a:p>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Description of future resource...</a:t>
            </a:r>
          </a:p>
          <a:p>
            <a:pPr lvl="0"/>
            <a:endParaRPr lang="en-US"/>
          </a:p>
        </p:txBody>
      </p:sp>
    </p:spTree>
    <p:extLst>
      <p:ext uri="{BB962C8B-B14F-4D97-AF65-F5344CB8AC3E}">
        <p14:creationId xmlns:p14="http://schemas.microsoft.com/office/powerpoint/2010/main" val="45197684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source Slide_3-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D50117-E1F4-4D7A-8CDB-CE5CC1B660FF}"/>
              </a:ext>
            </a:extLst>
          </p:cNvPr>
          <p:cNvSpPr>
            <a:spLocks noGrp="1"/>
          </p:cNvSpPr>
          <p:nvPr>
            <p:ph type="title"/>
          </p:nvPr>
        </p:nvSpPr>
        <p:spPr/>
        <p:txBody>
          <a:bodyPr/>
          <a:lstStyle/>
          <a:p>
            <a:r>
              <a:rPr lang="en-US"/>
              <a:t>Click to edit Master title style</a:t>
            </a:r>
          </a:p>
        </p:txBody>
      </p:sp>
      <p:sp>
        <p:nvSpPr>
          <p:cNvPr id="4" name="Layout Protection area" hidden="1">
            <a:extLst>
              <a:ext uri="{FF2B5EF4-FFF2-40B4-BE49-F238E27FC236}">
                <a16:creationId xmlns:a16="http://schemas.microsoft.com/office/drawing/2014/main" id="{8242F7E1-D0FF-42D3-BA5D-FD592BC2A432}"/>
              </a:ext>
            </a:extLst>
          </p:cNvPr>
          <p:cNvSpPr/>
          <p:nvPr userDrawn="1">
            <p:custDataLst>
              <p:tags r:id="rId1"/>
            </p:custDataLst>
          </p:nvPr>
        </p:nvSpPr>
        <p:spPr>
          <a:xfrm>
            <a:off x="0" y="1572242"/>
            <a:ext cx="12176098" cy="528575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9" name="Picture Placeholder 8">
            <a:extLst>
              <a:ext uri="{FF2B5EF4-FFF2-40B4-BE49-F238E27FC236}">
                <a16:creationId xmlns:a16="http://schemas.microsoft.com/office/drawing/2014/main" id="{3DFB94BC-2675-FF48-9E1E-05C0F32B4FCD}"/>
              </a:ext>
            </a:extLst>
          </p:cNvPr>
          <p:cNvSpPr>
            <a:spLocks noGrp="1"/>
          </p:cNvSpPr>
          <p:nvPr>
            <p:ph type="pic" sz="quarter" idx="13" hasCustomPrompt="1"/>
          </p:nvPr>
        </p:nvSpPr>
        <p:spPr>
          <a:xfrm>
            <a:off x="685800" y="2197100"/>
            <a:ext cx="3200400" cy="1674876"/>
          </a:xfrm>
          <a:effectLst>
            <a:outerShdw blurRad="127000" dir="2700000" algn="ctr" rotWithShape="0">
              <a:srgbClr val="000000">
                <a:alpha val="15000"/>
              </a:srgbClr>
            </a:outerShdw>
          </a:effectLst>
        </p:spPr>
        <p:txBody>
          <a:bodyPr>
            <a:normAutofit/>
          </a:bodyPr>
          <a:lstStyle>
            <a:lvl1pPr marL="0" marR="0" indent="0" algn="l" defTabSz="914400" rtl="0" eaLnBrk="1" fontAlgn="auto" latinLnBrk="0" hangingPunct="1">
              <a:lnSpc>
                <a:spcPct val="110000"/>
              </a:lnSpc>
              <a:spcBef>
                <a:spcPts val="1000"/>
              </a:spcBef>
              <a:spcAft>
                <a:spcPts val="0"/>
              </a:spcAft>
              <a:buClr>
                <a:schemeClr val="accent4"/>
              </a:buClr>
              <a:buSzPct val="120000"/>
              <a:buFontTx/>
              <a:buNone/>
              <a:tabLst/>
              <a:defRPr sz="1600"/>
            </a:lvl1pPr>
          </a:lstStyle>
          <a:p>
            <a:pPr marL="0" marR="0" lvl="0" indent="0" algn="l" defTabSz="914400" rtl="0" eaLnBrk="1" fontAlgn="auto" latinLnBrk="0" hangingPunct="1">
              <a:lnSpc>
                <a:spcPct val="110000"/>
              </a:lnSpc>
              <a:spcBef>
                <a:spcPts val="1000"/>
              </a:spcBef>
              <a:spcAft>
                <a:spcPts val="0"/>
              </a:spcAft>
              <a:buClr>
                <a:schemeClr val="accent4"/>
              </a:buClr>
              <a:buSzPct val="120000"/>
              <a:buFontTx/>
              <a:buNone/>
              <a:tabLst/>
              <a:defRPr/>
            </a:pPr>
            <a:r>
              <a:rPr lang="en-US"/>
              <a:t>Resource Image</a:t>
            </a:r>
            <a:br>
              <a:rPr lang="en-US"/>
            </a:br>
            <a:r>
              <a:rPr lang="en-US"/>
              <a:t>Take a screenshot of the resource hero image and simply drag it into this placeholder box.</a:t>
            </a:r>
          </a:p>
        </p:txBody>
      </p:sp>
      <p:sp>
        <p:nvSpPr>
          <p:cNvPr id="10" name="Picture Placeholder 8">
            <a:extLst>
              <a:ext uri="{FF2B5EF4-FFF2-40B4-BE49-F238E27FC236}">
                <a16:creationId xmlns:a16="http://schemas.microsoft.com/office/drawing/2014/main" id="{425DA8DE-4725-3243-892E-B1076911A017}"/>
              </a:ext>
            </a:extLst>
          </p:cNvPr>
          <p:cNvSpPr>
            <a:spLocks noGrp="1"/>
          </p:cNvSpPr>
          <p:nvPr>
            <p:ph type="pic" sz="quarter" idx="14" hasCustomPrompt="1"/>
          </p:nvPr>
        </p:nvSpPr>
        <p:spPr>
          <a:xfrm>
            <a:off x="8275320" y="2197100"/>
            <a:ext cx="3200400" cy="1674876"/>
          </a:xfrm>
          <a:effectLst>
            <a:outerShdw blurRad="127000" dir="2700000" algn="ctr" rotWithShape="0">
              <a:srgbClr val="000000">
                <a:alpha val="15000"/>
              </a:srgbClr>
            </a:outerShdw>
          </a:effectLst>
        </p:spPr>
        <p:txBody>
          <a:bodyPr>
            <a:normAutofit/>
          </a:bodyPr>
          <a:lstStyle>
            <a:lvl1pPr marL="0" indent="0">
              <a:buFontTx/>
              <a:buNone/>
              <a:defRPr sz="1600"/>
            </a:lvl1pPr>
          </a:lstStyle>
          <a:p>
            <a:r>
              <a:rPr lang="en-US"/>
              <a:t>Resource Image</a:t>
            </a:r>
            <a:br>
              <a:rPr lang="en-US"/>
            </a:br>
            <a:r>
              <a:rPr lang="en-US"/>
              <a:t>Take a screenshot of the resource hero image and simply drag it into this placeholder box.</a:t>
            </a:r>
          </a:p>
        </p:txBody>
      </p:sp>
      <p:sp>
        <p:nvSpPr>
          <p:cNvPr id="11" name="Picture Placeholder 8">
            <a:extLst>
              <a:ext uri="{FF2B5EF4-FFF2-40B4-BE49-F238E27FC236}">
                <a16:creationId xmlns:a16="http://schemas.microsoft.com/office/drawing/2014/main" id="{632C7903-5688-474C-9C1E-B98CCBABFE70}"/>
              </a:ext>
            </a:extLst>
          </p:cNvPr>
          <p:cNvSpPr>
            <a:spLocks noGrp="1"/>
          </p:cNvSpPr>
          <p:nvPr>
            <p:ph type="pic" sz="quarter" idx="15" hasCustomPrompt="1"/>
          </p:nvPr>
        </p:nvSpPr>
        <p:spPr>
          <a:xfrm>
            <a:off x="4480560" y="2197100"/>
            <a:ext cx="3200400" cy="1674876"/>
          </a:xfrm>
          <a:effectLst>
            <a:outerShdw blurRad="127000" dir="2700000" algn="ctr" rotWithShape="0">
              <a:srgbClr val="000000">
                <a:alpha val="15000"/>
              </a:srgbClr>
            </a:outerShdw>
          </a:effectLst>
        </p:spPr>
        <p:txBody>
          <a:bodyPr>
            <a:normAutofit/>
          </a:bodyPr>
          <a:lstStyle>
            <a:lvl1pPr marL="0" marR="0" indent="0" algn="l" defTabSz="914400" rtl="0" eaLnBrk="1" fontAlgn="auto" latinLnBrk="0" hangingPunct="1">
              <a:lnSpc>
                <a:spcPct val="110000"/>
              </a:lnSpc>
              <a:spcBef>
                <a:spcPts val="1000"/>
              </a:spcBef>
              <a:spcAft>
                <a:spcPts val="0"/>
              </a:spcAft>
              <a:buClr>
                <a:schemeClr val="accent4"/>
              </a:buClr>
              <a:buSzPct val="120000"/>
              <a:buFontTx/>
              <a:buNone/>
              <a:tabLst/>
              <a:defRPr sz="1600"/>
            </a:lvl1pPr>
          </a:lstStyle>
          <a:p>
            <a:r>
              <a:rPr lang="en-US"/>
              <a:t>Resource Image</a:t>
            </a:r>
            <a:br>
              <a:rPr lang="en-US"/>
            </a:br>
            <a:r>
              <a:rPr lang="en-US"/>
              <a:t>Take a screenshot of the resource hero image and simply drag it into this placeholder box.</a:t>
            </a:r>
          </a:p>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endParaRPr lang="en-US"/>
          </a:p>
          <a:p>
            <a:endParaRPr lang="en-US"/>
          </a:p>
        </p:txBody>
      </p:sp>
      <p:sp>
        <p:nvSpPr>
          <p:cNvPr id="13" name="Text Placeholder 12">
            <a:extLst>
              <a:ext uri="{FF2B5EF4-FFF2-40B4-BE49-F238E27FC236}">
                <a16:creationId xmlns:a16="http://schemas.microsoft.com/office/drawing/2014/main" id="{25285739-3FE0-424D-851E-F43C653AF29D}"/>
              </a:ext>
            </a:extLst>
          </p:cNvPr>
          <p:cNvSpPr>
            <a:spLocks noGrp="1"/>
          </p:cNvSpPr>
          <p:nvPr>
            <p:ph type="body" sz="quarter" idx="16" hasCustomPrompt="1"/>
          </p:nvPr>
        </p:nvSpPr>
        <p:spPr>
          <a:xfrm>
            <a:off x="685800" y="4133088"/>
            <a:ext cx="3200400" cy="1329182"/>
          </a:xfrm>
        </p:spPr>
        <p:txBody>
          <a:bodyPr>
            <a:normAutofit/>
          </a:bodyPr>
          <a:lstStyle>
            <a:lvl1pPr marL="0" indent="0">
              <a:buFontTx/>
              <a:buNone/>
              <a:defRPr sz="1600">
                <a:latin typeface="+mj-lt"/>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a:t>Resource title</a:t>
            </a:r>
            <a:br>
              <a:rPr lang="en-US"/>
            </a:br>
            <a:r>
              <a:rPr lang="en-US"/>
              <a:t>Please copy and paste text. </a:t>
            </a:r>
            <a:br>
              <a:rPr lang="en-US"/>
            </a:br>
            <a:r>
              <a:rPr lang="en-US"/>
              <a:t>Do not place as screen shot.</a:t>
            </a:r>
          </a:p>
        </p:txBody>
      </p:sp>
      <p:sp>
        <p:nvSpPr>
          <p:cNvPr id="14" name="Text Placeholder 12">
            <a:extLst>
              <a:ext uri="{FF2B5EF4-FFF2-40B4-BE49-F238E27FC236}">
                <a16:creationId xmlns:a16="http://schemas.microsoft.com/office/drawing/2014/main" id="{CC7CE1CD-A547-F541-A52D-D9A2CB707111}"/>
              </a:ext>
            </a:extLst>
          </p:cNvPr>
          <p:cNvSpPr>
            <a:spLocks noGrp="1"/>
          </p:cNvSpPr>
          <p:nvPr>
            <p:ph type="body" sz="quarter" idx="17" hasCustomPrompt="1"/>
          </p:nvPr>
        </p:nvSpPr>
        <p:spPr>
          <a:xfrm>
            <a:off x="4480560" y="4133088"/>
            <a:ext cx="3200400" cy="1329182"/>
          </a:xfrm>
        </p:spPr>
        <p:txBody>
          <a:bodyPr>
            <a:normAutofit/>
          </a:bodyPr>
          <a:lstStyle>
            <a:lvl1pPr marL="0" indent="0">
              <a:buFontTx/>
              <a:buNone/>
              <a:defRPr sz="1600">
                <a:latin typeface="+mj-lt"/>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a:t>Resource title</a:t>
            </a:r>
            <a:br>
              <a:rPr lang="en-US"/>
            </a:br>
            <a:r>
              <a:rPr lang="en-US"/>
              <a:t>Please copy and paste text. </a:t>
            </a:r>
            <a:br>
              <a:rPr lang="en-US"/>
            </a:br>
            <a:r>
              <a:rPr lang="en-US"/>
              <a:t>Do not place as screen shot.</a:t>
            </a:r>
          </a:p>
        </p:txBody>
      </p:sp>
      <p:sp>
        <p:nvSpPr>
          <p:cNvPr id="15" name="Text Placeholder 12">
            <a:extLst>
              <a:ext uri="{FF2B5EF4-FFF2-40B4-BE49-F238E27FC236}">
                <a16:creationId xmlns:a16="http://schemas.microsoft.com/office/drawing/2014/main" id="{0E114D1C-9378-D641-9D44-74CA6A622208}"/>
              </a:ext>
            </a:extLst>
          </p:cNvPr>
          <p:cNvSpPr>
            <a:spLocks noGrp="1"/>
          </p:cNvSpPr>
          <p:nvPr>
            <p:ph type="body" sz="quarter" idx="18" hasCustomPrompt="1"/>
          </p:nvPr>
        </p:nvSpPr>
        <p:spPr>
          <a:xfrm>
            <a:off x="8275320" y="4133088"/>
            <a:ext cx="3200400" cy="1329182"/>
          </a:xfrm>
        </p:spPr>
        <p:txBody>
          <a:bodyPr>
            <a:normAutofit/>
          </a:bodyPr>
          <a:lstStyle>
            <a:lvl1pPr marL="0" indent="0">
              <a:buFontTx/>
              <a:buNone/>
              <a:defRPr sz="1600">
                <a:latin typeface="+mj-lt"/>
              </a:defRPr>
            </a:lvl1pPr>
            <a:lvl2pPr marL="457200" indent="0">
              <a:buNone/>
              <a:defRPr>
                <a:latin typeface="+mj-lt"/>
              </a:defRPr>
            </a:lvl2pPr>
            <a:lvl3pPr>
              <a:defRPr>
                <a:latin typeface="+mj-lt"/>
              </a:defRPr>
            </a:lvl3pPr>
            <a:lvl4pPr>
              <a:defRPr>
                <a:latin typeface="+mj-lt"/>
              </a:defRPr>
            </a:lvl4pPr>
            <a:lvl5pPr>
              <a:defRPr>
                <a:latin typeface="+mj-lt"/>
              </a:defRPr>
            </a:lvl5pPr>
          </a:lstStyle>
          <a:p>
            <a:pPr lvl="0"/>
            <a:r>
              <a:rPr lang="en-US"/>
              <a:t>Resource title</a:t>
            </a:r>
            <a:br>
              <a:rPr lang="en-US"/>
            </a:br>
            <a:r>
              <a:rPr lang="en-US"/>
              <a:t>Please copy and paste text. </a:t>
            </a:r>
            <a:br>
              <a:rPr lang="en-US"/>
            </a:br>
            <a:r>
              <a:rPr lang="en-US"/>
              <a:t>Do not place as screen shot.</a:t>
            </a:r>
          </a:p>
        </p:txBody>
      </p:sp>
      <p:sp>
        <p:nvSpPr>
          <p:cNvPr id="17" name="Text Placeholder 16">
            <a:extLst>
              <a:ext uri="{FF2B5EF4-FFF2-40B4-BE49-F238E27FC236}">
                <a16:creationId xmlns:a16="http://schemas.microsoft.com/office/drawing/2014/main" id="{D03A6F76-C14A-F844-B0F5-3F23EF85D157}"/>
              </a:ext>
            </a:extLst>
          </p:cNvPr>
          <p:cNvSpPr>
            <a:spLocks noGrp="1"/>
          </p:cNvSpPr>
          <p:nvPr>
            <p:ph type="body" sz="quarter" idx="19" hasCustomPrompt="1"/>
          </p:nvPr>
        </p:nvSpPr>
        <p:spPr>
          <a:xfrm>
            <a:off x="685800" y="1858645"/>
            <a:ext cx="3200400" cy="244475"/>
          </a:xfrm>
        </p:spPr>
        <p:txBody>
          <a:bodyPr/>
          <a:lstStyle>
            <a:lvl1pPr marL="0" indent="0">
              <a:buFontTx/>
              <a:buNone/>
              <a:defRPr sz="1200">
                <a:solidFill>
                  <a:schemeClr val="tx1">
                    <a:lumMod val="50000"/>
                    <a:lumOff val="50000"/>
                  </a:schemeClr>
                </a:solidFill>
                <a:latin typeface="+mn-lt"/>
              </a:defRPr>
            </a:lvl1pPr>
            <a:lvl2pPr marL="457200" indent="0">
              <a:buFontTx/>
              <a:buNone/>
              <a:defRPr sz="1200">
                <a:latin typeface="+mn-lt"/>
              </a:defRPr>
            </a:lvl2pPr>
            <a:lvl3pPr marL="914400" indent="0">
              <a:buFontTx/>
              <a:buNone/>
              <a:defRPr sz="1200">
                <a:latin typeface="+mn-lt"/>
              </a:defRPr>
            </a:lvl3pPr>
            <a:lvl4pPr marL="1371600" indent="0">
              <a:buFontTx/>
              <a:buNone/>
              <a:defRPr sz="1200">
                <a:latin typeface="+mn-lt"/>
              </a:defRPr>
            </a:lvl4pPr>
            <a:lvl5pPr marL="1828800" indent="0">
              <a:buFontTx/>
              <a:buNone/>
              <a:defRPr sz="1200">
                <a:latin typeface="+mn-lt"/>
              </a:defRPr>
            </a:lvl5pPr>
          </a:lstStyle>
          <a:p>
            <a:pPr lvl="0"/>
            <a:r>
              <a:rPr lang="en-US"/>
              <a:t>Resource Type, e.g., Webinar, White Paper…</a:t>
            </a:r>
          </a:p>
        </p:txBody>
      </p:sp>
      <p:sp>
        <p:nvSpPr>
          <p:cNvPr id="18" name="Text Placeholder 16">
            <a:extLst>
              <a:ext uri="{FF2B5EF4-FFF2-40B4-BE49-F238E27FC236}">
                <a16:creationId xmlns:a16="http://schemas.microsoft.com/office/drawing/2014/main" id="{8C7FDD29-D1D7-5C4E-A795-7196379021EE}"/>
              </a:ext>
            </a:extLst>
          </p:cNvPr>
          <p:cNvSpPr>
            <a:spLocks noGrp="1"/>
          </p:cNvSpPr>
          <p:nvPr>
            <p:ph type="body" sz="quarter" idx="20" hasCustomPrompt="1"/>
          </p:nvPr>
        </p:nvSpPr>
        <p:spPr>
          <a:xfrm>
            <a:off x="4480560" y="1858645"/>
            <a:ext cx="3200400" cy="244475"/>
          </a:xfrm>
        </p:spPr>
        <p:txBody>
          <a:bodyPr/>
          <a:lstStyle>
            <a:lvl1pPr marL="0" indent="0">
              <a:buFontTx/>
              <a:buNone/>
              <a:defRPr sz="1200">
                <a:solidFill>
                  <a:schemeClr val="tx1">
                    <a:lumMod val="50000"/>
                    <a:lumOff val="50000"/>
                  </a:schemeClr>
                </a:solidFill>
                <a:latin typeface="+mn-lt"/>
              </a:defRPr>
            </a:lvl1pPr>
            <a:lvl2pPr marL="457200" indent="0">
              <a:buFontTx/>
              <a:buNone/>
              <a:defRPr sz="1200">
                <a:latin typeface="+mn-lt"/>
              </a:defRPr>
            </a:lvl2pPr>
            <a:lvl3pPr marL="914400" indent="0">
              <a:buFontTx/>
              <a:buNone/>
              <a:defRPr sz="1200">
                <a:latin typeface="+mn-lt"/>
              </a:defRPr>
            </a:lvl3pPr>
            <a:lvl4pPr marL="1371600" indent="0">
              <a:buFontTx/>
              <a:buNone/>
              <a:defRPr sz="1200">
                <a:latin typeface="+mn-lt"/>
              </a:defRPr>
            </a:lvl4pPr>
            <a:lvl5pPr marL="1828800" indent="0">
              <a:buFontTx/>
              <a:buNone/>
              <a:defRPr sz="1200">
                <a:latin typeface="+mn-lt"/>
              </a:defRPr>
            </a:lvl5pPr>
          </a:lstStyle>
          <a:p>
            <a:pPr lvl="0"/>
            <a:r>
              <a:rPr lang="en-US"/>
              <a:t>Resource Type, e.g., Webinar, White Paper…</a:t>
            </a:r>
          </a:p>
        </p:txBody>
      </p:sp>
      <p:sp>
        <p:nvSpPr>
          <p:cNvPr id="19" name="Text Placeholder 16">
            <a:extLst>
              <a:ext uri="{FF2B5EF4-FFF2-40B4-BE49-F238E27FC236}">
                <a16:creationId xmlns:a16="http://schemas.microsoft.com/office/drawing/2014/main" id="{8CD84EFF-5C63-4849-B5D9-6553DF80041E}"/>
              </a:ext>
            </a:extLst>
          </p:cNvPr>
          <p:cNvSpPr>
            <a:spLocks noGrp="1"/>
          </p:cNvSpPr>
          <p:nvPr>
            <p:ph type="body" sz="quarter" idx="21" hasCustomPrompt="1"/>
          </p:nvPr>
        </p:nvSpPr>
        <p:spPr>
          <a:xfrm>
            <a:off x="8275320" y="1858645"/>
            <a:ext cx="3200400" cy="244475"/>
          </a:xfrm>
        </p:spPr>
        <p:txBody>
          <a:bodyPr/>
          <a:lstStyle>
            <a:lvl1pPr marL="0" indent="0">
              <a:buFontTx/>
              <a:buNone/>
              <a:defRPr sz="1200">
                <a:solidFill>
                  <a:schemeClr val="tx1">
                    <a:lumMod val="50000"/>
                    <a:lumOff val="50000"/>
                  </a:schemeClr>
                </a:solidFill>
                <a:latin typeface="+mn-lt"/>
              </a:defRPr>
            </a:lvl1pPr>
            <a:lvl2pPr marL="457200" indent="0">
              <a:buFontTx/>
              <a:buNone/>
              <a:defRPr sz="1200">
                <a:latin typeface="+mn-lt"/>
              </a:defRPr>
            </a:lvl2pPr>
            <a:lvl3pPr marL="914400" indent="0">
              <a:buFontTx/>
              <a:buNone/>
              <a:defRPr sz="1200">
                <a:latin typeface="+mn-lt"/>
              </a:defRPr>
            </a:lvl3pPr>
            <a:lvl4pPr marL="1371600" indent="0">
              <a:buFontTx/>
              <a:buNone/>
              <a:defRPr sz="1200">
                <a:latin typeface="+mn-lt"/>
              </a:defRPr>
            </a:lvl4pPr>
            <a:lvl5pPr marL="1828800" indent="0">
              <a:buFontTx/>
              <a:buNone/>
              <a:defRPr sz="1200">
                <a:latin typeface="+mn-lt"/>
              </a:defRPr>
            </a:lvl5pPr>
          </a:lstStyle>
          <a:p>
            <a:pPr lvl="0"/>
            <a:r>
              <a:rPr lang="en-US"/>
              <a:t>Resource Type, e.g., Webinar, White Paper…</a:t>
            </a:r>
          </a:p>
        </p:txBody>
      </p:sp>
    </p:spTree>
    <p:extLst>
      <p:ext uri="{BB962C8B-B14F-4D97-AF65-F5344CB8AC3E}">
        <p14:creationId xmlns:p14="http://schemas.microsoft.com/office/powerpoint/2010/main" val="264981238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ustomer Example">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C00CBA7-7708-194C-8D9F-AA76B37506D2}"/>
              </a:ext>
              <a:ext uri="{C183D7F6-B498-43B3-948B-1728B52AA6E4}">
                <adec:decorative xmlns:adec="http://schemas.microsoft.com/office/drawing/2017/decorative" val="1"/>
              </a:ext>
            </a:extLst>
          </p:cNvPr>
          <p:cNvSpPr/>
          <p:nvPr userDrawn="1"/>
        </p:nvSpPr>
        <p:spPr>
          <a:xfrm>
            <a:off x="685800" y="0"/>
            <a:ext cx="430078" cy="86369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6C88C381-31D1-9E47-92BE-50539DD71C51}"/>
              </a:ext>
              <a:ext uri="{C183D7F6-B498-43B3-948B-1728B52AA6E4}">
                <adec:decorative xmlns:adec="http://schemas.microsoft.com/office/drawing/2017/decorative" val="1"/>
              </a:ext>
            </a:extLst>
          </p:cNvPr>
          <p:cNvSpPr/>
          <p:nvPr userDrawn="1"/>
        </p:nvSpPr>
        <p:spPr>
          <a:xfrm>
            <a:off x="685800" y="1600199"/>
            <a:ext cx="430078" cy="5257801"/>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itle 2">
            <a:extLst>
              <a:ext uri="{FF2B5EF4-FFF2-40B4-BE49-F238E27FC236}">
                <a16:creationId xmlns:a16="http://schemas.microsoft.com/office/drawing/2014/main" id="{4336A4FE-11E5-E94D-9D99-82A470076E9F}"/>
              </a:ext>
            </a:extLst>
          </p:cNvPr>
          <p:cNvSpPr>
            <a:spLocks noGrp="1"/>
          </p:cNvSpPr>
          <p:nvPr>
            <p:ph type="title"/>
          </p:nvPr>
        </p:nvSpPr>
        <p:spPr>
          <a:xfrm>
            <a:off x="685800" y="688336"/>
            <a:ext cx="10789920" cy="683264"/>
          </a:xfrm>
          <a:solidFill>
            <a:schemeClr val="bg1"/>
          </a:solidFill>
        </p:spPr>
        <p:txBody>
          <a:bodyPr tIns="182880">
            <a:spAutoFit/>
          </a:bodyPr>
          <a:lstStyle/>
          <a:p>
            <a:r>
              <a:rPr lang="en-US"/>
              <a:t>Click to edit Master title style</a:t>
            </a:r>
          </a:p>
        </p:txBody>
      </p:sp>
      <p:sp>
        <p:nvSpPr>
          <p:cNvPr id="8" name="Content Placeholder 2">
            <a:extLst>
              <a:ext uri="{FF2B5EF4-FFF2-40B4-BE49-F238E27FC236}">
                <a16:creationId xmlns:a16="http://schemas.microsoft.com/office/drawing/2014/main" id="{EFE2BE53-EFCE-6645-8D92-1BCAFB43A036}"/>
              </a:ext>
            </a:extLst>
          </p:cNvPr>
          <p:cNvSpPr>
            <a:spLocks noGrp="1"/>
          </p:cNvSpPr>
          <p:nvPr>
            <p:ph sz="half" idx="1"/>
          </p:nvPr>
        </p:nvSpPr>
        <p:spPr>
          <a:xfrm>
            <a:off x="685800" y="1600199"/>
            <a:ext cx="4444139" cy="1883080"/>
          </a:xfrm>
          <a:solidFill>
            <a:schemeClr val="bg1"/>
          </a:solidFill>
        </p:spPr>
        <p:txBody>
          <a:bodyPr wrap="square" bIns="274320">
            <a:spAutoFit/>
          </a:bodyPr>
          <a:lstStyle>
            <a:lvl1pPr marL="228600" indent="-228600">
              <a:lnSpc>
                <a:spcPct val="110000"/>
              </a:lnSpc>
              <a:buClr>
                <a:schemeClr val="accent4"/>
              </a:buClr>
              <a:buSzPct val="120000"/>
              <a:buFont typeface="Arial" panose="020B0604020202020204" pitchFamily="34" charset="0"/>
              <a:buChar char="•"/>
              <a:defRPr b="0" i="0">
                <a:latin typeface="Nunito Sans Light" pitchFamily="2" charset="77"/>
              </a:defRPr>
            </a:lvl1pPr>
            <a:lvl2pPr marL="685800" indent="-228600">
              <a:lnSpc>
                <a:spcPct val="110000"/>
              </a:lnSpc>
              <a:buSzPct val="120000"/>
              <a:buFont typeface="Arial" panose="020B0604020202020204" pitchFamily="34" charset="0"/>
              <a:buChar char="•"/>
              <a:defRPr b="0" i="0">
                <a:latin typeface="Nunito Sans Light" pitchFamily="2" charset="77"/>
              </a:defRPr>
            </a:lvl2pPr>
            <a:lvl3pPr marL="1143000" indent="-228600">
              <a:lnSpc>
                <a:spcPct val="110000"/>
              </a:lnSpc>
              <a:buSzPct val="120000"/>
              <a:buFont typeface="Arial" panose="020B0604020202020204" pitchFamily="34" charset="0"/>
              <a:buChar char="•"/>
              <a:defRPr b="0" i="0">
                <a:latin typeface="Nunito Sans Light" pitchFamily="2" charset="77"/>
              </a:defRPr>
            </a:lvl3pPr>
            <a:lvl4pPr marL="1600200" indent="-228600">
              <a:lnSpc>
                <a:spcPct val="110000"/>
              </a:lnSpc>
              <a:buSzPct val="120000"/>
              <a:buFont typeface="Arial" panose="020B0604020202020204" pitchFamily="34" charset="0"/>
              <a:buChar char="•"/>
              <a:defRPr b="0" i="0">
                <a:latin typeface="Nunito Sans Light" pitchFamily="2" charset="77"/>
              </a:defRPr>
            </a:lvl4pPr>
            <a:lvl5pPr marL="2057400" indent="-228600">
              <a:lnSpc>
                <a:spcPct val="110000"/>
              </a:lnSpc>
              <a:buSzPct val="120000"/>
              <a:buFont typeface="Arial" panose="020B0604020202020204" pitchFamily="34" charset="0"/>
              <a:buChar char="•"/>
              <a:defRPr b="0" i="0">
                <a:latin typeface="Nunito Sans Light" pitchFamily="2" charset="77"/>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Picture Placeholder 4">
            <a:extLst>
              <a:ext uri="{FF2B5EF4-FFF2-40B4-BE49-F238E27FC236}">
                <a16:creationId xmlns:a16="http://schemas.microsoft.com/office/drawing/2014/main" id="{0FDC525D-41DA-7B4A-9AF6-97F22A6DF87A}"/>
              </a:ext>
            </a:extLst>
          </p:cNvPr>
          <p:cNvSpPr>
            <a:spLocks noGrp="1"/>
          </p:cNvSpPr>
          <p:nvPr>
            <p:ph type="pic" sz="quarter" idx="13"/>
          </p:nvPr>
        </p:nvSpPr>
        <p:spPr>
          <a:xfrm>
            <a:off x="5440363" y="1600199"/>
            <a:ext cx="6057900" cy="4706939"/>
          </a:xfrm>
        </p:spPr>
        <p:txBody>
          <a:bodyPr/>
          <a:lstStyle/>
          <a:p>
            <a:r>
              <a:rPr lang="en-US"/>
              <a:t>Click icon to add picture</a:t>
            </a:r>
          </a:p>
        </p:txBody>
      </p:sp>
      <p:sp>
        <p:nvSpPr>
          <p:cNvPr id="11" name="Layout Protection area" hidden="1">
            <a:extLst>
              <a:ext uri="{FF2B5EF4-FFF2-40B4-BE49-F238E27FC236}">
                <a16:creationId xmlns:a16="http://schemas.microsoft.com/office/drawing/2014/main" id="{EFC6663A-EFF2-4B7C-80F9-58DCAA5B4391}"/>
              </a:ext>
            </a:extLst>
          </p:cNvPr>
          <p:cNvSpPr/>
          <p:nvPr userDrawn="1">
            <p:custDataLst>
              <p:tags r:id="rId1"/>
            </p:custDataLst>
          </p:nvPr>
        </p:nvSpPr>
        <p:spPr>
          <a:xfrm>
            <a:off x="0" y="1572242"/>
            <a:ext cx="12176098" cy="529507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2" name="Date Placeholder 1" hidden="1">
            <a:extLst>
              <a:ext uri="{FF2B5EF4-FFF2-40B4-BE49-F238E27FC236}">
                <a16:creationId xmlns:a16="http://schemas.microsoft.com/office/drawing/2014/main" id="{F467DCF8-6FDB-48D8-95D4-458A796382E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7" name="Footer Placeholder 6" hidden="1">
            <a:extLst>
              <a:ext uri="{FF2B5EF4-FFF2-40B4-BE49-F238E27FC236}">
                <a16:creationId xmlns:a16="http://schemas.microsoft.com/office/drawing/2014/main" id="{BCFA018C-D31F-43C8-98D5-A0F6878355F8}"/>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0" name="Slide Number Placeholder 9">
            <a:extLst>
              <a:ext uri="{FF2B5EF4-FFF2-40B4-BE49-F238E27FC236}">
                <a16:creationId xmlns:a16="http://schemas.microsoft.com/office/drawing/2014/main" id="{5CA3830C-373E-42C5-A8DF-E9DFEF7E769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31043497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nnecting The Campu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EFCD107-6A18-8840-A09F-1124596FCC97}"/>
              </a:ext>
              <a:ext uri="{C183D7F6-B498-43B3-948B-1728B52AA6E4}">
                <adec:decorative xmlns:adec="http://schemas.microsoft.com/office/drawing/2017/decorative" val="1"/>
              </a:ext>
            </a:extLst>
          </p:cNvPr>
          <p:cNvSpPr/>
          <p:nvPr userDrawn="1"/>
        </p:nvSpPr>
        <p:spPr>
          <a:xfrm>
            <a:off x="0" y="0"/>
            <a:ext cx="5036695" cy="61769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2" name="Title">
            <a:extLst>
              <a:ext uri="{FF2B5EF4-FFF2-40B4-BE49-F238E27FC236}">
                <a16:creationId xmlns:a16="http://schemas.microsoft.com/office/drawing/2014/main" id="{7838340A-32CC-9F44-9F2D-60B3B3C3A638}"/>
              </a:ext>
            </a:extLst>
          </p:cNvPr>
          <p:cNvSpPr>
            <a:spLocks noGrp="1"/>
          </p:cNvSpPr>
          <p:nvPr>
            <p:ph type="title"/>
            <p:custDataLst>
              <p:tags r:id="rId1"/>
            </p:custDataLst>
          </p:nvPr>
        </p:nvSpPr>
        <p:spPr>
          <a:xfrm>
            <a:off x="685800" y="291162"/>
            <a:ext cx="3960812" cy="1080438"/>
          </a:xfrm>
        </p:spPr>
        <p:txBody>
          <a:bodyPr lIns="0" tIns="0" rIns="0" bIns="0" anchor="b" anchorCtr="0">
            <a:normAutofit/>
          </a:bodyPr>
          <a:lstStyle>
            <a:lvl1pPr>
              <a:lnSpc>
                <a:spcPct val="110000"/>
              </a:lnSpc>
              <a:defRPr sz="2800">
                <a:solidFill>
                  <a:schemeClr val="tx1"/>
                </a:solidFill>
              </a:defRPr>
            </a:lvl1pPr>
          </a:lstStyle>
          <a:p>
            <a:r>
              <a:rPr lang="en-US"/>
              <a:t>Click to edit Master title style</a:t>
            </a:r>
          </a:p>
        </p:txBody>
      </p:sp>
      <p:sp>
        <p:nvSpPr>
          <p:cNvPr id="5" name="Text Placeholder">
            <a:extLst>
              <a:ext uri="{FF2B5EF4-FFF2-40B4-BE49-F238E27FC236}">
                <a16:creationId xmlns:a16="http://schemas.microsoft.com/office/drawing/2014/main" id="{DCF7BBF5-9006-FA44-99B8-C1E1E6A78745}"/>
              </a:ext>
            </a:extLst>
          </p:cNvPr>
          <p:cNvSpPr>
            <a:spLocks noGrp="1"/>
          </p:cNvSpPr>
          <p:nvPr>
            <p:ph type="body" sz="quarter" idx="13"/>
          </p:nvPr>
        </p:nvSpPr>
        <p:spPr>
          <a:xfrm>
            <a:off x="685800" y="1600200"/>
            <a:ext cx="3960813" cy="4443412"/>
          </a:xfrm>
        </p:spPr>
        <p:txBody>
          <a:bodyPr/>
          <a:lstStyle>
            <a:lvl1pPr marL="0" indent="0">
              <a:buFont typeface="Nunito Sans Light" panose="00000400000000000000" pitchFamily="2" charset="0"/>
              <a:buChar char="​"/>
              <a:defRPr sz="1600" b="0" i="0">
                <a:latin typeface="+mn-lt"/>
              </a:defRPr>
            </a:lvl1pPr>
          </a:lstStyle>
          <a:p>
            <a:pPr lvl="0"/>
            <a:r>
              <a:rPr lang="en-US"/>
              <a:t>Click to edit Master text styles</a:t>
            </a:r>
          </a:p>
        </p:txBody>
      </p:sp>
      <p:sp>
        <p:nvSpPr>
          <p:cNvPr id="9" name="Rectangle 8">
            <a:extLst>
              <a:ext uri="{FF2B5EF4-FFF2-40B4-BE49-F238E27FC236}">
                <a16:creationId xmlns:a16="http://schemas.microsoft.com/office/drawing/2014/main" id="{6B488B64-5325-F54E-84D2-89AD3FC6869B}"/>
              </a:ext>
              <a:ext uri="{C183D7F6-B498-43B3-948B-1728B52AA6E4}">
                <adec:decorative xmlns:adec="http://schemas.microsoft.com/office/drawing/2017/decorative" val="1"/>
              </a:ext>
            </a:extLst>
          </p:cNvPr>
          <p:cNvSpPr/>
          <p:nvPr userDrawn="1"/>
        </p:nvSpPr>
        <p:spPr>
          <a:xfrm>
            <a:off x="5029200" y="0"/>
            <a:ext cx="7162800" cy="61769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pic>
        <p:nvPicPr>
          <p:cNvPr id="10" name="Picture 9" descr="Isometric illustration of college campus.">
            <a:extLst>
              <a:ext uri="{FF2B5EF4-FFF2-40B4-BE49-F238E27FC236}">
                <a16:creationId xmlns:a16="http://schemas.microsoft.com/office/drawing/2014/main" id="{DC875160-91A0-1449-8D14-4D088F431DB8}"/>
              </a:ext>
            </a:extLst>
          </p:cNvPr>
          <p:cNvPicPr>
            <a:picLocks noChangeAspect="1"/>
          </p:cNvPicPr>
          <p:nvPr userDrawn="1"/>
        </p:nvPicPr>
        <p:blipFill>
          <a:blip r:embed="rId5">
            <a:alphaModFix/>
          </a:blip>
          <a:srcRect/>
          <a:stretch/>
        </p:blipFill>
        <p:spPr>
          <a:xfrm>
            <a:off x="5666227" y="947449"/>
            <a:ext cx="5896240" cy="4442216"/>
          </a:xfrm>
          <a:prstGeom prst="rect">
            <a:avLst/>
          </a:prstGeom>
        </p:spPr>
      </p:pic>
      <p:sp>
        <p:nvSpPr>
          <p:cNvPr id="8" name="Logo protection area" hidden="1">
            <a:extLst>
              <a:ext uri="{FF2B5EF4-FFF2-40B4-BE49-F238E27FC236}">
                <a16:creationId xmlns:a16="http://schemas.microsoft.com/office/drawing/2014/main" id="{62CDB50F-8A6B-46D1-8192-5A65D6209903}"/>
              </a:ext>
            </a:extLst>
          </p:cNvPr>
          <p:cNvSpPr/>
          <p:nvPr userDrawn="1">
            <p:custDataLst>
              <p:tags r:id="rId2"/>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1" name="Layout Protection area" hidden="1">
            <a:extLst>
              <a:ext uri="{FF2B5EF4-FFF2-40B4-BE49-F238E27FC236}">
                <a16:creationId xmlns:a16="http://schemas.microsoft.com/office/drawing/2014/main" id="{0BBDDDEC-0106-40D3-BF78-55CC9F47061B}"/>
              </a:ext>
            </a:extLst>
          </p:cNvPr>
          <p:cNvSpPr/>
          <p:nvPr userDrawn="1">
            <p:custDataLst>
              <p:tags r:id="rId3"/>
            </p:custDataLst>
          </p:nvPr>
        </p:nvSpPr>
        <p:spPr>
          <a:xfrm>
            <a:off x="0" y="1539350"/>
            <a:ext cx="5029200" cy="4646926"/>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2" name="Date Placeholder 11" hidden="1">
            <a:extLst>
              <a:ext uri="{FF2B5EF4-FFF2-40B4-BE49-F238E27FC236}">
                <a16:creationId xmlns:a16="http://schemas.microsoft.com/office/drawing/2014/main" id="{FC34303C-00B6-429F-AB79-5265D8FD9338}"/>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3" name="Footer Placeholder 12" hidden="1">
            <a:extLst>
              <a:ext uri="{FF2B5EF4-FFF2-40B4-BE49-F238E27FC236}">
                <a16:creationId xmlns:a16="http://schemas.microsoft.com/office/drawing/2014/main" id="{CC93C06F-2F03-4666-A45A-FA46B643A29B}"/>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4" name="Slide Number Placeholder 13">
            <a:extLst>
              <a:ext uri="{FF2B5EF4-FFF2-40B4-BE49-F238E27FC236}">
                <a16:creationId xmlns:a16="http://schemas.microsoft.com/office/drawing/2014/main" id="{FB16C270-97D2-48DB-813F-5EA817A48C0F}"/>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22269477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Questions">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274B6C4-0C0B-C54B-BC62-536B8F19F6A0}"/>
              </a:ext>
              <a:ext uri="{C183D7F6-B498-43B3-948B-1728B52AA6E4}">
                <adec:decorative xmlns:adec="http://schemas.microsoft.com/office/drawing/2017/decorative" val="1"/>
              </a:ext>
            </a:extLst>
          </p:cNvPr>
          <p:cNvPicPr>
            <a:picLocks noChangeAspect="1"/>
          </p:cNvPicPr>
          <p:nvPr userDrawn="1"/>
        </p:nvPicPr>
        <p:blipFill rotWithShape="1">
          <a:blip r:embed="rId4" cstate="email">
            <a:alphaModFix amt="8000"/>
            <a:extLst>
              <a:ext uri="{28A0092B-C50C-407E-A947-70E740481C1C}">
                <a14:useLocalDpi xmlns:a14="http://schemas.microsoft.com/office/drawing/2010/main"/>
              </a:ext>
            </a:extLst>
          </a:blip>
          <a:srcRect t="1005" b="7767"/>
          <a:stretch/>
        </p:blipFill>
        <p:spPr>
          <a:xfrm>
            <a:off x="6596313" y="-1"/>
            <a:ext cx="4114800" cy="6178893"/>
          </a:xfrm>
          <a:prstGeom prst="rect">
            <a:avLst/>
          </a:prstGeom>
        </p:spPr>
      </p:pic>
      <p:sp>
        <p:nvSpPr>
          <p:cNvPr id="5" name="Title 4">
            <a:extLst>
              <a:ext uri="{FF2B5EF4-FFF2-40B4-BE49-F238E27FC236}">
                <a16:creationId xmlns:a16="http://schemas.microsoft.com/office/drawing/2014/main" id="{B225399C-1E6E-9E42-9E6D-B8CA2539627A}"/>
              </a:ext>
            </a:extLst>
          </p:cNvPr>
          <p:cNvSpPr>
            <a:spLocks noGrp="1"/>
          </p:cNvSpPr>
          <p:nvPr>
            <p:ph type="title"/>
          </p:nvPr>
        </p:nvSpPr>
        <p:spPr>
          <a:xfrm>
            <a:off x="707666" y="1088571"/>
            <a:ext cx="10789920" cy="2125242"/>
          </a:xfrm>
        </p:spPr>
        <p:txBody>
          <a:bodyPr/>
          <a:lstStyle>
            <a:lvl1pPr algn="l">
              <a:defRPr sz="8000"/>
            </a:lvl1pPr>
          </a:lstStyle>
          <a:p>
            <a:r>
              <a:rPr lang="en-US"/>
              <a:t>Click to edit Master title style</a:t>
            </a:r>
          </a:p>
        </p:txBody>
      </p:sp>
      <p:sp>
        <p:nvSpPr>
          <p:cNvPr id="32" name="Name">
            <a:extLst>
              <a:ext uri="{FF2B5EF4-FFF2-40B4-BE49-F238E27FC236}">
                <a16:creationId xmlns:a16="http://schemas.microsoft.com/office/drawing/2014/main" id="{8F289818-772D-A140-AA34-CF35FE3184CE}"/>
              </a:ext>
            </a:extLst>
          </p:cNvPr>
          <p:cNvSpPr>
            <a:spLocks noGrp="1"/>
          </p:cNvSpPr>
          <p:nvPr>
            <p:ph type="body" sz="quarter" idx="17" hasCustomPrompt="1"/>
          </p:nvPr>
        </p:nvSpPr>
        <p:spPr>
          <a:xfrm>
            <a:off x="2367038" y="4073785"/>
            <a:ext cx="5649359" cy="457200"/>
          </a:xfrm>
        </p:spPr>
        <p:txBody>
          <a:bodyPr anchor="b" anchorCtr="0"/>
          <a:lstStyle>
            <a:lvl1pPr marL="0" indent="0" algn="l">
              <a:buClr>
                <a:schemeClr val="accent4"/>
              </a:buClr>
              <a:buFontTx/>
              <a:buNone/>
              <a:defRPr sz="2000" b="0" i="0" spc="0">
                <a:latin typeface="+mj-lt"/>
                <a:ea typeface="Roboto Medium" panose="02000000000000000000" pitchFamily="2" charset="0"/>
                <a:cs typeface="Roboto Medium" panose="02000000000000000000" pitchFamily="2" charset="0"/>
              </a:defRPr>
            </a:lvl1pPr>
          </a:lstStyle>
          <a:p>
            <a:pPr lvl="0"/>
            <a:r>
              <a:rPr lang="en-US"/>
              <a:t>Presenter Name</a:t>
            </a:r>
          </a:p>
        </p:txBody>
      </p:sp>
      <p:sp>
        <p:nvSpPr>
          <p:cNvPr id="33" name="Title">
            <a:extLst>
              <a:ext uri="{FF2B5EF4-FFF2-40B4-BE49-F238E27FC236}">
                <a16:creationId xmlns:a16="http://schemas.microsoft.com/office/drawing/2014/main" id="{B4C7420B-45DC-474D-99FE-866DCAFF6544}"/>
              </a:ext>
            </a:extLst>
          </p:cNvPr>
          <p:cNvSpPr>
            <a:spLocks noGrp="1"/>
          </p:cNvSpPr>
          <p:nvPr>
            <p:ph type="body" sz="quarter" idx="18" hasCustomPrompt="1"/>
          </p:nvPr>
        </p:nvSpPr>
        <p:spPr>
          <a:xfrm>
            <a:off x="2367038" y="4639283"/>
            <a:ext cx="5649359" cy="809586"/>
          </a:xfrm>
        </p:spPr>
        <p:txBody>
          <a:bodyPr anchor="t" anchorCtr="0"/>
          <a:lstStyle>
            <a:lvl1pPr marL="0" indent="0" algn="l">
              <a:lnSpc>
                <a:spcPct val="100000"/>
              </a:lnSpc>
              <a:spcBef>
                <a:spcPts val="0"/>
              </a:spcBef>
              <a:buFontTx/>
              <a:buNone/>
              <a:defRPr sz="2000" b="0" i="0">
                <a:latin typeface="+mn-lt"/>
              </a:defRPr>
            </a:lvl1pPr>
          </a:lstStyle>
          <a:p>
            <a:pPr lvl="0"/>
            <a:r>
              <a:rPr lang="en-US"/>
              <a:t>Contact info</a:t>
            </a:r>
          </a:p>
        </p:txBody>
      </p:sp>
      <p:sp>
        <p:nvSpPr>
          <p:cNvPr id="29" name="Rectangle 28">
            <a:extLst>
              <a:ext uri="{FF2B5EF4-FFF2-40B4-BE49-F238E27FC236}">
                <a16:creationId xmlns:a16="http://schemas.microsoft.com/office/drawing/2014/main" id="{E3AD3F1B-6514-1946-9D1A-5523E60EB659}"/>
              </a:ext>
              <a:ext uri="{C183D7F6-B498-43B3-948B-1728B52AA6E4}">
                <adec:decorative xmlns:adec="http://schemas.microsoft.com/office/drawing/2017/decorative" val="1"/>
              </a:ext>
            </a:extLst>
          </p:cNvPr>
          <p:cNvSpPr/>
          <p:nvPr userDrawn="1"/>
        </p:nvSpPr>
        <p:spPr>
          <a:xfrm>
            <a:off x="707666" y="4058954"/>
            <a:ext cx="1438401" cy="1389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30" name="Rectangle 29">
            <a:extLst>
              <a:ext uri="{FF2B5EF4-FFF2-40B4-BE49-F238E27FC236}">
                <a16:creationId xmlns:a16="http://schemas.microsoft.com/office/drawing/2014/main" id="{B7245169-8F76-8C4A-BCB7-A88BE50181AA}"/>
              </a:ext>
              <a:ext uri="{C183D7F6-B498-43B3-948B-1728B52AA6E4}">
                <adec:decorative xmlns:adec="http://schemas.microsoft.com/office/drawing/2017/decorative" val="1"/>
              </a:ext>
            </a:extLst>
          </p:cNvPr>
          <p:cNvSpPr/>
          <p:nvPr userDrawn="1"/>
        </p:nvSpPr>
        <p:spPr>
          <a:xfrm>
            <a:off x="798204" y="4058954"/>
            <a:ext cx="1388358" cy="1389915"/>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31" name="TextBox 30">
            <a:extLst>
              <a:ext uri="{FF2B5EF4-FFF2-40B4-BE49-F238E27FC236}">
                <a16:creationId xmlns:a16="http://schemas.microsoft.com/office/drawing/2014/main" id="{38DBF907-AC21-9141-8503-A925D9043E04}"/>
              </a:ext>
              <a:ext uri="{C183D7F6-B498-43B3-948B-1728B52AA6E4}">
                <adec:decorative xmlns:adec="http://schemas.microsoft.com/office/drawing/2017/decorative" val="1"/>
              </a:ext>
            </a:extLst>
          </p:cNvPr>
          <p:cNvSpPr txBox="1"/>
          <p:nvPr userDrawn="1"/>
        </p:nvSpPr>
        <p:spPr>
          <a:xfrm>
            <a:off x="890728" y="4952344"/>
            <a:ext cx="120331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Nunito Sans Light" pitchFamily="2" charset="77"/>
                <a:ea typeface="Roboto Medium" panose="02000000000000000000" pitchFamily="2" charset="0"/>
                <a:cs typeface="Roboto Medium" panose="02000000000000000000" pitchFamily="2" charset="0"/>
              </a:rPr>
              <a:t>Headshot</a:t>
            </a:r>
          </a:p>
        </p:txBody>
      </p:sp>
      <p:sp>
        <p:nvSpPr>
          <p:cNvPr id="36" name="Picture Placeholder 5">
            <a:extLst>
              <a:ext uri="{FF2B5EF4-FFF2-40B4-BE49-F238E27FC236}">
                <a16:creationId xmlns:a16="http://schemas.microsoft.com/office/drawing/2014/main" id="{951E437E-C5AA-3740-8222-BE69F3897B3F}"/>
              </a:ext>
              <a:ext uri="{C183D7F6-B498-43B3-948B-1728B52AA6E4}">
                <adec:decorative xmlns:adec="http://schemas.microsoft.com/office/drawing/2017/decorative" val="1"/>
              </a:ext>
            </a:extLst>
          </p:cNvPr>
          <p:cNvSpPr>
            <a:spLocks noGrp="1"/>
          </p:cNvSpPr>
          <p:nvPr>
            <p:ph type="pic" sz="quarter" idx="28" hasCustomPrompt="1"/>
          </p:nvPr>
        </p:nvSpPr>
        <p:spPr>
          <a:xfrm>
            <a:off x="798222" y="4058954"/>
            <a:ext cx="1388340" cy="1389915"/>
          </a:xfrm>
        </p:spPr>
        <p:txBody>
          <a:bodyPr tIns="274320">
            <a:normAutofit/>
          </a:bodyPr>
          <a:lstStyle>
            <a:lvl1pPr algn="l">
              <a:buNone/>
              <a:defRPr sz="1600" b="0" i="0"/>
            </a:lvl1pPr>
          </a:lstStyle>
          <a:p>
            <a:r>
              <a:rPr lang="en-US"/>
              <a:t>Click icon to insert image</a:t>
            </a:r>
          </a:p>
        </p:txBody>
      </p:sp>
      <p:sp>
        <p:nvSpPr>
          <p:cNvPr id="2" name="Date Placeholder 1" hidden="1">
            <a:extLst>
              <a:ext uri="{FF2B5EF4-FFF2-40B4-BE49-F238E27FC236}">
                <a16:creationId xmlns:a16="http://schemas.microsoft.com/office/drawing/2014/main" id="{BEC7E80B-BEA4-402F-83AA-50D9834C817E}"/>
              </a:ext>
            </a:extLst>
          </p:cNvPr>
          <p:cNvSpPr>
            <a:spLocks noGrp="1"/>
          </p:cNvSpPr>
          <p:nvPr>
            <p:ph type="dt" sz="half" idx="3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6" name="Footer Placeholder 5" hidden="1">
            <a:extLst>
              <a:ext uri="{FF2B5EF4-FFF2-40B4-BE49-F238E27FC236}">
                <a16:creationId xmlns:a16="http://schemas.microsoft.com/office/drawing/2014/main" id="{65FAC813-B34C-46E5-BA68-FE76BFC664A6}"/>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3" name="Logo protection area" hidden="1">
            <a:extLst>
              <a:ext uri="{FF2B5EF4-FFF2-40B4-BE49-F238E27FC236}">
                <a16:creationId xmlns:a16="http://schemas.microsoft.com/office/drawing/2014/main" id="{AB64CC43-6CA7-47D5-9DD9-C2EDD9A77B01}"/>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4" name="Layout protection area" hidden="1">
            <a:extLst>
              <a:ext uri="{FF2B5EF4-FFF2-40B4-BE49-F238E27FC236}">
                <a16:creationId xmlns:a16="http://schemas.microsoft.com/office/drawing/2014/main" id="{6D2EF5E1-D905-4BE3-B616-3494E88FD74B}"/>
              </a:ext>
            </a:extLst>
          </p:cNvPr>
          <p:cNvSpPr/>
          <p:nvPr userDrawn="1">
            <p:custDataLst>
              <p:tags r:id="rId2"/>
            </p:custDataLst>
          </p:nvPr>
        </p:nvSpPr>
        <p:spPr>
          <a:xfrm>
            <a:off x="0" y="0"/>
            <a:ext cx="12176098" cy="604361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7" name="Slide Number Placeholder 6">
            <a:extLst>
              <a:ext uri="{FF2B5EF4-FFF2-40B4-BE49-F238E27FC236}">
                <a16:creationId xmlns:a16="http://schemas.microsoft.com/office/drawing/2014/main" id="{7F380CA8-A72A-4D2A-9CC8-3A5723A3AB1D}"/>
              </a:ext>
            </a:extLst>
          </p:cNvPr>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40013601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_¨     ">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6BD8B30-570A-41BC-B76C-CEA2703D3972}"/>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1200" cap="none" spc="0" normalizeH="0" baseline="0" noProof="0">
                <a:ln>
                  <a:noFill/>
                </a:ln>
                <a:solidFill>
                  <a:srgbClr val="FFFFFF"/>
                </a:solidFill>
                <a:effectLst/>
                <a:uLnTx/>
                <a:uFillTx/>
                <a:latin typeface="Tiempos Headline Bold"/>
                <a:ea typeface="+mn-ea"/>
                <a:cs typeface="+mn-cs"/>
              </a:rPr>
              <a:t>Card </a:t>
            </a:r>
            <a:br>
              <a:rPr kumimoji="0" lang="en-US" sz="13800" b="0" i="0" u="none" strike="noStrike" kern="1200" cap="none" spc="0" normalizeH="0" baseline="0" noProof="0">
                <a:ln>
                  <a:noFill/>
                </a:ln>
                <a:solidFill>
                  <a:srgbClr val="FFFFFF"/>
                </a:solidFill>
                <a:effectLst/>
                <a:uLnTx/>
                <a:uFillTx/>
                <a:latin typeface="Tiempos Headline Bold"/>
                <a:ea typeface="+mn-ea"/>
                <a:cs typeface="+mn-cs"/>
              </a:rPr>
            </a:br>
            <a:r>
              <a:rPr kumimoji="0" lang="en-US" sz="13800" b="0" i="0" u="none" strike="noStrike" kern="1200" cap="none" spc="0" normalizeH="0" baseline="0" noProof="0">
                <a:ln>
                  <a:noFill/>
                </a:ln>
                <a:solidFill>
                  <a:srgbClr val="FFFFFF"/>
                </a:solidFill>
                <a:effectLst/>
                <a:uLnTx/>
                <a:uFillTx/>
                <a:latin typeface="Tiempos Headline Bold"/>
                <a:ea typeface="+mn-ea"/>
                <a:cs typeface="+mn-cs"/>
              </a:rPr>
              <a:t>Slides</a:t>
            </a:r>
          </a:p>
        </p:txBody>
      </p:sp>
    </p:spTree>
    <p:extLst>
      <p:ext uri="{BB962C8B-B14F-4D97-AF65-F5344CB8AC3E}">
        <p14:creationId xmlns:p14="http://schemas.microsoft.com/office/powerpoint/2010/main" val="353723140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1_Customer Logo Layout_12-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4" name="Logo protection area" hidden="1">
            <a:extLst>
              <a:ext uri="{FF2B5EF4-FFF2-40B4-BE49-F238E27FC236}">
                <a16:creationId xmlns:a16="http://schemas.microsoft.com/office/drawing/2014/main" id="{FB99A54E-C6B2-4241-929C-D09F70882EA8}"/>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6" name="Layout Protection area" hidden="1">
            <a:extLst>
              <a:ext uri="{FF2B5EF4-FFF2-40B4-BE49-F238E27FC236}">
                <a16:creationId xmlns:a16="http://schemas.microsoft.com/office/drawing/2014/main" id="{677B9344-2687-4991-B810-FB28E3B48818}"/>
              </a:ext>
            </a:extLst>
          </p:cNvPr>
          <p:cNvSpPr/>
          <p:nvPr userDrawn="1">
            <p:custDataLst>
              <p:tags r:id="rId2"/>
            </p:custDataLst>
          </p:nvPr>
        </p:nvSpPr>
        <p:spPr>
          <a:xfrm>
            <a:off x="0" y="1572242"/>
            <a:ext cx="12176098" cy="45193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8" name="Date Placeholder 7">
            <a:extLst>
              <a:ext uri="{FF2B5EF4-FFF2-40B4-BE49-F238E27FC236}">
                <a16:creationId xmlns:a16="http://schemas.microsoft.com/office/drawing/2014/main" id="{45E74DF7-BB83-284E-95F7-13CACA78441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9" name="Footer Placeholder 8">
            <a:extLst>
              <a:ext uri="{FF2B5EF4-FFF2-40B4-BE49-F238E27FC236}">
                <a16:creationId xmlns:a16="http://schemas.microsoft.com/office/drawing/2014/main" id="{905FAAC1-CE30-9249-9D0E-3961A845A77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0" name="Slide Number Placeholder 9">
            <a:extLst>
              <a:ext uri="{FF2B5EF4-FFF2-40B4-BE49-F238E27FC236}">
                <a16:creationId xmlns:a16="http://schemas.microsoft.com/office/drawing/2014/main" id="{1A232B96-DAC6-574F-8CC8-70E7F3E4662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
        <p:nvSpPr>
          <p:cNvPr id="17" name="Picture Placeholder 16">
            <a:extLst>
              <a:ext uri="{FF2B5EF4-FFF2-40B4-BE49-F238E27FC236}">
                <a16:creationId xmlns:a16="http://schemas.microsoft.com/office/drawing/2014/main" id="{A34822FC-A346-2748-A12C-597FDF4602C6}"/>
              </a:ext>
            </a:extLst>
          </p:cNvPr>
          <p:cNvSpPr>
            <a:spLocks noGrp="1"/>
          </p:cNvSpPr>
          <p:nvPr>
            <p:ph type="pic" sz="quarter" idx="13" hasCustomPrompt="1"/>
          </p:nvPr>
        </p:nvSpPr>
        <p:spPr>
          <a:xfrm>
            <a:off x="1362974" y="1648005"/>
            <a:ext cx="2351504" cy="1570396"/>
          </a:xfrm>
        </p:spPr>
        <p:txBody>
          <a:bodyPr/>
          <a:lstStyle/>
          <a:p>
            <a:r>
              <a:rPr lang="en-US"/>
              <a:t>Customer Logo Card</a:t>
            </a:r>
          </a:p>
        </p:txBody>
      </p:sp>
      <p:sp>
        <p:nvSpPr>
          <p:cNvPr id="19" name="Picture Placeholder 16">
            <a:extLst>
              <a:ext uri="{FF2B5EF4-FFF2-40B4-BE49-F238E27FC236}">
                <a16:creationId xmlns:a16="http://schemas.microsoft.com/office/drawing/2014/main" id="{2B3CA149-46CF-3C45-A5FE-E50DD162D901}"/>
              </a:ext>
            </a:extLst>
          </p:cNvPr>
          <p:cNvSpPr>
            <a:spLocks noGrp="1"/>
          </p:cNvSpPr>
          <p:nvPr>
            <p:ph type="pic" sz="quarter" idx="14" hasCustomPrompt="1"/>
          </p:nvPr>
        </p:nvSpPr>
        <p:spPr>
          <a:xfrm>
            <a:off x="3735239" y="164800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Customer Logo Card</a:t>
            </a:r>
          </a:p>
          <a:p>
            <a:endParaRPr lang="en-US"/>
          </a:p>
        </p:txBody>
      </p:sp>
      <p:sp>
        <p:nvSpPr>
          <p:cNvPr id="20" name="Picture Placeholder 16">
            <a:extLst>
              <a:ext uri="{FF2B5EF4-FFF2-40B4-BE49-F238E27FC236}">
                <a16:creationId xmlns:a16="http://schemas.microsoft.com/office/drawing/2014/main" id="{F0E46EBD-8F1B-564A-BD2E-0FD1D5633991}"/>
              </a:ext>
            </a:extLst>
          </p:cNvPr>
          <p:cNvSpPr>
            <a:spLocks noGrp="1"/>
          </p:cNvSpPr>
          <p:nvPr>
            <p:ph type="pic" sz="quarter" idx="15" hasCustomPrompt="1"/>
          </p:nvPr>
        </p:nvSpPr>
        <p:spPr>
          <a:xfrm>
            <a:off x="6107504" y="164800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Customer Logo Card</a:t>
            </a:r>
          </a:p>
          <a:p>
            <a:endParaRPr lang="en-US"/>
          </a:p>
        </p:txBody>
      </p:sp>
      <p:sp>
        <p:nvSpPr>
          <p:cNvPr id="21" name="Picture Placeholder 16">
            <a:extLst>
              <a:ext uri="{FF2B5EF4-FFF2-40B4-BE49-F238E27FC236}">
                <a16:creationId xmlns:a16="http://schemas.microsoft.com/office/drawing/2014/main" id="{14E827F3-C0AE-194C-BB46-D7B7A69C6E2A}"/>
              </a:ext>
            </a:extLst>
          </p:cNvPr>
          <p:cNvSpPr>
            <a:spLocks noGrp="1"/>
          </p:cNvSpPr>
          <p:nvPr>
            <p:ph type="pic" sz="quarter" idx="16" hasCustomPrompt="1"/>
          </p:nvPr>
        </p:nvSpPr>
        <p:spPr>
          <a:xfrm>
            <a:off x="8479769" y="164800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Customer Logo Card</a:t>
            </a:r>
          </a:p>
          <a:p>
            <a:endParaRPr lang="en-US"/>
          </a:p>
        </p:txBody>
      </p:sp>
      <p:sp>
        <p:nvSpPr>
          <p:cNvPr id="31" name="Picture Placeholder 16">
            <a:extLst>
              <a:ext uri="{FF2B5EF4-FFF2-40B4-BE49-F238E27FC236}">
                <a16:creationId xmlns:a16="http://schemas.microsoft.com/office/drawing/2014/main" id="{9DBCC32C-64B1-0449-B205-66502AD085A2}"/>
              </a:ext>
            </a:extLst>
          </p:cNvPr>
          <p:cNvSpPr>
            <a:spLocks noGrp="1"/>
          </p:cNvSpPr>
          <p:nvPr>
            <p:ph type="pic" sz="quarter" idx="17" hasCustomPrompt="1"/>
          </p:nvPr>
        </p:nvSpPr>
        <p:spPr>
          <a:xfrm>
            <a:off x="1362974" y="323526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Customer Logo Card</a:t>
            </a:r>
          </a:p>
          <a:p>
            <a:endParaRPr lang="en-US"/>
          </a:p>
        </p:txBody>
      </p:sp>
      <p:sp>
        <p:nvSpPr>
          <p:cNvPr id="32" name="Picture Placeholder 16">
            <a:extLst>
              <a:ext uri="{FF2B5EF4-FFF2-40B4-BE49-F238E27FC236}">
                <a16:creationId xmlns:a16="http://schemas.microsoft.com/office/drawing/2014/main" id="{7808ED03-2AAA-0440-8B94-BC8683E536B6}"/>
              </a:ext>
            </a:extLst>
          </p:cNvPr>
          <p:cNvSpPr>
            <a:spLocks noGrp="1"/>
          </p:cNvSpPr>
          <p:nvPr>
            <p:ph type="pic" sz="quarter" idx="18" hasCustomPrompt="1"/>
          </p:nvPr>
        </p:nvSpPr>
        <p:spPr>
          <a:xfrm>
            <a:off x="3735239" y="323526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Customer Logo Card</a:t>
            </a:r>
          </a:p>
          <a:p>
            <a:endParaRPr lang="en-US"/>
          </a:p>
        </p:txBody>
      </p:sp>
      <p:sp>
        <p:nvSpPr>
          <p:cNvPr id="33" name="Picture Placeholder 16">
            <a:extLst>
              <a:ext uri="{FF2B5EF4-FFF2-40B4-BE49-F238E27FC236}">
                <a16:creationId xmlns:a16="http://schemas.microsoft.com/office/drawing/2014/main" id="{35D9FD98-E4B5-0949-A8A4-716B7EB07C4A}"/>
              </a:ext>
            </a:extLst>
          </p:cNvPr>
          <p:cNvSpPr>
            <a:spLocks noGrp="1"/>
          </p:cNvSpPr>
          <p:nvPr>
            <p:ph type="pic" sz="quarter" idx="19" hasCustomPrompt="1"/>
          </p:nvPr>
        </p:nvSpPr>
        <p:spPr>
          <a:xfrm>
            <a:off x="6107504" y="323526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Customer Logo Card</a:t>
            </a:r>
          </a:p>
          <a:p>
            <a:endParaRPr lang="en-US"/>
          </a:p>
        </p:txBody>
      </p:sp>
      <p:sp>
        <p:nvSpPr>
          <p:cNvPr id="34" name="Picture Placeholder 16">
            <a:extLst>
              <a:ext uri="{FF2B5EF4-FFF2-40B4-BE49-F238E27FC236}">
                <a16:creationId xmlns:a16="http://schemas.microsoft.com/office/drawing/2014/main" id="{5A6317B4-E61D-5440-A60F-C2BA24C7BDCB}"/>
              </a:ext>
            </a:extLst>
          </p:cNvPr>
          <p:cNvSpPr>
            <a:spLocks noGrp="1"/>
          </p:cNvSpPr>
          <p:nvPr>
            <p:ph type="pic" sz="quarter" idx="20" hasCustomPrompt="1"/>
          </p:nvPr>
        </p:nvSpPr>
        <p:spPr>
          <a:xfrm>
            <a:off x="8479769" y="323526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Customer Logo Card</a:t>
            </a:r>
          </a:p>
          <a:p>
            <a:endParaRPr lang="en-US"/>
          </a:p>
        </p:txBody>
      </p:sp>
      <p:sp>
        <p:nvSpPr>
          <p:cNvPr id="35" name="Picture Placeholder 16">
            <a:extLst>
              <a:ext uri="{FF2B5EF4-FFF2-40B4-BE49-F238E27FC236}">
                <a16:creationId xmlns:a16="http://schemas.microsoft.com/office/drawing/2014/main" id="{1EC8A212-B794-9E44-B793-311635902DD9}"/>
              </a:ext>
            </a:extLst>
          </p:cNvPr>
          <p:cNvSpPr>
            <a:spLocks noGrp="1"/>
          </p:cNvSpPr>
          <p:nvPr>
            <p:ph type="pic" sz="quarter" idx="21" hasCustomPrompt="1"/>
          </p:nvPr>
        </p:nvSpPr>
        <p:spPr>
          <a:xfrm>
            <a:off x="1362974" y="482252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Customer Logo Card</a:t>
            </a:r>
          </a:p>
          <a:p>
            <a:endParaRPr lang="en-US"/>
          </a:p>
        </p:txBody>
      </p:sp>
      <p:sp>
        <p:nvSpPr>
          <p:cNvPr id="36" name="Picture Placeholder 16">
            <a:extLst>
              <a:ext uri="{FF2B5EF4-FFF2-40B4-BE49-F238E27FC236}">
                <a16:creationId xmlns:a16="http://schemas.microsoft.com/office/drawing/2014/main" id="{6B2B31B2-8F76-E847-8111-BFB99DF6EF2E}"/>
              </a:ext>
            </a:extLst>
          </p:cNvPr>
          <p:cNvSpPr>
            <a:spLocks noGrp="1"/>
          </p:cNvSpPr>
          <p:nvPr>
            <p:ph type="pic" sz="quarter" idx="22" hasCustomPrompt="1"/>
          </p:nvPr>
        </p:nvSpPr>
        <p:spPr>
          <a:xfrm>
            <a:off x="3735239" y="482252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Customer Logo Card</a:t>
            </a:r>
          </a:p>
          <a:p>
            <a:endParaRPr lang="en-US"/>
          </a:p>
        </p:txBody>
      </p:sp>
      <p:sp>
        <p:nvSpPr>
          <p:cNvPr id="37" name="Picture Placeholder 16">
            <a:extLst>
              <a:ext uri="{FF2B5EF4-FFF2-40B4-BE49-F238E27FC236}">
                <a16:creationId xmlns:a16="http://schemas.microsoft.com/office/drawing/2014/main" id="{686D74D4-1F9B-A542-B7B0-55CEE074782B}"/>
              </a:ext>
            </a:extLst>
          </p:cNvPr>
          <p:cNvSpPr>
            <a:spLocks noGrp="1"/>
          </p:cNvSpPr>
          <p:nvPr>
            <p:ph type="pic" sz="quarter" idx="23" hasCustomPrompt="1"/>
          </p:nvPr>
        </p:nvSpPr>
        <p:spPr>
          <a:xfrm>
            <a:off x="6107504" y="482252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Customer Logo Card</a:t>
            </a:r>
          </a:p>
          <a:p>
            <a:endParaRPr lang="en-US"/>
          </a:p>
        </p:txBody>
      </p:sp>
      <p:sp>
        <p:nvSpPr>
          <p:cNvPr id="38" name="Picture Placeholder 16">
            <a:extLst>
              <a:ext uri="{FF2B5EF4-FFF2-40B4-BE49-F238E27FC236}">
                <a16:creationId xmlns:a16="http://schemas.microsoft.com/office/drawing/2014/main" id="{C1ADFF67-38E7-3147-8679-9D4BD45419A2}"/>
              </a:ext>
            </a:extLst>
          </p:cNvPr>
          <p:cNvSpPr>
            <a:spLocks noGrp="1"/>
          </p:cNvSpPr>
          <p:nvPr>
            <p:ph type="pic" sz="quarter" idx="24" hasCustomPrompt="1"/>
          </p:nvPr>
        </p:nvSpPr>
        <p:spPr>
          <a:xfrm>
            <a:off x="8479769" y="482252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Customer Logo Card</a:t>
            </a:r>
          </a:p>
          <a:p>
            <a:endParaRPr lang="en-US"/>
          </a:p>
        </p:txBody>
      </p:sp>
    </p:spTree>
    <p:extLst>
      <p:ext uri="{BB962C8B-B14F-4D97-AF65-F5344CB8AC3E}">
        <p14:creationId xmlns:p14="http://schemas.microsoft.com/office/powerpoint/2010/main" val="122923847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2_Partner Logo Layout_12-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4" name="Logo protection area" hidden="1">
            <a:extLst>
              <a:ext uri="{FF2B5EF4-FFF2-40B4-BE49-F238E27FC236}">
                <a16:creationId xmlns:a16="http://schemas.microsoft.com/office/drawing/2014/main" id="{FB99A54E-C6B2-4241-929C-D09F70882EA8}"/>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6" name="Layout Protection area" hidden="1">
            <a:extLst>
              <a:ext uri="{FF2B5EF4-FFF2-40B4-BE49-F238E27FC236}">
                <a16:creationId xmlns:a16="http://schemas.microsoft.com/office/drawing/2014/main" id="{677B9344-2687-4991-B810-FB28E3B48818}"/>
              </a:ext>
            </a:extLst>
          </p:cNvPr>
          <p:cNvSpPr/>
          <p:nvPr userDrawn="1">
            <p:custDataLst>
              <p:tags r:id="rId2"/>
            </p:custDataLst>
          </p:nvPr>
        </p:nvSpPr>
        <p:spPr>
          <a:xfrm>
            <a:off x="0" y="1572242"/>
            <a:ext cx="12176098" cy="45193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8" name="Date Placeholder 7">
            <a:extLst>
              <a:ext uri="{FF2B5EF4-FFF2-40B4-BE49-F238E27FC236}">
                <a16:creationId xmlns:a16="http://schemas.microsoft.com/office/drawing/2014/main" id="{45E74DF7-BB83-284E-95F7-13CACA78441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9" name="Footer Placeholder 8">
            <a:extLst>
              <a:ext uri="{FF2B5EF4-FFF2-40B4-BE49-F238E27FC236}">
                <a16:creationId xmlns:a16="http://schemas.microsoft.com/office/drawing/2014/main" id="{905FAAC1-CE30-9249-9D0E-3961A845A77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0" name="Slide Number Placeholder 9">
            <a:extLst>
              <a:ext uri="{FF2B5EF4-FFF2-40B4-BE49-F238E27FC236}">
                <a16:creationId xmlns:a16="http://schemas.microsoft.com/office/drawing/2014/main" id="{1A232B96-DAC6-574F-8CC8-70E7F3E4662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
        <p:nvSpPr>
          <p:cNvPr id="17" name="Picture Placeholder 16">
            <a:extLst>
              <a:ext uri="{FF2B5EF4-FFF2-40B4-BE49-F238E27FC236}">
                <a16:creationId xmlns:a16="http://schemas.microsoft.com/office/drawing/2014/main" id="{A34822FC-A346-2748-A12C-597FDF4602C6}"/>
              </a:ext>
            </a:extLst>
          </p:cNvPr>
          <p:cNvSpPr>
            <a:spLocks noGrp="1"/>
          </p:cNvSpPr>
          <p:nvPr>
            <p:ph type="pic" sz="quarter" idx="13" hasCustomPrompt="1"/>
          </p:nvPr>
        </p:nvSpPr>
        <p:spPr>
          <a:xfrm>
            <a:off x="1362974" y="1648005"/>
            <a:ext cx="2351504" cy="1570396"/>
          </a:xfrm>
        </p:spPr>
        <p:txBody>
          <a:bodyPr/>
          <a:lstStyle/>
          <a:p>
            <a:r>
              <a:rPr lang="en-US"/>
              <a:t>Partner Logo Card</a:t>
            </a:r>
          </a:p>
        </p:txBody>
      </p:sp>
      <p:sp>
        <p:nvSpPr>
          <p:cNvPr id="19" name="Picture Placeholder 16">
            <a:extLst>
              <a:ext uri="{FF2B5EF4-FFF2-40B4-BE49-F238E27FC236}">
                <a16:creationId xmlns:a16="http://schemas.microsoft.com/office/drawing/2014/main" id="{2B3CA149-46CF-3C45-A5FE-E50DD162D901}"/>
              </a:ext>
            </a:extLst>
          </p:cNvPr>
          <p:cNvSpPr>
            <a:spLocks noGrp="1"/>
          </p:cNvSpPr>
          <p:nvPr>
            <p:ph type="pic" sz="quarter" idx="14" hasCustomPrompt="1"/>
          </p:nvPr>
        </p:nvSpPr>
        <p:spPr>
          <a:xfrm>
            <a:off x="3735239" y="164800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Partner Logo Card</a:t>
            </a:r>
          </a:p>
          <a:p>
            <a:endParaRPr lang="en-US"/>
          </a:p>
        </p:txBody>
      </p:sp>
      <p:sp>
        <p:nvSpPr>
          <p:cNvPr id="20" name="Picture Placeholder 16">
            <a:extLst>
              <a:ext uri="{FF2B5EF4-FFF2-40B4-BE49-F238E27FC236}">
                <a16:creationId xmlns:a16="http://schemas.microsoft.com/office/drawing/2014/main" id="{F0E46EBD-8F1B-564A-BD2E-0FD1D5633991}"/>
              </a:ext>
            </a:extLst>
          </p:cNvPr>
          <p:cNvSpPr>
            <a:spLocks noGrp="1"/>
          </p:cNvSpPr>
          <p:nvPr>
            <p:ph type="pic" sz="quarter" idx="15" hasCustomPrompt="1"/>
          </p:nvPr>
        </p:nvSpPr>
        <p:spPr>
          <a:xfrm>
            <a:off x="6107504" y="164800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Partner Logo Card</a:t>
            </a:r>
          </a:p>
          <a:p>
            <a:endParaRPr lang="en-US"/>
          </a:p>
        </p:txBody>
      </p:sp>
      <p:sp>
        <p:nvSpPr>
          <p:cNvPr id="21" name="Picture Placeholder 16">
            <a:extLst>
              <a:ext uri="{FF2B5EF4-FFF2-40B4-BE49-F238E27FC236}">
                <a16:creationId xmlns:a16="http://schemas.microsoft.com/office/drawing/2014/main" id="{14E827F3-C0AE-194C-BB46-D7B7A69C6E2A}"/>
              </a:ext>
            </a:extLst>
          </p:cNvPr>
          <p:cNvSpPr>
            <a:spLocks noGrp="1"/>
          </p:cNvSpPr>
          <p:nvPr>
            <p:ph type="pic" sz="quarter" idx="16" hasCustomPrompt="1"/>
          </p:nvPr>
        </p:nvSpPr>
        <p:spPr>
          <a:xfrm>
            <a:off x="8479769" y="164800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Partner Logo Card</a:t>
            </a:r>
          </a:p>
          <a:p>
            <a:endParaRPr lang="en-US"/>
          </a:p>
        </p:txBody>
      </p:sp>
      <p:sp>
        <p:nvSpPr>
          <p:cNvPr id="31" name="Picture Placeholder 16">
            <a:extLst>
              <a:ext uri="{FF2B5EF4-FFF2-40B4-BE49-F238E27FC236}">
                <a16:creationId xmlns:a16="http://schemas.microsoft.com/office/drawing/2014/main" id="{9DBCC32C-64B1-0449-B205-66502AD085A2}"/>
              </a:ext>
            </a:extLst>
          </p:cNvPr>
          <p:cNvSpPr>
            <a:spLocks noGrp="1"/>
          </p:cNvSpPr>
          <p:nvPr>
            <p:ph type="pic" sz="quarter" idx="17" hasCustomPrompt="1"/>
          </p:nvPr>
        </p:nvSpPr>
        <p:spPr>
          <a:xfrm>
            <a:off x="1362974" y="323526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Partner Logo Card</a:t>
            </a:r>
          </a:p>
          <a:p>
            <a:endParaRPr lang="en-US"/>
          </a:p>
        </p:txBody>
      </p:sp>
      <p:sp>
        <p:nvSpPr>
          <p:cNvPr id="32" name="Picture Placeholder 16">
            <a:extLst>
              <a:ext uri="{FF2B5EF4-FFF2-40B4-BE49-F238E27FC236}">
                <a16:creationId xmlns:a16="http://schemas.microsoft.com/office/drawing/2014/main" id="{7808ED03-2AAA-0440-8B94-BC8683E536B6}"/>
              </a:ext>
            </a:extLst>
          </p:cNvPr>
          <p:cNvSpPr>
            <a:spLocks noGrp="1"/>
          </p:cNvSpPr>
          <p:nvPr>
            <p:ph type="pic" sz="quarter" idx="18" hasCustomPrompt="1"/>
          </p:nvPr>
        </p:nvSpPr>
        <p:spPr>
          <a:xfrm>
            <a:off x="3735239" y="323526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Partner Logo Card</a:t>
            </a:r>
          </a:p>
          <a:p>
            <a:endParaRPr lang="en-US"/>
          </a:p>
        </p:txBody>
      </p:sp>
      <p:sp>
        <p:nvSpPr>
          <p:cNvPr id="33" name="Picture Placeholder 16">
            <a:extLst>
              <a:ext uri="{FF2B5EF4-FFF2-40B4-BE49-F238E27FC236}">
                <a16:creationId xmlns:a16="http://schemas.microsoft.com/office/drawing/2014/main" id="{35D9FD98-E4B5-0949-A8A4-716B7EB07C4A}"/>
              </a:ext>
            </a:extLst>
          </p:cNvPr>
          <p:cNvSpPr>
            <a:spLocks noGrp="1"/>
          </p:cNvSpPr>
          <p:nvPr>
            <p:ph type="pic" sz="quarter" idx="19" hasCustomPrompt="1"/>
          </p:nvPr>
        </p:nvSpPr>
        <p:spPr>
          <a:xfrm>
            <a:off x="6107504" y="323526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Partner Logo Card</a:t>
            </a:r>
          </a:p>
          <a:p>
            <a:endParaRPr lang="en-US"/>
          </a:p>
        </p:txBody>
      </p:sp>
      <p:sp>
        <p:nvSpPr>
          <p:cNvPr id="34" name="Picture Placeholder 16">
            <a:extLst>
              <a:ext uri="{FF2B5EF4-FFF2-40B4-BE49-F238E27FC236}">
                <a16:creationId xmlns:a16="http://schemas.microsoft.com/office/drawing/2014/main" id="{5A6317B4-E61D-5440-A60F-C2BA24C7BDCB}"/>
              </a:ext>
            </a:extLst>
          </p:cNvPr>
          <p:cNvSpPr>
            <a:spLocks noGrp="1"/>
          </p:cNvSpPr>
          <p:nvPr>
            <p:ph type="pic" sz="quarter" idx="20" hasCustomPrompt="1"/>
          </p:nvPr>
        </p:nvSpPr>
        <p:spPr>
          <a:xfrm>
            <a:off x="8479769" y="323526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Partner Logo Card</a:t>
            </a:r>
          </a:p>
          <a:p>
            <a:endParaRPr lang="en-US"/>
          </a:p>
        </p:txBody>
      </p:sp>
      <p:sp>
        <p:nvSpPr>
          <p:cNvPr id="35" name="Picture Placeholder 16">
            <a:extLst>
              <a:ext uri="{FF2B5EF4-FFF2-40B4-BE49-F238E27FC236}">
                <a16:creationId xmlns:a16="http://schemas.microsoft.com/office/drawing/2014/main" id="{1EC8A212-B794-9E44-B793-311635902DD9}"/>
              </a:ext>
            </a:extLst>
          </p:cNvPr>
          <p:cNvSpPr>
            <a:spLocks noGrp="1"/>
          </p:cNvSpPr>
          <p:nvPr>
            <p:ph type="pic" sz="quarter" idx="21" hasCustomPrompt="1"/>
          </p:nvPr>
        </p:nvSpPr>
        <p:spPr>
          <a:xfrm>
            <a:off x="1362974" y="482252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Partner Logo Card</a:t>
            </a:r>
          </a:p>
          <a:p>
            <a:endParaRPr lang="en-US"/>
          </a:p>
        </p:txBody>
      </p:sp>
      <p:sp>
        <p:nvSpPr>
          <p:cNvPr id="36" name="Picture Placeholder 16">
            <a:extLst>
              <a:ext uri="{FF2B5EF4-FFF2-40B4-BE49-F238E27FC236}">
                <a16:creationId xmlns:a16="http://schemas.microsoft.com/office/drawing/2014/main" id="{6B2B31B2-8F76-E847-8111-BFB99DF6EF2E}"/>
              </a:ext>
            </a:extLst>
          </p:cNvPr>
          <p:cNvSpPr>
            <a:spLocks noGrp="1"/>
          </p:cNvSpPr>
          <p:nvPr>
            <p:ph type="pic" sz="quarter" idx="22" hasCustomPrompt="1"/>
          </p:nvPr>
        </p:nvSpPr>
        <p:spPr>
          <a:xfrm>
            <a:off x="3735239" y="482252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Partner Logo Card</a:t>
            </a:r>
          </a:p>
          <a:p>
            <a:endParaRPr lang="en-US"/>
          </a:p>
        </p:txBody>
      </p:sp>
      <p:sp>
        <p:nvSpPr>
          <p:cNvPr id="37" name="Picture Placeholder 16">
            <a:extLst>
              <a:ext uri="{FF2B5EF4-FFF2-40B4-BE49-F238E27FC236}">
                <a16:creationId xmlns:a16="http://schemas.microsoft.com/office/drawing/2014/main" id="{686D74D4-1F9B-A542-B7B0-55CEE074782B}"/>
              </a:ext>
            </a:extLst>
          </p:cNvPr>
          <p:cNvSpPr>
            <a:spLocks noGrp="1"/>
          </p:cNvSpPr>
          <p:nvPr>
            <p:ph type="pic" sz="quarter" idx="23" hasCustomPrompt="1"/>
          </p:nvPr>
        </p:nvSpPr>
        <p:spPr>
          <a:xfrm>
            <a:off x="6107504" y="482252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Partner Logo Card</a:t>
            </a:r>
          </a:p>
          <a:p>
            <a:endParaRPr lang="en-US"/>
          </a:p>
        </p:txBody>
      </p:sp>
      <p:sp>
        <p:nvSpPr>
          <p:cNvPr id="38" name="Picture Placeholder 16">
            <a:extLst>
              <a:ext uri="{FF2B5EF4-FFF2-40B4-BE49-F238E27FC236}">
                <a16:creationId xmlns:a16="http://schemas.microsoft.com/office/drawing/2014/main" id="{C1ADFF67-38E7-3147-8679-9D4BD45419A2}"/>
              </a:ext>
            </a:extLst>
          </p:cNvPr>
          <p:cNvSpPr>
            <a:spLocks noGrp="1"/>
          </p:cNvSpPr>
          <p:nvPr>
            <p:ph type="pic" sz="quarter" idx="24" hasCustomPrompt="1"/>
          </p:nvPr>
        </p:nvSpPr>
        <p:spPr>
          <a:xfrm>
            <a:off x="8479769" y="482252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Partner Logo Card</a:t>
            </a:r>
          </a:p>
          <a:p>
            <a:endParaRPr lang="en-US"/>
          </a:p>
        </p:txBody>
      </p:sp>
    </p:spTree>
    <p:extLst>
      <p:ext uri="{BB962C8B-B14F-4D97-AF65-F5344CB8AC3E}">
        <p14:creationId xmlns:p14="http://schemas.microsoft.com/office/powerpoint/2010/main" val="156693956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3_Integration Logo Layout_12-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a:xfrm>
            <a:off x="685800" y="291162"/>
            <a:ext cx="6471138" cy="1080438"/>
          </a:xfrm>
        </p:spPr>
        <p:txBody>
          <a:bodyPr/>
          <a:lstStyle/>
          <a:p>
            <a:r>
              <a:rPr lang="en-US"/>
              <a:t>Click to edit Master title style</a:t>
            </a:r>
          </a:p>
        </p:txBody>
      </p:sp>
      <p:sp>
        <p:nvSpPr>
          <p:cNvPr id="4" name="Logo protection area" hidden="1">
            <a:extLst>
              <a:ext uri="{FF2B5EF4-FFF2-40B4-BE49-F238E27FC236}">
                <a16:creationId xmlns:a16="http://schemas.microsoft.com/office/drawing/2014/main" id="{FB99A54E-C6B2-4241-929C-D09F70882EA8}"/>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6" name="Layout Protection area" hidden="1">
            <a:extLst>
              <a:ext uri="{FF2B5EF4-FFF2-40B4-BE49-F238E27FC236}">
                <a16:creationId xmlns:a16="http://schemas.microsoft.com/office/drawing/2014/main" id="{677B9344-2687-4991-B810-FB28E3B48818}"/>
              </a:ext>
            </a:extLst>
          </p:cNvPr>
          <p:cNvSpPr/>
          <p:nvPr userDrawn="1">
            <p:custDataLst>
              <p:tags r:id="rId2"/>
            </p:custDataLst>
          </p:nvPr>
        </p:nvSpPr>
        <p:spPr>
          <a:xfrm>
            <a:off x="0" y="1572242"/>
            <a:ext cx="12176098" cy="45193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8" name="Date Placeholder 7">
            <a:extLst>
              <a:ext uri="{FF2B5EF4-FFF2-40B4-BE49-F238E27FC236}">
                <a16:creationId xmlns:a16="http://schemas.microsoft.com/office/drawing/2014/main" id="{45E74DF7-BB83-284E-95F7-13CACA78441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9" name="Footer Placeholder 8">
            <a:extLst>
              <a:ext uri="{FF2B5EF4-FFF2-40B4-BE49-F238E27FC236}">
                <a16:creationId xmlns:a16="http://schemas.microsoft.com/office/drawing/2014/main" id="{905FAAC1-CE30-9249-9D0E-3961A845A77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0" name="Slide Number Placeholder 9">
            <a:extLst>
              <a:ext uri="{FF2B5EF4-FFF2-40B4-BE49-F238E27FC236}">
                <a16:creationId xmlns:a16="http://schemas.microsoft.com/office/drawing/2014/main" id="{1A232B96-DAC6-574F-8CC8-70E7F3E4662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
        <p:nvSpPr>
          <p:cNvPr id="17" name="Picture Placeholder 16">
            <a:extLst>
              <a:ext uri="{FF2B5EF4-FFF2-40B4-BE49-F238E27FC236}">
                <a16:creationId xmlns:a16="http://schemas.microsoft.com/office/drawing/2014/main" id="{A34822FC-A346-2748-A12C-597FDF4602C6}"/>
              </a:ext>
            </a:extLst>
          </p:cNvPr>
          <p:cNvSpPr>
            <a:spLocks noGrp="1"/>
          </p:cNvSpPr>
          <p:nvPr>
            <p:ph type="pic" sz="quarter" idx="13" hasCustomPrompt="1"/>
          </p:nvPr>
        </p:nvSpPr>
        <p:spPr>
          <a:xfrm>
            <a:off x="1362974" y="1648005"/>
            <a:ext cx="2351504" cy="1570396"/>
          </a:xfrm>
        </p:spPr>
        <p:txBody>
          <a:bodyPr/>
          <a:lstStyle/>
          <a:p>
            <a:r>
              <a:rPr lang="en-US"/>
              <a:t>Integration Logo Card</a:t>
            </a:r>
          </a:p>
        </p:txBody>
      </p:sp>
      <p:sp>
        <p:nvSpPr>
          <p:cNvPr id="19" name="Picture Placeholder 16">
            <a:extLst>
              <a:ext uri="{FF2B5EF4-FFF2-40B4-BE49-F238E27FC236}">
                <a16:creationId xmlns:a16="http://schemas.microsoft.com/office/drawing/2014/main" id="{2B3CA149-46CF-3C45-A5FE-E50DD162D901}"/>
              </a:ext>
            </a:extLst>
          </p:cNvPr>
          <p:cNvSpPr>
            <a:spLocks noGrp="1"/>
          </p:cNvSpPr>
          <p:nvPr>
            <p:ph type="pic" sz="quarter" idx="14" hasCustomPrompt="1"/>
          </p:nvPr>
        </p:nvSpPr>
        <p:spPr>
          <a:xfrm>
            <a:off x="3735239" y="164800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r>
              <a:rPr lang="en-US"/>
              <a:t>Integration Logo Card</a:t>
            </a:r>
          </a:p>
          <a:p>
            <a:endParaRPr lang="en-US"/>
          </a:p>
        </p:txBody>
      </p:sp>
      <p:sp>
        <p:nvSpPr>
          <p:cNvPr id="20" name="Picture Placeholder 16">
            <a:extLst>
              <a:ext uri="{FF2B5EF4-FFF2-40B4-BE49-F238E27FC236}">
                <a16:creationId xmlns:a16="http://schemas.microsoft.com/office/drawing/2014/main" id="{F0E46EBD-8F1B-564A-BD2E-0FD1D5633991}"/>
              </a:ext>
            </a:extLst>
          </p:cNvPr>
          <p:cNvSpPr>
            <a:spLocks noGrp="1"/>
          </p:cNvSpPr>
          <p:nvPr>
            <p:ph type="pic" sz="quarter" idx="15" hasCustomPrompt="1"/>
          </p:nvPr>
        </p:nvSpPr>
        <p:spPr>
          <a:xfrm>
            <a:off x="6107504" y="164800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r>
              <a:rPr lang="en-US"/>
              <a:t>Integration Logo Card</a:t>
            </a:r>
          </a:p>
          <a:p>
            <a:endParaRPr lang="en-US"/>
          </a:p>
        </p:txBody>
      </p:sp>
      <p:sp>
        <p:nvSpPr>
          <p:cNvPr id="21" name="Picture Placeholder 16">
            <a:extLst>
              <a:ext uri="{FF2B5EF4-FFF2-40B4-BE49-F238E27FC236}">
                <a16:creationId xmlns:a16="http://schemas.microsoft.com/office/drawing/2014/main" id="{14E827F3-C0AE-194C-BB46-D7B7A69C6E2A}"/>
              </a:ext>
            </a:extLst>
          </p:cNvPr>
          <p:cNvSpPr>
            <a:spLocks noGrp="1"/>
          </p:cNvSpPr>
          <p:nvPr>
            <p:ph type="pic" sz="quarter" idx="16" hasCustomPrompt="1"/>
          </p:nvPr>
        </p:nvSpPr>
        <p:spPr>
          <a:xfrm>
            <a:off x="8479769" y="164800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r>
              <a:rPr lang="en-US"/>
              <a:t>Integration Logo Card</a:t>
            </a:r>
          </a:p>
          <a:p>
            <a:endParaRPr lang="en-US"/>
          </a:p>
        </p:txBody>
      </p:sp>
      <p:sp>
        <p:nvSpPr>
          <p:cNvPr id="31" name="Picture Placeholder 16">
            <a:extLst>
              <a:ext uri="{FF2B5EF4-FFF2-40B4-BE49-F238E27FC236}">
                <a16:creationId xmlns:a16="http://schemas.microsoft.com/office/drawing/2014/main" id="{9DBCC32C-64B1-0449-B205-66502AD085A2}"/>
              </a:ext>
            </a:extLst>
          </p:cNvPr>
          <p:cNvSpPr>
            <a:spLocks noGrp="1"/>
          </p:cNvSpPr>
          <p:nvPr>
            <p:ph type="pic" sz="quarter" idx="17" hasCustomPrompt="1"/>
          </p:nvPr>
        </p:nvSpPr>
        <p:spPr>
          <a:xfrm>
            <a:off x="1362974" y="323526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r>
              <a:rPr lang="en-US"/>
              <a:t>Integration Logo Card</a:t>
            </a:r>
          </a:p>
          <a:p>
            <a:endParaRPr lang="en-US"/>
          </a:p>
        </p:txBody>
      </p:sp>
      <p:sp>
        <p:nvSpPr>
          <p:cNvPr id="32" name="Picture Placeholder 16">
            <a:extLst>
              <a:ext uri="{FF2B5EF4-FFF2-40B4-BE49-F238E27FC236}">
                <a16:creationId xmlns:a16="http://schemas.microsoft.com/office/drawing/2014/main" id="{7808ED03-2AAA-0440-8B94-BC8683E536B6}"/>
              </a:ext>
            </a:extLst>
          </p:cNvPr>
          <p:cNvSpPr>
            <a:spLocks noGrp="1"/>
          </p:cNvSpPr>
          <p:nvPr>
            <p:ph type="pic" sz="quarter" idx="18" hasCustomPrompt="1"/>
          </p:nvPr>
        </p:nvSpPr>
        <p:spPr>
          <a:xfrm>
            <a:off x="3735239" y="323526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r>
              <a:rPr lang="en-US"/>
              <a:t>Integration Logo Card</a:t>
            </a:r>
          </a:p>
          <a:p>
            <a:endParaRPr lang="en-US"/>
          </a:p>
        </p:txBody>
      </p:sp>
      <p:sp>
        <p:nvSpPr>
          <p:cNvPr id="33" name="Picture Placeholder 16">
            <a:extLst>
              <a:ext uri="{FF2B5EF4-FFF2-40B4-BE49-F238E27FC236}">
                <a16:creationId xmlns:a16="http://schemas.microsoft.com/office/drawing/2014/main" id="{35D9FD98-E4B5-0949-A8A4-716B7EB07C4A}"/>
              </a:ext>
            </a:extLst>
          </p:cNvPr>
          <p:cNvSpPr>
            <a:spLocks noGrp="1"/>
          </p:cNvSpPr>
          <p:nvPr>
            <p:ph type="pic" sz="quarter" idx="19" hasCustomPrompt="1"/>
          </p:nvPr>
        </p:nvSpPr>
        <p:spPr>
          <a:xfrm>
            <a:off x="6107504" y="323526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r>
              <a:rPr lang="en-US"/>
              <a:t>Integration Logo Card</a:t>
            </a:r>
          </a:p>
          <a:p>
            <a:endParaRPr lang="en-US"/>
          </a:p>
        </p:txBody>
      </p:sp>
      <p:sp>
        <p:nvSpPr>
          <p:cNvPr id="34" name="Picture Placeholder 16">
            <a:extLst>
              <a:ext uri="{FF2B5EF4-FFF2-40B4-BE49-F238E27FC236}">
                <a16:creationId xmlns:a16="http://schemas.microsoft.com/office/drawing/2014/main" id="{5A6317B4-E61D-5440-A60F-C2BA24C7BDCB}"/>
              </a:ext>
            </a:extLst>
          </p:cNvPr>
          <p:cNvSpPr>
            <a:spLocks noGrp="1"/>
          </p:cNvSpPr>
          <p:nvPr>
            <p:ph type="pic" sz="quarter" idx="20" hasCustomPrompt="1"/>
          </p:nvPr>
        </p:nvSpPr>
        <p:spPr>
          <a:xfrm>
            <a:off x="8479769" y="323526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r>
              <a:rPr lang="en-US"/>
              <a:t>Integration Logo Card</a:t>
            </a:r>
          </a:p>
          <a:p>
            <a:endParaRPr lang="en-US"/>
          </a:p>
        </p:txBody>
      </p:sp>
      <p:sp>
        <p:nvSpPr>
          <p:cNvPr id="35" name="Picture Placeholder 16">
            <a:extLst>
              <a:ext uri="{FF2B5EF4-FFF2-40B4-BE49-F238E27FC236}">
                <a16:creationId xmlns:a16="http://schemas.microsoft.com/office/drawing/2014/main" id="{1EC8A212-B794-9E44-B793-311635902DD9}"/>
              </a:ext>
            </a:extLst>
          </p:cNvPr>
          <p:cNvSpPr>
            <a:spLocks noGrp="1"/>
          </p:cNvSpPr>
          <p:nvPr>
            <p:ph type="pic" sz="quarter" idx="21" hasCustomPrompt="1"/>
          </p:nvPr>
        </p:nvSpPr>
        <p:spPr>
          <a:xfrm>
            <a:off x="1362974" y="482252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r>
              <a:rPr lang="en-US"/>
              <a:t>Integration Logo Card</a:t>
            </a:r>
          </a:p>
          <a:p>
            <a:endParaRPr lang="en-US"/>
          </a:p>
        </p:txBody>
      </p:sp>
      <p:sp>
        <p:nvSpPr>
          <p:cNvPr id="36" name="Picture Placeholder 16">
            <a:extLst>
              <a:ext uri="{FF2B5EF4-FFF2-40B4-BE49-F238E27FC236}">
                <a16:creationId xmlns:a16="http://schemas.microsoft.com/office/drawing/2014/main" id="{6B2B31B2-8F76-E847-8111-BFB99DF6EF2E}"/>
              </a:ext>
            </a:extLst>
          </p:cNvPr>
          <p:cNvSpPr>
            <a:spLocks noGrp="1"/>
          </p:cNvSpPr>
          <p:nvPr>
            <p:ph type="pic" sz="quarter" idx="22" hasCustomPrompt="1"/>
          </p:nvPr>
        </p:nvSpPr>
        <p:spPr>
          <a:xfrm>
            <a:off x="3735239" y="482252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r>
              <a:rPr lang="en-US"/>
              <a:t>Integration Logo Card</a:t>
            </a:r>
          </a:p>
          <a:p>
            <a:endParaRPr lang="en-US"/>
          </a:p>
        </p:txBody>
      </p:sp>
      <p:sp>
        <p:nvSpPr>
          <p:cNvPr id="37" name="Picture Placeholder 16">
            <a:extLst>
              <a:ext uri="{FF2B5EF4-FFF2-40B4-BE49-F238E27FC236}">
                <a16:creationId xmlns:a16="http://schemas.microsoft.com/office/drawing/2014/main" id="{686D74D4-1F9B-A542-B7B0-55CEE074782B}"/>
              </a:ext>
            </a:extLst>
          </p:cNvPr>
          <p:cNvSpPr>
            <a:spLocks noGrp="1"/>
          </p:cNvSpPr>
          <p:nvPr>
            <p:ph type="pic" sz="quarter" idx="23" hasCustomPrompt="1"/>
          </p:nvPr>
        </p:nvSpPr>
        <p:spPr>
          <a:xfrm>
            <a:off x="6107504" y="482252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r>
              <a:rPr lang="en-US"/>
              <a:t>Integration Logo Card</a:t>
            </a:r>
          </a:p>
          <a:p>
            <a:endParaRPr lang="en-US"/>
          </a:p>
        </p:txBody>
      </p:sp>
      <p:sp>
        <p:nvSpPr>
          <p:cNvPr id="38" name="Picture Placeholder 16">
            <a:extLst>
              <a:ext uri="{FF2B5EF4-FFF2-40B4-BE49-F238E27FC236}">
                <a16:creationId xmlns:a16="http://schemas.microsoft.com/office/drawing/2014/main" id="{C1ADFF67-38E7-3147-8679-9D4BD45419A2}"/>
              </a:ext>
            </a:extLst>
          </p:cNvPr>
          <p:cNvSpPr>
            <a:spLocks noGrp="1"/>
          </p:cNvSpPr>
          <p:nvPr>
            <p:ph type="pic" sz="quarter" idx="24" hasCustomPrompt="1"/>
          </p:nvPr>
        </p:nvSpPr>
        <p:spPr>
          <a:xfrm>
            <a:off x="8479769" y="4822525"/>
            <a:ext cx="2351504" cy="1570396"/>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r>
              <a:rPr lang="en-US"/>
              <a:t>Integration Logo Card</a:t>
            </a:r>
          </a:p>
          <a:p>
            <a:endParaRPr lang="en-US"/>
          </a:p>
        </p:txBody>
      </p:sp>
      <p:sp>
        <p:nvSpPr>
          <p:cNvPr id="11" name="Picture Placeholder 10">
            <a:extLst>
              <a:ext uri="{FF2B5EF4-FFF2-40B4-BE49-F238E27FC236}">
                <a16:creationId xmlns:a16="http://schemas.microsoft.com/office/drawing/2014/main" id="{CCD19D62-9B02-644B-8FB8-4D97DD1AEF7C}"/>
              </a:ext>
            </a:extLst>
          </p:cNvPr>
          <p:cNvSpPr>
            <a:spLocks noGrp="1"/>
          </p:cNvSpPr>
          <p:nvPr>
            <p:ph type="pic" sz="quarter" idx="25" hasCustomPrompt="1"/>
          </p:nvPr>
        </p:nvSpPr>
        <p:spPr>
          <a:xfrm>
            <a:off x="7626096" y="804672"/>
            <a:ext cx="3209544" cy="548640"/>
          </a:xfrm>
        </p:spPr>
        <p:txBody>
          <a:bodyPr>
            <a:noAutofit/>
          </a:bodyPr>
          <a:lstStyle>
            <a:lvl1pPr>
              <a:defRPr sz="1800"/>
            </a:lvl1pPr>
          </a:lstStyle>
          <a:p>
            <a:r>
              <a:rPr lang="en-US"/>
              <a:t>Place  Stacked Anthology Product Wordmark Here</a:t>
            </a:r>
          </a:p>
        </p:txBody>
      </p:sp>
    </p:spTree>
    <p:extLst>
      <p:ext uri="{BB962C8B-B14F-4D97-AF65-F5344CB8AC3E}">
        <p14:creationId xmlns:p14="http://schemas.microsoft.com/office/powerpoint/2010/main" val="28797001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ree Presenters">
    <p:spTree>
      <p:nvGrpSpPr>
        <p:cNvPr id="1" name=""/>
        <p:cNvGrpSpPr/>
        <p:nvPr/>
      </p:nvGrpSpPr>
      <p:grpSpPr>
        <a:xfrm>
          <a:off x="0" y="0"/>
          <a:ext cx="0" cy="0"/>
          <a:chOff x="0" y="0"/>
          <a:chExt cx="0" cy="0"/>
        </a:xfrm>
      </p:grpSpPr>
      <p:sp>
        <p:nvSpPr>
          <p:cNvPr id="32" name="Text Placeholder 8">
            <a:extLst>
              <a:ext uri="{FF2B5EF4-FFF2-40B4-BE49-F238E27FC236}">
                <a16:creationId xmlns:a16="http://schemas.microsoft.com/office/drawing/2014/main" id="{8F289818-772D-A140-AA34-CF35FE3184CE}"/>
              </a:ext>
            </a:extLst>
          </p:cNvPr>
          <p:cNvSpPr>
            <a:spLocks noGrp="1"/>
          </p:cNvSpPr>
          <p:nvPr>
            <p:ph type="body" sz="quarter" idx="17"/>
          </p:nvPr>
        </p:nvSpPr>
        <p:spPr>
          <a:xfrm>
            <a:off x="559957" y="3816627"/>
            <a:ext cx="3369842" cy="457200"/>
          </a:xfrm>
        </p:spPr>
        <p:txBody>
          <a:bodyPr anchor="b" anchorCtr="0">
            <a:normAutofit/>
          </a:bodyPr>
          <a:lstStyle>
            <a:lvl1pPr marL="0" indent="0" algn="ctr">
              <a:buFont typeface="Arial" panose="020B0604020202020204" pitchFamily="34" charset="0"/>
              <a:buChar char="​"/>
              <a:defRPr sz="1600" b="0" i="0" spc="0">
                <a:latin typeface="+mj-lt"/>
                <a:ea typeface="Roboto Medium" panose="02000000000000000000" pitchFamily="2" charset="0"/>
                <a:cs typeface="Roboto Medium" panose="02000000000000000000" pitchFamily="2" charset="0"/>
              </a:defRPr>
            </a:lvl1pPr>
          </a:lstStyle>
          <a:p>
            <a:pPr lvl="0"/>
            <a:r>
              <a:rPr lang="en-US"/>
              <a:t>Click to edit Master text styles</a:t>
            </a:r>
          </a:p>
        </p:txBody>
      </p:sp>
      <p:sp>
        <p:nvSpPr>
          <p:cNvPr id="33" name="Text Placeholder 10">
            <a:extLst>
              <a:ext uri="{FF2B5EF4-FFF2-40B4-BE49-F238E27FC236}">
                <a16:creationId xmlns:a16="http://schemas.microsoft.com/office/drawing/2014/main" id="{B4C7420B-45DC-474D-99FE-866DCAFF6544}"/>
              </a:ext>
            </a:extLst>
          </p:cNvPr>
          <p:cNvSpPr>
            <a:spLocks noGrp="1"/>
          </p:cNvSpPr>
          <p:nvPr>
            <p:ph type="body" sz="quarter" idx="18"/>
          </p:nvPr>
        </p:nvSpPr>
        <p:spPr>
          <a:xfrm>
            <a:off x="559957" y="4387660"/>
            <a:ext cx="3369842" cy="1236953"/>
          </a:xfrm>
        </p:spPr>
        <p:txBody>
          <a:bodyPr anchor="t" anchorCtr="0">
            <a:normAutofit/>
          </a:bodyPr>
          <a:lstStyle>
            <a:lvl1pPr marL="0" indent="0" algn="ctr">
              <a:buFont typeface="Arial" panose="020B0604020202020204" pitchFamily="34" charset="0"/>
              <a:buChar char="​"/>
              <a:defRPr sz="1600" b="0" i="0">
                <a:latin typeface="+mn-lt"/>
              </a:defRPr>
            </a:lvl1pPr>
          </a:lstStyle>
          <a:p>
            <a:pPr lvl="0"/>
            <a:r>
              <a:rPr lang="en-US"/>
              <a:t>Click to edit Master text styles</a:t>
            </a:r>
          </a:p>
        </p:txBody>
      </p:sp>
      <p:sp>
        <p:nvSpPr>
          <p:cNvPr id="37" name="Text Placeholder 8">
            <a:extLst>
              <a:ext uri="{FF2B5EF4-FFF2-40B4-BE49-F238E27FC236}">
                <a16:creationId xmlns:a16="http://schemas.microsoft.com/office/drawing/2014/main" id="{1806358C-2118-AD48-8DC7-BFF5D95DFFD0}"/>
              </a:ext>
            </a:extLst>
          </p:cNvPr>
          <p:cNvSpPr>
            <a:spLocks noGrp="1"/>
          </p:cNvSpPr>
          <p:nvPr>
            <p:ph type="body" sz="quarter" idx="34"/>
          </p:nvPr>
        </p:nvSpPr>
        <p:spPr>
          <a:xfrm>
            <a:off x="4414400" y="3816627"/>
            <a:ext cx="3369842" cy="457200"/>
          </a:xfrm>
        </p:spPr>
        <p:txBody>
          <a:bodyPr anchor="b" anchorCtr="0">
            <a:normAutofit/>
          </a:bodyPr>
          <a:lstStyle>
            <a:lvl1pPr marL="0" indent="0" algn="ctr">
              <a:buFont typeface="Arial" panose="020B0604020202020204" pitchFamily="34" charset="0"/>
              <a:buChar char="​"/>
              <a:defRPr sz="1600" b="0" i="0" spc="0">
                <a:latin typeface="+mj-lt"/>
                <a:ea typeface="Roboto Medium" panose="02000000000000000000" pitchFamily="2" charset="0"/>
                <a:cs typeface="Roboto Medium" panose="02000000000000000000" pitchFamily="2" charset="0"/>
              </a:defRPr>
            </a:lvl1pPr>
          </a:lstStyle>
          <a:p>
            <a:pPr lvl="0"/>
            <a:r>
              <a:rPr lang="en-US"/>
              <a:t>Click to edit Master text styles</a:t>
            </a:r>
          </a:p>
        </p:txBody>
      </p:sp>
      <p:sp>
        <p:nvSpPr>
          <p:cNvPr id="38" name="Text Placeholder 10">
            <a:extLst>
              <a:ext uri="{FF2B5EF4-FFF2-40B4-BE49-F238E27FC236}">
                <a16:creationId xmlns:a16="http://schemas.microsoft.com/office/drawing/2014/main" id="{D31ACDCC-87C2-FF49-8E7C-B02BAB919A48}"/>
              </a:ext>
            </a:extLst>
          </p:cNvPr>
          <p:cNvSpPr>
            <a:spLocks noGrp="1"/>
          </p:cNvSpPr>
          <p:nvPr>
            <p:ph type="body" sz="quarter" idx="35"/>
          </p:nvPr>
        </p:nvSpPr>
        <p:spPr>
          <a:xfrm>
            <a:off x="4414400" y="4387660"/>
            <a:ext cx="3369842" cy="1236953"/>
          </a:xfrm>
        </p:spPr>
        <p:txBody>
          <a:bodyPr anchor="t" anchorCtr="0">
            <a:normAutofit/>
          </a:bodyPr>
          <a:lstStyle>
            <a:lvl1pPr marL="0" indent="0" algn="ctr">
              <a:buFont typeface="Arial" panose="020B0604020202020204" pitchFamily="34" charset="0"/>
              <a:buChar char="​"/>
              <a:defRPr sz="1600" b="0" i="0">
                <a:latin typeface="+mn-lt"/>
              </a:defRPr>
            </a:lvl1pPr>
          </a:lstStyle>
          <a:p>
            <a:pPr lvl="0"/>
            <a:r>
              <a:rPr lang="en-US"/>
              <a:t>Click to edit Master text styles</a:t>
            </a:r>
          </a:p>
        </p:txBody>
      </p:sp>
      <p:sp>
        <p:nvSpPr>
          <p:cNvPr id="43" name="Text Placeholder 8">
            <a:extLst>
              <a:ext uri="{FF2B5EF4-FFF2-40B4-BE49-F238E27FC236}">
                <a16:creationId xmlns:a16="http://schemas.microsoft.com/office/drawing/2014/main" id="{C5969C60-04C2-7E41-B02E-762EF54C5B09}"/>
              </a:ext>
            </a:extLst>
          </p:cNvPr>
          <p:cNvSpPr>
            <a:spLocks noGrp="1"/>
          </p:cNvSpPr>
          <p:nvPr>
            <p:ph type="body" sz="quarter" idx="37"/>
          </p:nvPr>
        </p:nvSpPr>
        <p:spPr>
          <a:xfrm>
            <a:off x="8268843" y="3816627"/>
            <a:ext cx="3369842" cy="457200"/>
          </a:xfrm>
        </p:spPr>
        <p:txBody>
          <a:bodyPr anchor="b" anchorCtr="0">
            <a:normAutofit/>
          </a:bodyPr>
          <a:lstStyle>
            <a:lvl1pPr marL="0" indent="0" algn="ctr">
              <a:buFont typeface="Arial" panose="020B0604020202020204" pitchFamily="34" charset="0"/>
              <a:buChar char="​"/>
              <a:defRPr sz="1600" b="0" i="0" spc="0">
                <a:latin typeface="+mj-lt"/>
                <a:ea typeface="Roboto Medium" panose="02000000000000000000" pitchFamily="2" charset="0"/>
                <a:cs typeface="Roboto Medium" panose="02000000000000000000" pitchFamily="2" charset="0"/>
              </a:defRPr>
            </a:lvl1pPr>
          </a:lstStyle>
          <a:p>
            <a:pPr lvl="0"/>
            <a:r>
              <a:rPr lang="en-US"/>
              <a:t>Click to edit Master text styles</a:t>
            </a:r>
          </a:p>
        </p:txBody>
      </p:sp>
      <p:sp>
        <p:nvSpPr>
          <p:cNvPr id="44" name="Text Placeholder 10">
            <a:extLst>
              <a:ext uri="{FF2B5EF4-FFF2-40B4-BE49-F238E27FC236}">
                <a16:creationId xmlns:a16="http://schemas.microsoft.com/office/drawing/2014/main" id="{7263B8DA-A316-9240-A2F3-0657819DEF28}"/>
              </a:ext>
            </a:extLst>
          </p:cNvPr>
          <p:cNvSpPr>
            <a:spLocks noGrp="1"/>
          </p:cNvSpPr>
          <p:nvPr>
            <p:ph type="body" sz="quarter" idx="38"/>
          </p:nvPr>
        </p:nvSpPr>
        <p:spPr>
          <a:xfrm>
            <a:off x="8268843" y="4387660"/>
            <a:ext cx="3369842" cy="1236953"/>
          </a:xfrm>
        </p:spPr>
        <p:txBody>
          <a:bodyPr anchor="t" anchorCtr="0">
            <a:normAutofit/>
          </a:bodyPr>
          <a:lstStyle>
            <a:lvl1pPr marL="0" indent="0" algn="ctr">
              <a:buFont typeface="Arial" panose="020B0604020202020204" pitchFamily="34" charset="0"/>
              <a:buChar char="​"/>
              <a:defRPr sz="1600" b="0" i="0">
                <a:latin typeface="+mn-lt"/>
              </a:defRPr>
            </a:lvl1pPr>
          </a:lstStyle>
          <a:p>
            <a:pPr lvl="0"/>
            <a:r>
              <a:rPr lang="en-US"/>
              <a:t>Click to edit Master text styles</a:t>
            </a:r>
          </a:p>
        </p:txBody>
      </p:sp>
      <p:sp>
        <p:nvSpPr>
          <p:cNvPr id="29" name="Rectangle 28">
            <a:extLst>
              <a:ext uri="{FF2B5EF4-FFF2-40B4-BE49-F238E27FC236}">
                <a16:creationId xmlns:a16="http://schemas.microsoft.com/office/drawing/2014/main" id="{E3AD3F1B-6514-1946-9D1A-5523E60EB659}"/>
              </a:ext>
              <a:ext uri="{C183D7F6-B498-43B3-948B-1728B52AA6E4}">
                <adec:decorative xmlns:adec="http://schemas.microsoft.com/office/drawing/2017/decorative" val="1"/>
              </a:ext>
            </a:extLst>
          </p:cNvPr>
          <p:cNvSpPr/>
          <p:nvPr userDrawn="1"/>
        </p:nvSpPr>
        <p:spPr>
          <a:xfrm>
            <a:off x="1151351" y="1632758"/>
            <a:ext cx="2064618" cy="199502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unito Sans Light" pitchFamily="2" charset="77"/>
            </a:endParaRPr>
          </a:p>
        </p:txBody>
      </p:sp>
      <p:sp>
        <p:nvSpPr>
          <p:cNvPr id="30" name="Rectangle 29">
            <a:extLst>
              <a:ext uri="{FF2B5EF4-FFF2-40B4-BE49-F238E27FC236}">
                <a16:creationId xmlns:a16="http://schemas.microsoft.com/office/drawing/2014/main" id="{B7245169-8F76-8C4A-BCB7-A88BE50181AA}"/>
              </a:ext>
              <a:ext uri="{C183D7F6-B498-43B3-948B-1728B52AA6E4}">
                <adec:decorative xmlns:adec="http://schemas.microsoft.com/office/drawing/2017/decorative" val="1"/>
              </a:ext>
            </a:extLst>
          </p:cNvPr>
          <p:cNvSpPr/>
          <p:nvPr userDrawn="1"/>
        </p:nvSpPr>
        <p:spPr>
          <a:xfrm>
            <a:off x="1241887" y="1632758"/>
            <a:ext cx="1992789" cy="1995024"/>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unito Sans Light" pitchFamily="2" charset="77"/>
              </a:rPr>
              <a:t>  </a:t>
            </a:r>
          </a:p>
        </p:txBody>
      </p:sp>
      <p:sp>
        <p:nvSpPr>
          <p:cNvPr id="31" name="TextBox 30">
            <a:extLst>
              <a:ext uri="{FF2B5EF4-FFF2-40B4-BE49-F238E27FC236}">
                <a16:creationId xmlns:a16="http://schemas.microsoft.com/office/drawing/2014/main" id="{38DBF907-AC21-9141-8503-A925D9043E04}"/>
              </a:ext>
              <a:ext uri="{C183D7F6-B498-43B3-948B-1728B52AA6E4}">
                <adec:decorative xmlns:adec="http://schemas.microsoft.com/office/drawing/2017/decorative" val="1"/>
              </a:ext>
            </a:extLst>
          </p:cNvPr>
          <p:cNvSpPr txBox="1"/>
          <p:nvPr userDrawn="1"/>
        </p:nvSpPr>
        <p:spPr>
          <a:xfrm>
            <a:off x="1569936" y="2704272"/>
            <a:ext cx="1336690" cy="369332"/>
          </a:xfrm>
          <a:prstGeom prst="rect">
            <a:avLst/>
          </a:prstGeom>
          <a:noFill/>
        </p:spPr>
        <p:txBody>
          <a:bodyPr wrap="square" rtlCol="0">
            <a:spAutoFit/>
          </a:bodyPr>
          <a:lstStyle/>
          <a:p>
            <a:pPr algn="ctr"/>
            <a:r>
              <a:rPr lang="en-US" b="0" i="0">
                <a:latin typeface="Nunito Sans Light" pitchFamily="2" charset="77"/>
                <a:ea typeface="Roboto Medium" panose="02000000000000000000" pitchFamily="2" charset="0"/>
                <a:cs typeface="Roboto Medium" panose="02000000000000000000" pitchFamily="2" charset="0"/>
              </a:rPr>
              <a:t>Headshot</a:t>
            </a:r>
          </a:p>
        </p:txBody>
      </p:sp>
      <p:sp>
        <p:nvSpPr>
          <p:cNvPr id="27" name="Rectangle 26">
            <a:extLst>
              <a:ext uri="{FF2B5EF4-FFF2-40B4-BE49-F238E27FC236}">
                <a16:creationId xmlns:a16="http://schemas.microsoft.com/office/drawing/2014/main" id="{AF62260E-9D76-7942-A4B5-933CE4A3AD9F}"/>
              </a:ext>
              <a:ext uri="{C183D7F6-B498-43B3-948B-1728B52AA6E4}">
                <adec:decorative xmlns:adec="http://schemas.microsoft.com/office/drawing/2017/decorative" val="1"/>
              </a:ext>
            </a:extLst>
          </p:cNvPr>
          <p:cNvSpPr/>
          <p:nvPr userDrawn="1"/>
        </p:nvSpPr>
        <p:spPr>
          <a:xfrm>
            <a:off x="5005794" y="1632758"/>
            <a:ext cx="2064618" cy="199502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unito Sans Light" pitchFamily="2" charset="77"/>
            </a:endParaRPr>
          </a:p>
        </p:txBody>
      </p:sp>
      <p:sp>
        <p:nvSpPr>
          <p:cNvPr id="28" name="Rectangle 27">
            <a:extLst>
              <a:ext uri="{FF2B5EF4-FFF2-40B4-BE49-F238E27FC236}">
                <a16:creationId xmlns:a16="http://schemas.microsoft.com/office/drawing/2014/main" id="{B8BE99DF-26B9-C847-BE78-DC21AE6A9678}"/>
              </a:ext>
              <a:ext uri="{C183D7F6-B498-43B3-948B-1728B52AA6E4}">
                <adec:decorative xmlns:adec="http://schemas.microsoft.com/office/drawing/2017/decorative" val="1"/>
              </a:ext>
            </a:extLst>
          </p:cNvPr>
          <p:cNvSpPr/>
          <p:nvPr userDrawn="1"/>
        </p:nvSpPr>
        <p:spPr>
          <a:xfrm>
            <a:off x="5096330" y="1632758"/>
            <a:ext cx="1992789" cy="1995024"/>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unito Sans Light" pitchFamily="2" charset="77"/>
              </a:rPr>
              <a:t>  </a:t>
            </a:r>
          </a:p>
        </p:txBody>
      </p:sp>
      <p:sp>
        <p:nvSpPr>
          <p:cNvPr id="34" name="TextBox 33">
            <a:extLst>
              <a:ext uri="{FF2B5EF4-FFF2-40B4-BE49-F238E27FC236}">
                <a16:creationId xmlns:a16="http://schemas.microsoft.com/office/drawing/2014/main" id="{D248FFF7-0332-144A-A0AD-621E6FBDB42F}"/>
              </a:ext>
              <a:ext uri="{C183D7F6-B498-43B3-948B-1728B52AA6E4}">
                <adec:decorative xmlns:adec="http://schemas.microsoft.com/office/drawing/2017/decorative" val="1"/>
              </a:ext>
            </a:extLst>
          </p:cNvPr>
          <p:cNvSpPr txBox="1"/>
          <p:nvPr userDrawn="1"/>
        </p:nvSpPr>
        <p:spPr>
          <a:xfrm>
            <a:off x="5424379" y="2704272"/>
            <a:ext cx="1336690" cy="369332"/>
          </a:xfrm>
          <a:prstGeom prst="rect">
            <a:avLst/>
          </a:prstGeom>
          <a:noFill/>
        </p:spPr>
        <p:txBody>
          <a:bodyPr wrap="square" rtlCol="0">
            <a:spAutoFit/>
          </a:bodyPr>
          <a:lstStyle/>
          <a:p>
            <a:pPr algn="ctr"/>
            <a:r>
              <a:rPr lang="en-US" b="0" i="0">
                <a:latin typeface="Nunito Sans Light" pitchFamily="2" charset="77"/>
                <a:ea typeface="Roboto Medium" panose="02000000000000000000" pitchFamily="2" charset="0"/>
                <a:cs typeface="Roboto Medium" panose="02000000000000000000" pitchFamily="2" charset="0"/>
              </a:rPr>
              <a:t>Headshot</a:t>
            </a:r>
          </a:p>
        </p:txBody>
      </p:sp>
      <p:sp>
        <p:nvSpPr>
          <p:cNvPr id="39" name="Rectangle 38">
            <a:extLst>
              <a:ext uri="{FF2B5EF4-FFF2-40B4-BE49-F238E27FC236}">
                <a16:creationId xmlns:a16="http://schemas.microsoft.com/office/drawing/2014/main" id="{FE0F2FC3-6571-A642-B6BB-80E9C3D52DCC}"/>
              </a:ext>
              <a:ext uri="{C183D7F6-B498-43B3-948B-1728B52AA6E4}">
                <adec:decorative xmlns:adec="http://schemas.microsoft.com/office/drawing/2017/decorative" val="1"/>
              </a:ext>
            </a:extLst>
          </p:cNvPr>
          <p:cNvSpPr/>
          <p:nvPr userDrawn="1"/>
        </p:nvSpPr>
        <p:spPr>
          <a:xfrm>
            <a:off x="8860237" y="1632758"/>
            <a:ext cx="2064618" cy="199502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unito Sans Light" pitchFamily="2" charset="77"/>
            </a:endParaRPr>
          </a:p>
        </p:txBody>
      </p:sp>
      <p:sp>
        <p:nvSpPr>
          <p:cNvPr id="40" name="Rectangle 39">
            <a:extLst>
              <a:ext uri="{FF2B5EF4-FFF2-40B4-BE49-F238E27FC236}">
                <a16:creationId xmlns:a16="http://schemas.microsoft.com/office/drawing/2014/main" id="{320F946D-A5EF-6945-8730-6C1D3B5016D3}"/>
              </a:ext>
              <a:ext uri="{C183D7F6-B498-43B3-948B-1728B52AA6E4}">
                <adec:decorative xmlns:adec="http://schemas.microsoft.com/office/drawing/2017/decorative" val="1"/>
              </a:ext>
            </a:extLst>
          </p:cNvPr>
          <p:cNvSpPr/>
          <p:nvPr userDrawn="1"/>
        </p:nvSpPr>
        <p:spPr>
          <a:xfrm>
            <a:off x="8950773" y="1632758"/>
            <a:ext cx="1992789" cy="1995024"/>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0" i="0">
                <a:latin typeface="Nunito Sans Light" pitchFamily="2" charset="77"/>
              </a:rPr>
              <a:t>  </a:t>
            </a:r>
          </a:p>
        </p:txBody>
      </p:sp>
      <p:sp>
        <p:nvSpPr>
          <p:cNvPr id="41" name="TextBox 40">
            <a:extLst>
              <a:ext uri="{FF2B5EF4-FFF2-40B4-BE49-F238E27FC236}">
                <a16:creationId xmlns:a16="http://schemas.microsoft.com/office/drawing/2014/main" id="{C10FFE3A-65DE-9840-9F8C-4753A6E18C73}"/>
              </a:ext>
              <a:ext uri="{C183D7F6-B498-43B3-948B-1728B52AA6E4}">
                <adec:decorative xmlns:adec="http://schemas.microsoft.com/office/drawing/2017/decorative" val="1"/>
              </a:ext>
            </a:extLst>
          </p:cNvPr>
          <p:cNvSpPr txBox="1"/>
          <p:nvPr userDrawn="1"/>
        </p:nvSpPr>
        <p:spPr>
          <a:xfrm>
            <a:off x="9278822" y="2704272"/>
            <a:ext cx="1336690" cy="369332"/>
          </a:xfrm>
          <a:prstGeom prst="rect">
            <a:avLst/>
          </a:prstGeom>
          <a:noFill/>
        </p:spPr>
        <p:txBody>
          <a:bodyPr wrap="square" rtlCol="0">
            <a:spAutoFit/>
          </a:bodyPr>
          <a:lstStyle/>
          <a:p>
            <a:pPr algn="ctr"/>
            <a:r>
              <a:rPr lang="en-US" b="0" i="0">
                <a:latin typeface="Nunito Sans Light" pitchFamily="2" charset="77"/>
                <a:ea typeface="Roboto Medium" panose="02000000000000000000" pitchFamily="2" charset="0"/>
                <a:cs typeface="Roboto Medium" panose="02000000000000000000" pitchFamily="2" charset="0"/>
              </a:rPr>
              <a:t>Headshot</a:t>
            </a:r>
          </a:p>
        </p:txBody>
      </p:sp>
      <p:sp>
        <p:nvSpPr>
          <p:cNvPr id="36" name="Picture Placeholder 5">
            <a:extLst>
              <a:ext uri="{FF2B5EF4-FFF2-40B4-BE49-F238E27FC236}">
                <a16:creationId xmlns:a16="http://schemas.microsoft.com/office/drawing/2014/main" id="{951E437E-C5AA-3740-8222-BE69F3897B3F}"/>
              </a:ext>
              <a:ext uri="{C183D7F6-B498-43B3-948B-1728B52AA6E4}">
                <adec:decorative xmlns:adec="http://schemas.microsoft.com/office/drawing/2017/decorative" val="1"/>
              </a:ext>
            </a:extLst>
          </p:cNvPr>
          <p:cNvSpPr>
            <a:spLocks noGrp="1"/>
          </p:cNvSpPr>
          <p:nvPr>
            <p:ph type="pic" sz="quarter" idx="28" hasCustomPrompt="1"/>
          </p:nvPr>
        </p:nvSpPr>
        <p:spPr>
          <a:xfrm>
            <a:off x="1241920" y="1632758"/>
            <a:ext cx="1992763" cy="1995024"/>
          </a:xfrm>
        </p:spPr>
        <p:txBody>
          <a:bodyPr tIns="274320">
            <a:normAutofit/>
          </a:bodyPr>
          <a:lstStyle>
            <a:lvl1pPr algn="ctr">
              <a:buNone/>
              <a:defRPr sz="1800" b="0" i="0"/>
            </a:lvl1pPr>
          </a:lstStyle>
          <a:p>
            <a:r>
              <a:rPr lang="en-US"/>
              <a:t>Click icon to insert image</a:t>
            </a:r>
          </a:p>
        </p:txBody>
      </p:sp>
      <p:sp>
        <p:nvSpPr>
          <p:cNvPr id="35" name="Picture Placeholder 5">
            <a:extLst>
              <a:ext uri="{FF2B5EF4-FFF2-40B4-BE49-F238E27FC236}">
                <a16:creationId xmlns:a16="http://schemas.microsoft.com/office/drawing/2014/main" id="{28A656F3-14D7-8246-8110-A861E4943E2F}"/>
              </a:ext>
              <a:ext uri="{C183D7F6-B498-43B3-948B-1728B52AA6E4}">
                <adec:decorative xmlns:adec="http://schemas.microsoft.com/office/drawing/2017/decorative" val="1"/>
              </a:ext>
            </a:extLst>
          </p:cNvPr>
          <p:cNvSpPr>
            <a:spLocks noGrp="1"/>
          </p:cNvSpPr>
          <p:nvPr>
            <p:ph type="pic" sz="quarter" idx="33" hasCustomPrompt="1"/>
          </p:nvPr>
        </p:nvSpPr>
        <p:spPr>
          <a:xfrm>
            <a:off x="5096363" y="1632758"/>
            <a:ext cx="1992763" cy="1995024"/>
          </a:xfrm>
        </p:spPr>
        <p:txBody>
          <a:bodyPr tIns="274320">
            <a:normAutofit/>
          </a:bodyPr>
          <a:lstStyle>
            <a:lvl1pPr algn="ctr">
              <a:buNone/>
              <a:defRPr sz="1800" b="0" i="0"/>
            </a:lvl1pPr>
          </a:lstStyle>
          <a:p>
            <a:r>
              <a:rPr lang="en-US"/>
              <a:t>Click icon to insert image</a:t>
            </a:r>
          </a:p>
        </p:txBody>
      </p:sp>
      <p:sp>
        <p:nvSpPr>
          <p:cNvPr id="42" name="Picture Placeholder 5">
            <a:extLst>
              <a:ext uri="{FF2B5EF4-FFF2-40B4-BE49-F238E27FC236}">
                <a16:creationId xmlns:a16="http://schemas.microsoft.com/office/drawing/2014/main" id="{FE400214-434D-6945-93FB-1AF8D0D74D34}"/>
              </a:ext>
              <a:ext uri="{C183D7F6-B498-43B3-948B-1728B52AA6E4}">
                <adec:decorative xmlns:adec="http://schemas.microsoft.com/office/drawing/2017/decorative" val="1"/>
              </a:ext>
            </a:extLst>
          </p:cNvPr>
          <p:cNvSpPr>
            <a:spLocks noGrp="1"/>
          </p:cNvSpPr>
          <p:nvPr>
            <p:ph type="pic" sz="quarter" idx="36" hasCustomPrompt="1"/>
          </p:nvPr>
        </p:nvSpPr>
        <p:spPr>
          <a:xfrm>
            <a:off x="8950806" y="1632758"/>
            <a:ext cx="1992763" cy="1995024"/>
          </a:xfrm>
        </p:spPr>
        <p:txBody>
          <a:bodyPr tIns="274320">
            <a:normAutofit/>
          </a:bodyPr>
          <a:lstStyle>
            <a:lvl1pPr algn="ctr">
              <a:buNone/>
              <a:defRPr sz="1800" b="0" i="0"/>
            </a:lvl1pPr>
          </a:lstStyle>
          <a:p>
            <a:r>
              <a:rPr lang="en-US"/>
              <a:t>Click icon to insert image</a:t>
            </a:r>
          </a:p>
        </p:txBody>
      </p:sp>
      <p:sp>
        <p:nvSpPr>
          <p:cNvPr id="6" name="Footer Placeholder 5" hidden="1">
            <a:extLst>
              <a:ext uri="{FF2B5EF4-FFF2-40B4-BE49-F238E27FC236}">
                <a16:creationId xmlns:a16="http://schemas.microsoft.com/office/drawing/2014/main" id="{65FAC813-B34C-46E5-BA68-FE76BFC664A6}"/>
              </a:ext>
            </a:extLst>
          </p:cNvPr>
          <p:cNvSpPr>
            <a:spLocks noGrp="1"/>
          </p:cNvSpPr>
          <p:nvPr>
            <p:ph type="ftr" sz="quarter" idx="31"/>
          </p:nvPr>
        </p:nvSpPr>
        <p:spPr/>
        <p:txBody>
          <a:bodyPr/>
          <a:lstStyle/>
          <a:p>
            <a:pPr algn="r"/>
            <a:endParaRPr lang="en-US"/>
          </a:p>
        </p:txBody>
      </p:sp>
      <p:sp>
        <p:nvSpPr>
          <p:cNvPr id="2" name="Date Placeholder 1" hidden="1">
            <a:extLst>
              <a:ext uri="{FF2B5EF4-FFF2-40B4-BE49-F238E27FC236}">
                <a16:creationId xmlns:a16="http://schemas.microsoft.com/office/drawing/2014/main" id="{BEC7E80B-BEA4-402F-83AA-50D9834C817E}"/>
              </a:ext>
            </a:extLst>
          </p:cNvPr>
          <p:cNvSpPr>
            <a:spLocks noGrp="1"/>
          </p:cNvSpPr>
          <p:nvPr>
            <p:ph type="dt" sz="half" idx="30"/>
          </p:nvPr>
        </p:nvSpPr>
        <p:spPr/>
        <p:txBody>
          <a:bodyPr/>
          <a:lstStyle/>
          <a:p>
            <a:fld id="{77AA6E6C-BB3E-E94D-B480-811E6A5390FE}" type="datetime1">
              <a:rPr lang="en-US"/>
              <a:pPr/>
              <a:t>5/10/2023</a:t>
            </a:fld>
            <a:endParaRPr lang="en-US"/>
          </a:p>
        </p:txBody>
      </p:sp>
      <p:sp>
        <p:nvSpPr>
          <p:cNvPr id="7" name="Slide Number Placeholder 6">
            <a:extLst>
              <a:ext uri="{FF2B5EF4-FFF2-40B4-BE49-F238E27FC236}">
                <a16:creationId xmlns:a16="http://schemas.microsoft.com/office/drawing/2014/main" id="{7F380CA8-A72A-4D2A-9CC8-3A5723A3AB1D}"/>
              </a:ext>
            </a:extLst>
          </p:cNvPr>
          <p:cNvSpPr>
            <a:spLocks noGrp="1"/>
          </p:cNvSpPr>
          <p:nvPr>
            <p:ph type="sldNum" sz="quarter" idx="32"/>
          </p:nvPr>
        </p:nvSpPr>
        <p:spPr/>
        <p:txBody>
          <a:bodyPr/>
          <a:lstStyle/>
          <a:p>
            <a:fld id="{7F9396FD-A8D2-5548-97AD-44EE9AACF15F}" type="slidenum">
              <a:rPr lang="en-US"/>
              <a:pPr/>
              <a:t>‹#›</a:t>
            </a:fld>
            <a:endParaRPr lang="en-US"/>
          </a:p>
        </p:txBody>
      </p:sp>
    </p:spTree>
    <p:extLst>
      <p:ext uri="{BB962C8B-B14F-4D97-AF65-F5344CB8AC3E}">
        <p14:creationId xmlns:p14="http://schemas.microsoft.com/office/powerpoint/2010/main" val="1337297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Awards Layout_4-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45E74DF7-BB83-284E-95F7-13CACA78441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9" name="Footer Placeholder 8">
            <a:extLst>
              <a:ext uri="{FF2B5EF4-FFF2-40B4-BE49-F238E27FC236}">
                <a16:creationId xmlns:a16="http://schemas.microsoft.com/office/drawing/2014/main" id="{905FAAC1-CE30-9249-9D0E-3961A845A77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0" name="Slide Number Placeholder 9">
            <a:extLst>
              <a:ext uri="{FF2B5EF4-FFF2-40B4-BE49-F238E27FC236}">
                <a16:creationId xmlns:a16="http://schemas.microsoft.com/office/drawing/2014/main" id="{1A232B96-DAC6-574F-8CC8-70E7F3E4662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
        <p:nvSpPr>
          <p:cNvPr id="17" name="Picture Placeholder 16">
            <a:extLst>
              <a:ext uri="{FF2B5EF4-FFF2-40B4-BE49-F238E27FC236}">
                <a16:creationId xmlns:a16="http://schemas.microsoft.com/office/drawing/2014/main" id="{A34822FC-A346-2748-A12C-597FDF4602C6}"/>
              </a:ext>
            </a:extLst>
          </p:cNvPr>
          <p:cNvSpPr>
            <a:spLocks noGrp="1"/>
          </p:cNvSpPr>
          <p:nvPr>
            <p:ph type="pic" sz="quarter" idx="13" hasCustomPrompt="1"/>
          </p:nvPr>
        </p:nvSpPr>
        <p:spPr>
          <a:xfrm>
            <a:off x="3403240" y="2600991"/>
            <a:ext cx="2659467" cy="1772978"/>
          </a:xfrm>
        </p:spPr>
        <p:txBody>
          <a:bodyPr/>
          <a:lstStyle/>
          <a:p>
            <a:r>
              <a:rPr lang="en-US"/>
              <a:t>Award Card</a:t>
            </a:r>
          </a:p>
        </p:txBody>
      </p:sp>
      <p:sp>
        <p:nvSpPr>
          <p:cNvPr id="19" name="Picture Placeholder 16">
            <a:extLst>
              <a:ext uri="{FF2B5EF4-FFF2-40B4-BE49-F238E27FC236}">
                <a16:creationId xmlns:a16="http://schemas.microsoft.com/office/drawing/2014/main" id="{2B3CA149-46CF-3C45-A5FE-E50DD162D901}"/>
              </a:ext>
            </a:extLst>
          </p:cNvPr>
          <p:cNvSpPr>
            <a:spLocks noGrp="1"/>
          </p:cNvSpPr>
          <p:nvPr>
            <p:ph type="pic" sz="quarter" idx="14" hasCustomPrompt="1"/>
          </p:nvPr>
        </p:nvSpPr>
        <p:spPr>
          <a:xfrm>
            <a:off x="6120680" y="2600991"/>
            <a:ext cx="2659467" cy="1772978"/>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Award Card</a:t>
            </a:r>
          </a:p>
          <a:p>
            <a:endParaRPr lang="en-US"/>
          </a:p>
        </p:txBody>
      </p:sp>
      <p:sp>
        <p:nvSpPr>
          <p:cNvPr id="31" name="Picture Placeholder 16">
            <a:extLst>
              <a:ext uri="{FF2B5EF4-FFF2-40B4-BE49-F238E27FC236}">
                <a16:creationId xmlns:a16="http://schemas.microsoft.com/office/drawing/2014/main" id="{9DBCC32C-64B1-0449-B205-66502AD085A2}"/>
              </a:ext>
            </a:extLst>
          </p:cNvPr>
          <p:cNvSpPr>
            <a:spLocks noGrp="1"/>
          </p:cNvSpPr>
          <p:nvPr>
            <p:ph type="pic" sz="quarter" idx="17" hasCustomPrompt="1"/>
          </p:nvPr>
        </p:nvSpPr>
        <p:spPr>
          <a:xfrm>
            <a:off x="685800" y="2600991"/>
            <a:ext cx="2659467" cy="1772978"/>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Award Card</a:t>
            </a:r>
          </a:p>
          <a:p>
            <a:endParaRPr lang="en-US"/>
          </a:p>
        </p:txBody>
      </p:sp>
      <p:sp>
        <p:nvSpPr>
          <p:cNvPr id="32" name="Picture Placeholder 16">
            <a:extLst>
              <a:ext uri="{FF2B5EF4-FFF2-40B4-BE49-F238E27FC236}">
                <a16:creationId xmlns:a16="http://schemas.microsoft.com/office/drawing/2014/main" id="{7808ED03-2AAA-0440-8B94-BC8683E536B6}"/>
              </a:ext>
            </a:extLst>
          </p:cNvPr>
          <p:cNvSpPr>
            <a:spLocks noGrp="1"/>
          </p:cNvSpPr>
          <p:nvPr>
            <p:ph type="pic" sz="quarter" idx="18" hasCustomPrompt="1"/>
          </p:nvPr>
        </p:nvSpPr>
        <p:spPr>
          <a:xfrm>
            <a:off x="8838119" y="2600991"/>
            <a:ext cx="2659467" cy="1772978"/>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Award Card</a:t>
            </a:r>
          </a:p>
          <a:p>
            <a:endParaRPr lang="en-US"/>
          </a:p>
        </p:txBody>
      </p:sp>
      <p:sp>
        <p:nvSpPr>
          <p:cNvPr id="4" name="Logo protection area" hidden="1">
            <a:extLst>
              <a:ext uri="{FF2B5EF4-FFF2-40B4-BE49-F238E27FC236}">
                <a16:creationId xmlns:a16="http://schemas.microsoft.com/office/drawing/2014/main" id="{FB99A54E-C6B2-4241-929C-D09F70882EA8}"/>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6" name="Layout Protection area" hidden="1">
            <a:extLst>
              <a:ext uri="{FF2B5EF4-FFF2-40B4-BE49-F238E27FC236}">
                <a16:creationId xmlns:a16="http://schemas.microsoft.com/office/drawing/2014/main" id="{677B9344-2687-4991-B810-FB28E3B48818}"/>
              </a:ext>
            </a:extLst>
          </p:cNvPr>
          <p:cNvSpPr/>
          <p:nvPr userDrawn="1">
            <p:custDataLst>
              <p:tags r:id="rId2"/>
            </p:custDataLst>
          </p:nvPr>
        </p:nvSpPr>
        <p:spPr>
          <a:xfrm>
            <a:off x="0" y="1572242"/>
            <a:ext cx="12176098" cy="45193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Tree>
    <p:extLst>
      <p:ext uri="{BB962C8B-B14F-4D97-AF65-F5344CB8AC3E}">
        <p14:creationId xmlns:p14="http://schemas.microsoft.com/office/powerpoint/2010/main" val="41157004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Awards Layout_3-Up">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8" name="Date Placeholder 7">
            <a:extLst>
              <a:ext uri="{FF2B5EF4-FFF2-40B4-BE49-F238E27FC236}">
                <a16:creationId xmlns:a16="http://schemas.microsoft.com/office/drawing/2014/main" id="{45E74DF7-BB83-284E-95F7-13CACA78441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9" name="Footer Placeholder 8">
            <a:extLst>
              <a:ext uri="{FF2B5EF4-FFF2-40B4-BE49-F238E27FC236}">
                <a16:creationId xmlns:a16="http://schemas.microsoft.com/office/drawing/2014/main" id="{905FAAC1-CE30-9249-9D0E-3961A845A77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0" name="Slide Number Placeholder 9">
            <a:extLst>
              <a:ext uri="{FF2B5EF4-FFF2-40B4-BE49-F238E27FC236}">
                <a16:creationId xmlns:a16="http://schemas.microsoft.com/office/drawing/2014/main" id="{1A232B96-DAC6-574F-8CC8-70E7F3E4662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
        <p:nvSpPr>
          <p:cNvPr id="17" name="Picture Placeholder 16">
            <a:extLst>
              <a:ext uri="{FF2B5EF4-FFF2-40B4-BE49-F238E27FC236}">
                <a16:creationId xmlns:a16="http://schemas.microsoft.com/office/drawing/2014/main" id="{A34822FC-A346-2748-A12C-597FDF4602C6}"/>
              </a:ext>
            </a:extLst>
          </p:cNvPr>
          <p:cNvSpPr>
            <a:spLocks noGrp="1"/>
          </p:cNvSpPr>
          <p:nvPr>
            <p:ph type="pic" sz="quarter" idx="13" hasCustomPrompt="1"/>
          </p:nvPr>
        </p:nvSpPr>
        <p:spPr>
          <a:xfrm>
            <a:off x="4326424" y="2357446"/>
            <a:ext cx="3539152" cy="2359435"/>
          </a:xfrm>
        </p:spPr>
        <p:txBody>
          <a:bodyPr/>
          <a:lstStyle/>
          <a:p>
            <a:r>
              <a:rPr lang="en-US"/>
              <a:t>Award Card</a:t>
            </a:r>
          </a:p>
        </p:txBody>
      </p:sp>
      <p:sp>
        <p:nvSpPr>
          <p:cNvPr id="19" name="Picture Placeholder 16">
            <a:extLst>
              <a:ext uri="{FF2B5EF4-FFF2-40B4-BE49-F238E27FC236}">
                <a16:creationId xmlns:a16="http://schemas.microsoft.com/office/drawing/2014/main" id="{2B3CA149-46CF-3C45-A5FE-E50DD162D901}"/>
              </a:ext>
            </a:extLst>
          </p:cNvPr>
          <p:cNvSpPr>
            <a:spLocks noGrp="1"/>
          </p:cNvSpPr>
          <p:nvPr>
            <p:ph type="pic" sz="quarter" idx="14" hasCustomPrompt="1"/>
          </p:nvPr>
        </p:nvSpPr>
        <p:spPr>
          <a:xfrm>
            <a:off x="7967048" y="2357446"/>
            <a:ext cx="3539152" cy="2359435"/>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Award Card</a:t>
            </a:r>
          </a:p>
          <a:p>
            <a:endParaRPr lang="en-US"/>
          </a:p>
        </p:txBody>
      </p:sp>
      <p:sp>
        <p:nvSpPr>
          <p:cNvPr id="31" name="Picture Placeholder 16">
            <a:extLst>
              <a:ext uri="{FF2B5EF4-FFF2-40B4-BE49-F238E27FC236}">
                <a16:creationId xmlns:a16="http://schemas.microsoft.com/office/drawing/2014/main" id="{9DBCC32C-64B1-0449-B205-66502AD085A2}"/>
              </a:ext>
            </a:extLst>
          </p:cNvPr>
          <p:cNvSpPr>
            <a:spLocks noGrp="1"/>
          </p:cNvSpPr>
          <p:nvPr>
            <p:ph type="pic" sz="quarter" idx="17" hasCustomPrompt="1"/>
          </p:nvPr>
        </p:nvSpPr>
        <p:spPr>
          <a:xfrm>
            <a:off x="685800" y="2357446"/>
            <a:ext cx="3539152" cy="2359435"/>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pPr marL="230188" marR="0" lvl="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pPr>
            <a:r>
              <a:rPr lang="en-US"/>
              <a:t>Award Card</a:t>
            </a:r>
          </a:p>
          <a:p>
            <a:endParaRPr lang="en-US"/>
          </a:p>
        </p:txBody>
      </p:sp>
      <p:sp>
        <p:nvSpPr>
          <p:cNvPr id="4" name="Logo protection area" hidden="1">
            <a:extLst>
              <a:ext uri="{FF2B5EF4-FFF2-40B4-BE49-F238E27FC236}">
                <a16:creationId xmlns:a16="http://schemas.microsoft.com/office/drawing/2014/main" id="{FB99A54E-C6B2-4241-929C-D09F70882EA8}"/>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6" name="Layout Protection area" hidden="1">
            <a:extLst>
              <a:ext uri="{FF2B5EF4-FFF2-40B4-BE49-F238E27FC236}">
                <a16:creationId xmlns:a16="http://schemas.microsoft.com/office/drawing/2014/main" id="{677B9344-2687-4991-B810-FB28E3B48818}"/>
              </a:ext>
            </a:extLst>
          </p:cNvPr>
          <p:cNvSpPr/>
          <p:nvPr userDrawn="1">
            <p:custDataLst>
              <p:tags r:id="rId2"/>
            </p:custDataLst>
          </p:nvPr>
        </p:nvSpPr>
        <p:spPr>
          <a:xfrm>
            <a:off x="0" y="1572242"/>
            <a:ext cx="12176098" cy="451937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Tree>
    <p:extLst>
      <p:ext uri="{BB962C8B-B14F-4D97-AF65-F5344CB8AC3E}">
        <p14:creationId xmlns:p14="http://schemas.microsoft.com/office/powerpoint/2010/main" val="33454395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     ">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6BD8B30-570A-41BC-B76C-CEA2703D3972}"/>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1200" cap="none" spc="0" normalizeH="0" baseline="0" noProof="0">
                <a:ln>
                  <a:noFill/>
                </a:ln>
                <a:solidFill>
                  <a:srgbClr val="FFFFFF"/>
                </a:solidFill>
                <a:effectLst/>
                <a:uLnTx/>
                <a:uFillTx/>
                <a:latin typeface="Tiempos Headline Bold"/>
                <a:ea typeface="+mn-ea"/>
                <a:cs typeface="+mn-cs"/>
              </a:rPr>
              <a:t>Quote</a:t>
            </a:r>
            <a:br>
              <a:rPr kumimoji="0" lang="en-US" sz="13800" b="0" i="0" u="none" strike="noStrike" kern="1200" cap="none" spc="0" normalizeH="0" baseline="0" noProof="0">
                <a:ln>
                  <a:noFill/>
                </a:ln>
                <a:solidFill>
                  <a:srgbClr val="FFFFFF"/>
                </a:solidFill>
                <a:effectLst/>
                <a:uLnTx/>
                <a:uFillTx/>
                <a:latin typeface="Tiempos Headline Bold"/>
                <a:ea typeface="+mn-ea"/>
                <a:cs typeface="+mn-cs"/>
              </a:rPr>
            </a:br>
            <a:r>
              <a:rPr kumimoji="0" lang="en-US" sz="13800" b="0" i="0" u="none" strike="noStrike" kern="1200" cap="none" spc="0" normalizeH="0" baseline="0" noProof="0">
                <a:ln>
                  <a:noFill/>
                </a:ln>
                <a:solidFill>
                  <a:srgbClr val="FFFFFF"/>
                </a:solidFill>
                <a:effectLst/>
                <a:uLnTx/>
                <a:uFillTx/>
                <a:latin typeface="Tiempos Headline Bold"/>
                <a:ea typeface="+mn-ea"/>
                <a:cs typeface="+mn-cs"/>
              </a:rPr>
              <a:t> Slides</a:t>
            </a:r>
          </a:p>
        </p:txBody>
      </p:sp>
    </p:spTree>
    <p:extLst>
      <p:ext uri="{BB962C8B-B14F-4D97-AF65-F5344CB8AC3E}">
        <p14:creationId xmlns:p14="http://schemas.microsoft.com/office/powerpoint/2010/main" val="49116336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pic>
        <p:nvPicPr>
          <p:cNvPr id="7" name="Picture 6" descr="Woman standing while working on laptop outside of server room. ">
            <a:extLst>
              <a:ext uri="{FF2B5EF4-FFF2-40B4-BE49-F238E27FC236}">
                <a16:creationId xmlns:a16="http://schemas.microsoft.com/office/drawing/2014/main" id="{7506426D-0C75-894C-BC18-E006FB6EBFDF}"/>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flipH="1">
            <a:off x="-1" y="0"/>
            <a:ext cx="12191998" cy="6176961"/>
          </a:xfrm>
          <a:prstGeom prst="rect">
            <a:avLst/>
          </a:prstGeom>
        </p:spPr>
      </p:pic>
      <p:sp>
        <p:nvSpPr>
          <p:cNvPr id="8" name="Rectangle 7">
            <a:extLst>
              <a:ext uri="{FF2B5EF4-FFF2-40B4-BE49-F238E27FC236}">
                <a16:creationId xmlns:a16="http://schemas.microsoft.com/office/drawing/2014/main" id="{BA7E2D71-BF5E-4741-B928-75598F37E27D}"/>
              </a:ext>
              <a:ext uri="{C183D7F6-B498-43B3-948B-1728B52AA6E4}">
                <adec:decorative xmlns:adec="http://schemas.microsoft.com/office/drawing/2017/decorative" val="1"/>
              </a:ext>
            </a:extLst>
          </p:cNvPr>
          <p:cNvSpPr/>
          <p:nvPr userDrawn="1"/>
        </p:nvSpPr>
        <p:spPr>
          <a:xfrm>
            <a:off x="0" y="0"/>
            <a:ext cx="12192000" cy="6176963"/>
          </a:xfrm>
          <a:prstGeom prst="rect">
            <a:avLst/>
          </a:prstGeom>
          <a:solidFill>
            <a:schemeClr val="tx1">
              <a:alpha val="7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14" name="Quote text">
            <a:extLst>
              <a:ext uri="{FF2B5EF4-FFF2-40B4-BE49-F238E27FC236}">
                <a16:creationId xmlns:a16="http://schemas.microsoft.com/office/drawing/2014/main" id="{280E5D38-780E-464E-8EFD-EBFAC9B60D2B}"/>
              </a:ext>
            </a:extLst>
          </p:cNvPr>
          <p:cNvSpPr>
            <a:spLocks noGrp="1"/>
          </p:cNvSpPr>
          <p:nvPr>
            <p:ph type="body" sz="quarter" idx="13" hasCustomPrompt="1"/>
          </p:nvPr>
        </p:nvSpPr>
        <p:spPr>
          <a:xfrm>
            <a:off x="2859265" y="1989738"/>
            <a:ext cx="8319787" cy="2135456"/>
          </a:xfrm>
          <a:prstGeom prst="callout1">
            <a:avLst>
              <a:gd name="adj1" fmla="val -83"/>
              <a:gd name="adj2" fmla="val -2263"/>
              <a:gd name="adj3" fmla="val 99909"/>
              <a:gd name="adj4" fmla="val -2209"/>
            </a:avLst>
          </a:prstGeom>
          <a:ln w="110489">
            <a:solidFill>
              <a:schemeClr val="accent4"/>
            </a:solidFill>
          </a:ln>
        </p:spPr>
        <p:txBody>
          <a:bodyPr>
            <a:spAutoFit/>
          </a:bodyPr>
          <a:lstStyle>
            <a:lvl1pPr marL="0" indent="0">
              <a:buFont typeface="Nunito Sans Light" panose="00000400000000000000" pitchFamily="2" charset="0"/>
              <a:buChar char="​"/>
              <a:defRPr sz="2800">
                <a:solidFill>
                  <a:schemeClr val="bg1"/>
                </a:solidFill>
              </a:defRPr>
            </a:lvl1pPr>
            <a:lvl2pPr marL="0" indent="0">
              <a:buFont typeface="Nunito Sans Light" panose="00000400000000000000" pitchFamily="2" charset="0"/>
              <a:buChar char="​"/>
              <a:defRPr sz="2400">
                <a:solidFill>
                  <a:schemeClr val="bg1"/>
                </a:solidFill>
              </a:defRPr>
            </a:lvl2pPr>
            <a:lvl3pPr marL="234950" indent="-234950">
              <a:defRPr sz="2000">
                <a:solidFill>
                  <a:schemeClr val="bg1"/>
                </a:solidFill>
              </a:defRPr>
            </a:lvl3pPr>
            <a:lvl4pPr marL="234950" indent="-234950">
              <a:defRPr sz="2000">
                <a:solidFill>
                  <a:schemeClr val="bg1"/>
                </a:solidFill>
              </a:defRPr>
            </a:lvl4pPr>
            <a:lvl5pPr marL="234950" indent="-234950">
              <a:defRPr sz="2000">
                <a:solidFill>
                  <a:schemeClr val="bg1"/>
                </a:solidFill>
              </a:defRPr>
            </a:lvl5pPr>
          </a:lstStyle>
          <a:p>
            <a:pPr lvl="0"/>
            <a:r>
              <a:rPr lang="en-US"/>
              <a:t>Click to insert quote, move quote marks as needed</a:t>
            </a:r>
          </a:p>
          <a:p>
            <a:pPr lvl="1"/>
            <a:r>
              <a:rPr lang="en-US"/>
              <a:t>Second level</a:t>
            </a:r>
          </a:p>
          <a:p>
            <a:pPr lvl="2"/>
            <a:r>
              <a:rPr lang="en-US"/>
              <a:t>Third level</a:t>
            </a:r>
          </a:p>
          <a:p>
            <a:pPr lvl="3"/>
            <a:r>
              <a:rPr lang="en-US"/>
              <a:t>Fourth level</a:t>
            </a:r>
          </a:p>
          <a:p>
            <a:pPr lvl="4"/>
            <a:r>
              <a:rPr lang="en-US"/>
              <a:t>Fifth level</a:t>
            </a:r>
          </a:p>
        </p:txBody>
      </p:sp>
      <p:sp>
        <p:nvSpPr>
          <p:cNvPr id="17" name="Media Placeholder 16">
            <a:extLst>
              <a:ext uri="{FF2B5EF4-FFF2-40B4-BE49-F238E27FC236}">
                <a16:creationId xmlns:a16="http://schemas.microsoft.com/office/drawing/2014/main" id="{42B065FB-F7CE-4AD1-A9DD-DA608947C74A}"/>
              </a:ext>
              <a:ext uri="{C183D7F6-B498-43B3-948B-1728B52AA6E4}">
                <adec:decorative xmlns:adec="http://schemas.microsoft.com/office/drawing/2017/decorative" val="1"/>
              </a:ext>
            </a:extLst>
          </p:cNvPr>
          <p:cNvSpPr>
            <a:spLocks noGrp="1"/>
          </p:cNvSpPr>
          <p:nvPr>
            <p:ph type="media" sz="quarter" idx="14" hasCustomPrompt="1"/>
          </p:nvPr>
        </p:nvSpPr>
        <p:spPr>
          <a:xfrm>
            <a:off x="2621132" y="1356617"/>
            <a:ext cx="777875" cy="540181"/>
          </a:xfrm>
          <a:blipFill>
            <a:blip r:embed="rId5" cstate="email">
              <a:extLst>
                <a:ext uri="{28A0092B-C50C-407E-A947-70E740481C1C}">
                  <a14:useLocalDpi xmlns:a14="http://schemas.microsoft.com/office/drawing/2010/main"/>
                </a:ext>
              </a:extLst>
            </a:blip>
            <a:stretch>
              <a:fillRect/>
            </a:stretch>
          </a:blipFill>
        </p:spPr>
        <p:txBody>
          <a:bodyPr/>
          <a:lstStyle>
            <a:lvl1pPr>
              <a:buNone/>
              <a:defRPr sz="100">
                <a:noFill/>
              </a:defRPr>
            </a:lvl1pPr>
          </a:lstStyle>
          <a:p>
            <a:r>
              <a:rPr lang="en-US"/>
              <a:t>.</a:t>
            </a:r>
          </a:p>
        </p:txBody>
      </p:sp>
      <p:sp>
        <p:nvSpPr>
          <p:cNvPr id="18" name="Media Placeholder 16">
            <a:extLst>
              <a:ext uri="{FF2B5EF4-FFF2-40B4-BE49-F238E27FC236}">
                <a16:creationId xmlns:a16="http://schemas.microsoft.com/office/drawing/2014/main" id="{1B212547-CF72-40BB-ABEB-9A2360868574}"/>
              </a:ext>
              <a:ext uri="{C183D7F6-B498-43B3-948B-1728B52AA6E4}">
                <adec:decorative xmlns:adec="http://schemas.microsoft.com/office/drawing/2017/decorative" val="1"/>
              </a:ext>
            </a:extLst>
          </p:cNvPr>
          <p:cNvSpPr>
            <a:spLocks noGrp="1"/>
          </p:cNvSpPr>
          <p:nvPr>
            <p:ph type="media" sz="quarter" idx="15" hasCustomPrompt="1"/>
          </p:nvPr>
        </p:nvSpPr>
        <p:spPr>
          <a:xfrm rot="10800000">
            <a:off x="2560094" y="4247867"/>
            <a:ext cx="777875" cy="540181"/>
          </a:xfrm>
          <a:blipFill>
            <a:blip r:embed="rId5" cstate="email">
              <a:extLst>
                <a:ext uri="{28A0092B-C50C-407E-A947-70E740481C1C}">
                  <a14:useLocalDpi xmlns:a14="http://schemas.microsoft.com/office/drawing/2010/main"/>
                </a:ext>
              </a:extLst>
            </a:blip>
            <a:stretch>
              <a:fillRect/>
            </a:stretch>
          </a:blipFill>
        </p:spPr>
        <p:txBody>
          <a:bodyPr/>
          <a:lstStyle>
            <a:lvl1pPr>
              <a:buNone/>
              <a:defRPr sz="100">
                <a:noFill/>
              </a:defRPr>
            </a:lvl1pPr>
          </a:lstStyle>
          <a:p>
            <a:r>
              <a:rPr lang="en-US"/>
              <a:t>.</a:t>
            </a:r>
          </a:p>
        </p:txBody>
      </p:sp>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3" name="Footer Placeholder 2" hidden="1">
            <a:extLst>
              <a:ext uri="{FF2B5EF4-FFF2-40B4-BE49-F238E27FC236}">
                <a16:creationId xmlns:a16="http://schemas.microsoft.com/office/drawing/2014/main" id="{C1F34A88-E870-4542-8E40-0AB050539B9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2" name="Logo protection area" hidden="1">
            <a:extLst>
              <a:ext uri="{FF2B5EF4-FFF2-40B4-BE49-F238E27FC236}">
                <a16:creationId xmlns:a16="http://schemas.microsoft.com/office/drawing/2014/main" id="{09B605C6-55B1-477D-9C2D-6F1686EC95D0}"/>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3" name="Layout Protection area" hidden="1">
            <a:extLst>
              <a:ext uri="{FF2B5EF4-FFF2-40B4-BE49-F238E27FC236}">
                <a16:creationId xmlns:a16="http://schemas.microsoft.com/office/drawing/2014/main" id="{2341C043-7F0A-44E9-93B9-B5ACB9F9551A}"/>
              </a:ext>
            </a:extLst>
          </p:cNvPr>
          <p:cNvSpPr/>
          <p:nvPr userDrawn="1">
            <p:custDataLst>
              <p:tags r:id="rId2"/>
            </p:custDataLst>
          </p:nvPr>
        </p:nvSpPr>
        <p:spPr>
          <a:xfrm>
            <a:off x="0" y="0"/>
            <a:ext cx="12176098" cy="6858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4" name="Slide Number Placeholder 3">
            <a:extLst>
              <a:ext uri="{FF2B5EF4-FFF2-40B4-BE49-F238E27FC236}">
                <a16:creationId xmlns:a16="http://schemas.microsoft.com/office/drawing/2014/main" id="{DD2DA6D7-3213-8747-BBAC-FA39EEBE90C0}"/>
              </a:ext>
            </a:extLst>
          </p:cNvPr>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FFFFFF"/>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Nunito Sans Light"/>
              <a:ea typeface="Roboto" panose="02000000000000000000" pitchFamily="2" charset="0"/>
            </a:endParaRPr>
          </a:p>
        </p:txBody>
      </p:sp>
      <p:sp>
        <p:nvSpPr>
          <p:cNvPr id="15" name="Text Placeholder 5">
            <a:extLst>
              <a:ext uri="{FF2B5EF4-FFF2-40B4-BE49-F238E27FC236}">
                <a16:creationId xmlns:a16="http://schemas.microsoft.com/office/drawing/2014/main" id="{24CA716A-EA8D-7544-99A1-7A91B54FAE3E}"/>
              </a:ext>
            </a:extLst>
          </p:cNvPr>
          <p:cNvSpPr>
            <a:spLocks noGrp="1"/>
          </p:cNvSpPr>
          <p:nvPr>
            <p:ph type="body" sz="quarter" idx="16" hasCustomPrompt="1"/>
          </p:nvPr>
        </p:nvSpPr>
        <p:spPr>
          <a:xfrm>
            <a:off x="3338194" y="4247867"/>
            <a:ext cx="6400800" cy="548640"/>
          </a:xfrm>
        </p:spPr>
        <p:txBody>
          <a:bodyPr lIns="182880">
            <a:noAutofit/>
          </a:bodyPr>
          <a:lstStyle>
            <a:lvl1pPr marL="0" indent="0">
              <a:lnSpc>
                <a:spcPct val="90000"/>
              </a:lnSpc>
              <a:spcBef>
                <a:spcPts val="0"/>
              </a:spcBef>
              <a:buFontTx/>
              <a:buNone/>
              <a:defRPr sz="1800" i="1">
                <a:solidFill>
                  <a:schemeClr val="bg1"/>
                </a:solidFill>
              </a:defRPr>
            </a:lvl1pPr>
            <a:lvl2pPr marL="457200" indent="0">
              <a:buFontTx/>
              <a:buNone/>
              <a:defRPr sz="1800" i="1">
                <a:solidFill>
                  <a:schemeClr val="bg1"/>
                </a:solidFill>
              </a:defRPr>
            </a:lvl2pPr>
            <a:lvl3pPr marL="914400" indent="0">
              <a:buFontTx/>
              <a:buNone/>
              <a:defRPr sz="1800" i="1">
                <a:solidFill>
                  <a:schemeClr val="bg1"/>
                </a:solidFill>
              </a:defRPr>
            </a:lvl3pPr>
            <a:lvl4pPr marL="1371600" indent="0">
              <a:buFontTx/>
              <a:buNone/>
              <a:defRPr sz="1800" i="1">
                <a:solidFill>
                  <a:schemeClr val="bg1"/>
                </a:solidFill>
              </a:defRPr>
            </a:lvl4pPr>
            <a:lvl5pPr marL="1828800" indent="0">
              <a:buFontTx/>
              <a:buNone/>
              <a:defRPr sz="1800" i="1">
                <a:solidFill>
                  <a:schemeClr val="bg1"/>
                </a:solidFill>
              </a:defRPr>
            </a:lvl5pPr>
          </a:lstStyle>
          <a:p>
            <a:pPr lvl="0"/>
            <a:r>
              <a:rPr lang="en-US"/>
              <a:t>Click to add Attribution</a:t>
            </a:r>
            <a:br>
              <a:rPr lang="en-US"/>
            </a:br>
            <a:r>
              <a:rPr lang="en-US"/>
              <a:t>Move to align with quotation mark</a:t>
            </a:r>
          </a:p>
        </p:txBody>
      </p:sp>
    </p:spTree>
    <p:extLst>
      <p:ext uri="{BB962C8B-B14F-4D97-AF65-F5344CB8AC3E}">
        <p14:creationId xmlns:p14="http://schemas.microsoft.com/office/powerpoint/2010/main" val="978634112"/>
      </p:ext>
    </p:extLst>
  </p:cSld>
  <p:clrMapOvr>
    <a:masterClrMapping/>
  </p:clrMapOvr>
  <p:extLst>
    <p:ext uri="{DCECCB84-F9BA-43D5-87BE-67443E8EF086}">
      <p15:sldGuideLst xmlns:p15="http://schemas.microsoft.com/office/powerpoint/2012/main">
        <p15:guide id="1" pos="191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Quote">
    <p:spTree>
      <p:nvGrpSpPr>
        <p:cNvPr id="1" name=""/>
        <p:cNvGrpSpPr/>
        <p:nvPr/>
      </p:nvGrpSpPr>
      <p:grpSpPr>
        <a:xfrm>
          <a:off x="0" y="0"/>
          <a:ext cx="0" cy="0"/>
          <a:chOff x="0" y="0"/>
          <a:chExt cx="0" cy="0"/>
        </a:xfrm>
      </p:grpSpPr>
      <p:pic>
        <p:nvPicPr>
          <p:cNvPr id="7" name="Picture 6" descr="Hands on a smartphone with laptop in background.">
            <a:extLst>
              <a:ext uri="{FF2B5EF4-FFF2-40B4-BE49-F238E27FC236}">
                <a16:creationId xmlns:a16="http://schemas.microsoft.com/office/drawing/2014/main" id="{7506426D-0C75-894C-BC18-E006FB6EBFDF}"/>
              </a:ext>
              <a:ext uri="{C183D7F6-B498-43B3-948B-1728B52AA6E4}">
                <adec:decorative xmlns:adec="http://schemas.microsoft.com/office/drawing/2017/decorative" val="0"/>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flipH="1">
            <a:off x="-2" y="-2"/>
            <a:ext cx="12192001" cy="6176963"/>
          </a:xfrm>
          <a:prstGeom prst="rect">
            <a:avLst/>
          </a:prstGeom>
        </p:spPr>
      </p:pic>
      <p:sp>
        <p:nvSpPr>
          <p:cNvPr id="8" name="Rectangle 7">
            <a:extLst>
              <a:ext uri="{FF2B5EF4-FFF2-40B4-BE49-F238E27FC236}">
                <a16:creationId xmlns:a16="http://schemas.microsoft.com/office/drawing/2014/main" id="{BA7E2D71-BF5E-4741-B928-75598F37E27D}"/>
              </a:ext>
              <a:ext uri="{C183D7F6-B498-43B3-948B-1728B52AA6E4}">
                <adec:decorative xmlns:adec="http://schemas.microsoft.com/office/drawing/2017/decorative" val="1"/>
              </a:ext>
            </a:extLst>
          </p:cNvPr>
          <p:cNvSpPr/>
          <p:nvPr userDrawn="1"/>
        </p:nvSpPr>
        <p:spPr>
          <a:xfrm>
            <a:off x="-15903" y="0"/>
            <a:ext cx="12207902" cy="6235136"/>
          </a:xfrm>
          <a:prstGeom prst="rect">
            <a:avLst/>
          </a:prstGeom>
          <a:solidFill>
            <a:schemeClr val="tx1">
              <a:alpha val="81956"/>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14" name="Quote text">
            <a:extLst>
              <a:ext uri="{FF2B5EF4-FFF2-40B4-BE49-F238E27FC236}">
                <a16:creationId xmlns:a16="http://schemas.microsoft.com/office/drawing/2014/main" id="{280E5D38-780E-464E-8EFD-EBFAC9B60D2B}"/>
              </a:ext>
            </a:extLst>
          </p:cNvPr>
          <p:cNvSpPr>
            <a:spLocks noGrp="1"/>
          </p:cNvSpPr>
          <p:nvPr>
            <p:ph type="body" sz="quarter" idx="13" hasCustomPrompt="1"/>
          </p:nvPr>
        </p:nvSpPr>
        <p:spPr>
          <a:xfrm>
            <a:off x="2859265" y="1989738"/>
            <a:ext cx="8319787" cy="2135456"/>
          </a:xfrm>
          <a:prstGeom prst="callout1">
            <a:avLst>
              <a:gd name="adj1" fmla="val -83"/>
              <a:gd name="adj2" fmla="val -2263"/>
              <a:gd name="adj3" fmla="val 99909"/>
              <a:gd name="adj4" fmla="val -2209"/>
            </a:avLst>
          </a:prstGeom>
          <a:ln w="110490">
            <a:solidFill>
              <a:schemeClr val="accent4"/>
            </a:solidFill>
          </a:ln>
        </p:spPr>
        <p:txBody>
          <a:bodyPr>
            <a:spAutoFit/>
          </a:bodyPr>
          <a:lstStyle>
            <a:lvl1pPr marL="0" indent="0">
              <a:buFont typeface="Nunito Sans Light" panose="00000400000000000000" pitchFamily="2" charset="0"/>
              <a:buChar char="​"/>
              <a:defRPr sz="2800">
                <a:solidFill>
                  <a:schemeClr val="bg1"/>
                </a:solidFill>
              </a:defRPr>
            </a:lvl1pPr>
            <a:lvl2pPr marL="0" indent="0">
              <a:buFont typeface="Nunito Sans Light" panose="00000400000000000000" pitchFamily="2" charset="0"/>
              <a:buChar char="​"/>
              <a:defRPr sz="2400">
                <a:solidFill>
                  <a:schemeClr val="bg1"/>
                </a:solidFill>
              </a:defRPr>
            </a:lvl2pPr>
            <a:lvl3pPr marL="234950" indent="-234950">
              <a:defRPr sz="2000">
                <a:solidFill>
                  <a:schemeClr val="bg1"/>
                </a:solidFill>
              </a:defRPr>
            </a:lvl3pPr>
            <a:lvl4pPr marL="234950" indent="-234950">
              <a:defRPr sz="2000">
                <a:solidFill>
                  <a:schemeClr val="bg1"/>
                </a:solidFill>
              </a:defRPr>
            </a:lvl4pPr>
            <a:lvl5pPr marL="234950" indent="-234950">
              <a:defRPr sz="2000">
                <a:solidFill>
                  <a:schemeClr val="bg1"/>
                </a:solidFill>
              </a:defRPr>
            </a:lvl5pPr>
          </a:lstStyle>
          <a:p>
            <a:pPr lvl="0"/>
            <a:r>
              <a:rPr lang="en-US"/>
              <a:t>Click to insert quote, move quote marks as needed</a:t>
            </a:r>
          </a:p>
          <a:p>
            <a:pPr lvl="1"/>
            <a:r>
              <a:rPr lang="en-US"/>
              <a:t>Second level</a:t>
            </a:r>
          </a:p>
          <a:p>
            <a:pPr lvl="2"/>
            <a:r>
              <a:rPr lang="en-US"/>
              <a:t>Third level</a:t>
            </a:r>
          </a:p>
          <a:p>
            <a:pPr lvl="3"/>
            <a:r>
              <a:rPr lang="en-US"/>
              <a:t>Fourth level</a:t>
            </a:r>
          </a:p>
          <a:p>
            <a:pPr lvl="4"/>
            <a:r>
              <a:rPr lang="en-US"/>
              <a:t>Fifth level</a:t>
            </a:r>
          </a:p>
        </p:txBody>
      </p:sp>
      <p:sp>
        <p:nvSpPr>
          <p:cNvPr id="17" name="Media Placeholder 16">
            <a:extLst>
              <a:ext uri="{FF2B5EF4-FFF2-40B4-BE49-F238E27FC236}">
                <a16:creationId xmlns:a16="http://schemas.microsoft.com/office/drawing/2014/main" id="{42B065FB-F7CE-4AD1-A9DD-DA608947C74A}"/>
              </a:ext>
              <a:ext uri="{C183D7F6-B498-43B3-948B-1728B52AA6E4}">
                <adec:decorative xmlns:adec="http://schemas.microsoft.com/office/drawing/2017/decorative" val="1"/>
              </a:ext>
            </a:extLst>
          </p:cNvPr>
          <p:cNvSpPr>
            <a:spLocks noGrp="1"/>
          </p:cNvSpPr>
          <p:nvPr>
            <p:ph type="media" sz="quarter" idx="14" hasCustomPrompt="1"/>
          </p:nvPr>
        </p:nvSpPr>
        <p:spPr>
          <a:xfrm>
            <a:off x="2621132" y="1356617"/>
            <a:ext cx="777875" cy="540181"/>
          </a:xfrm>
          <a:blipFill>
            <a:blip r:embed="rId5" cstate="email">
              <a:extLst>
                <a:ext uri="{28A0092B-C50C-407E-A947-70E740481C1C}">
                  <a14:useLocalDpi xmlns:a14="http://schemas.microsoft.com/office/drawing/2010/main"/>
                </a:ext>
              </a:extLst>
            </a:blip>
            <a:stretch>
              <a:fillRect/>
            </a:stretch>
          </a:blipFill>
        </p:spPr>
        <p:txBody>
          <a:bodyPr/>
          <a:lstStyle>
            <a:lvl1pPr>
              <a:buNone/>
              <a:defRPr sz="100">
                <a:noFill/>
              </a:defRPr>
            </a:lvl1pPr>
          </a:lstStyle>
          <a:p>
            <a:r>
              <a:rPr lang="en-US"/>
              <a:t>.</a:t>
            </a:r>
          </a:p>
        </p:txBody>
      </p:sp>
      <p:sp>
        <p:nvSpPr>
          <p:cNvPr id="18" name="Media Placeholder 16">
            <a:extLst>
              <a:ext uri="{FF2B5EF4-FFF2-40B4-BE49-F238E27FC236}">
                <a16:creationId xmlns:a16="http://schemas.microsoft.com/office/drawing/2014/main" id="{1B212547-CF72-40BB-ABEB-9A2360868574}"/>
              </a:ext>
              <a:ext uri="{C183D7F6-B498-43B3-948B-1728B52AA6E4}">
                <adec:decorative xmlns:adec="http://schemas.microsoft.com/office/drawing/2017/decorative" val="1"/>
              </a:ext>
            </a:extLst>
          </p:cNvPr>
          <p:cNvSpPr>
            <a:spLocks noGrp="1"/>
          </p:cNvSpPr>
          <p:nvPr>
            <p:ph type="media" sz="quarter" idx="15" hasCustomPrompt="1"/>
          </p:nvPr>
        </p:nvSpPr>
        <p:spPr>
          <a:xfrm rot="10800000">
            <a:off x="2560094" y="4247867"/>
            <a:ext cx="777875" cy="540181"/>
          </a:xfrm>
          <a:blipFill>
            <a:blip r:embed="rId5" cstate="email">
              <a:extLst>
                <a:ext uri="{28A0092B-C50C-407E-A947-70E740481C1C}">
                  <a14:useLocalDpi xmlns:a14="http://schemas.microsoft.com/office/drawing/2010/main"/>
                </a:ext>
              </a:extLst>
            </a:blip>
            <a:stretch>
              <a:fillRect/>
            </a:stretch>
          </a:blipFill>
        </p:spPr>
        <p:txBody>
          <a:bodyPr/>
          <a:lstStyle>
            <a:lvl1pPr>
              <a:buNone/>
              <a:defRPr sz="100">
                <a:noFill/>
              </a:defRPr>
            </a:lvl1pPr>
          </a:lstStyle>
          <a:p>
            <a:r>
              <a:rPr lang="en-US"/>
              <a:t>.</a:t>
            </a:r>
          </a:p>
        </p:txBody>
      </p:sp>
      <p:sp>
        <p:nvSpPr>
          <p:cNvPr id="12" name="Logo protection area" hidden="1">
            <a:extLst>
              <a:ext uri="{FF2B5EF4-FFF2-40B4-BE49-F238E27FC236}">
                <a16:creationId xmlns:a16="http://schemas.microsoft.com/office/drawing/2014/main" id="{09B605C6-55B1-477D-9C2D-6F1686EC95D0}"/>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3" name="Layout Protection area" hidden="1">
            <a:extLst>
              <a:ext uri="{FF2B5EF4-FFF2-40B4-BE49-F238E27FC236}">
                <a16:creationId xmlns:a16="http://schemas.microsoft.com/office/drawing/2014/main" id="{2341C043-7F0A-44E9-93B9-B5ACB9F9551A}"/>
              </a:ext>
            </a:extLst>
          </p:cNvPr>
          <p:cNvSpPr/>
          <p:nvPr userDrawn="1">
            <p:custDataLst>
              <p:tags r:id="rId2"/>
            </p:custDataLst>
          </p:nvPr>
        </p:nvSpPr>
        <p:spPr>
          <a:xfrm>
            <a:off x="0" y="0"/>
            <a:ext cx="12176098" cy="6858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3" name="Footer Placeholder 2" hidden="1">
            <a:extLst>
              <a:ext uri="{FF2B5EF4-FFF2-40B4-BE49-F238E27FC236}">
                <a16:creationId xmlns:a16="http://schemas.microsoft.com/office/drawing/2014/main" id="{C1F34A88-E870-4542-8E40-0AB050539B9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4" name="Slide Number Placeholder 3">
            <a:extLst>
              <a:ext uri="{FF2B5EF4-FFF2-40B4-BE49-F238E27FC236}">
                <a16:creationId xmlns:a16="http://schemas.microsoft.com/office/drawing/2014/main" id="{DD2DA6D7-3213-8747-BBAC-FA39EEBE90C0}"/>
              </a:ext>
            </a:extLst>
          </p:cNvPr>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FFFFFF"/>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Nunito Sans Light"/>
              <a:ea typeface="Roboto" panose="02000000000000000000" pitchFamily="2" charset="0"/>
            </a:endParaRPr>
          </a:p>
        </p:txBody>
      </p:sp>
      <p:sp>
        <p:nvSpPr>
          <p:cNvPr id="15" name="Text Placeholder 5">
            <a:extLst>
              <a:ext uri="{FF2B5EF4-FFF2-40B4-BE49-F238E27FC236}">
                <a16:creationId xmlns:a16="http://schemas.microsoft.com/office/drawing/2014/main" id="{EC85D321-3F64-184F-9D46-7C8FBCBF655C}"/>
              </a:ext>
            </a:extLst>
          </p:cNvPr>
          <p:cNvSpPr>
            <a:spLocks noGrp="1"/>
          </p:cNvSpPr>
          <p:nvPr>
            <p:ph type="body" sz="quarter" idx="16" hasCustomPrompt="1"/>
          </p:nvPr>
        </p:nvSpPr>
        <p:spPr>
          <a:xfrm>
            <a:off x="3338194" y="4247867"/>
            <a:ext cx="6400800" cy="548640"/>
          </a:xfrm>
        </p:spPr>
        <p:txBody>
          <a:bodyPr lIns="182880">
            <a:noAutofit/>
          </a:bodyPr>
          <a:lstStyle>
            <a:lvl1pPr marL="0" indent="0">
              <a:lnSpc>
                <a:spcPct val="90000"/>
              </a:lnSpc>
              <a:spcBef>
                <a:spcPts val="0"/>
              </a:spcBef>
              <a:buFontTx/>
              <a:buNone/>
              <a:defRPr sz="1800" i="1">
                <a:solidFill>
                  <a:schemeClr val="bg1"/>
                </a:solidFill>
              </a:defRPr>
            </a:lvl1pPr>
            <a:lvl2pPr marL="457200" indent="0">
              <a:buFontTx/>
              <a:buNone/>
              <a:defRPr sz="1800" i="1">
                <a:solidFill>
                  <a:schemeClr val="bg1"/>
                </a:solidFill>
              </a:defRPr>
            </a:lvl2pPr>
            <a:lvl3pPr marL="914400" indent="0">
              <a:buFontTx/>
              <a:buNone/>
              <a:defRPr sz="1800" i="1">
                <a:solidFill>
                  <a:schemeClr val="bg1"/>
                </a:solidFill>
              </a:defRPr>
            </a:lvl3pPr>
            <a:lvl4pPr marL="1371600" indent="0">
              <a:buFontTx/>
              <a:buNone/>
              <a:defRPr sz="1800" i="1">
                <a:solidFill>
                  <a:schemeClr val="bg1"/>
                </a:solidFill>
              </a:defRPr>
            </a:lvl4pPr>
            <a:lvl5pPr marL="1828800" indent="0">
              <a:buFontTx/>
              <a:buNone/>
              <a:defRPr sz="1800" i="1">
                <a:solidFill>
                  <a:schemeClr val="bg1"/>
                </a:solidFill>
              </a:defRPr>
            </a:lvl5pPr>
          </a:lstStyle>
          <a:p>
            <a:pPr lvl="0"/>
            <a:r>
              <a:rPr lang="en-US"/>
              <a:t>Click to add Attribution</a:t>
            </a:r>
            <a:br>
              <a:rPr lang="en-US"/>
            </a:br>
            <a:r>
              <a:rPr lang="en-US"/>
              <a:t>Move to align with quotation mark</a:t>
            </a:r>
          </a:p>
        </p:txBody>
      </p:sp>
    </p:spTree>
    <p:extLst>
      <p:ext uri="{BB962C8B-B14F-4D97-AF65-F5344CB8AC3E}">
        <p14:creationId xmlns:p14="http://schemas.microsoft.com/office/powerpoint/2010/main" val="1034214560"/>
      </p:ext>
    </p:extLst>
  </p:cSld>
  <p:clrMapOvr>
    <a:masterClrMapping/>
  </p:clrMapOvr>
  <p:extLst>
    <p:ext uri="{DCECCB84-F9BA-43D5-87BE-67443E8EF086}">
      <p15:sldGuideLst xmlns:p15="http://schemas.microsoft.com/office/powerpoint/2012/main">
        <p15:guide id="1" pos="191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Quot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CCBF73D-FEA8-584B-8F0B-8BC44B8BC84C}"/>
              </a:ext>
              <a:ext uri="{C183D7F6-B498-43B3-948B-1728B52AA6E4}">
                <adec:decorative xmlns:adec="http://schemas.microsoft.com/office/drawing/2017/decorative" val="1"/>
              </a:ext>
            </a:extLst>
          </p:cNvPr>
          <p:cNvSpPr/>
          <p:nvPr userDrawn="1"/>
        </p:nvSpPr>
        <p:spPr>
          <a:xfrm>
            <a:off x="0" y="0"/>
            <a:ext cx="12192000" cy="631311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pic>
        <p:nvPicPr>
          <p:cNvPr id="20" name="Picture 19">
            <a:extLst>
              <a:ext uri="{FF2B5EF4-FFF2-40B4-BE49-F238E27FC236}">
                <a16:creationId xmlns:a16="http://schemas.microsoft.com/office/drawing/2014/main" id="{6F34F73A-6E94-1744-901A-E7A2F15590B1}"/>
              </a:ext>
              <a:ext uri="{C183D7F6-B498-43B3-948B-1728B52AA6E4}">
                <adec:decorative xmlns:adec="http://schemas.microsoft.com/office/drawing/2017/decorative" val="1"/>
              </a:ext>
            </a:extLst>
          </p:cNvPr>
          <p:cNvPicPr>
            <a:picLocks noChangeAspect="1"/>
          </p:cNvPicPr>
          <p:nvPr userDrawn="1"/>
        </p:nvPicPr>
        <p:blipFill>
          <a:blip r:embed="rId4" cstate="email">
            <a:alphaModFix amt="8000"/>
            <a:extLst>
              <a:ext uri="{28A0092B-C50C-407E-A947-70E740481C1C}">
                <a14:useLocalDpi xmlns:a14="http://schemas.microsoft.com/office/drawing/2010/main"/>
              </a:ext>
            </a:extLst>
          </a:blip>
          <a:stretch>
            <a:fillRect/>
          </a:stretch>
        </p:blipFill>
        <p:spPr>
          <a:xfrm>
            <a:off x="441297" y="2881705"/>
            <a:ext cx="5847522" cy="4201758"/>
          </a:xfrm>
          <a:prstGeom prst="rect">
            <a:avLst/>
          </a:prstGeom>
        </p:spPr>
      </p:pic>
      <p:sp>
        <p:nvSpPr>
          <p:cNvPr id="14" name="Quote text">
            <a:extLst>
              <a:ext uri="{FF2B5EF4-FFF2-40B4-BE49-F238E27FC236}">
                <a16:creationId xmlns:a16="http://schemas.microsoft.com/office/drawing/2014/main" id="{280E5D38-780E-464E-8EFD-EBFAC9B60D2B}"/>
              </a:ext>
            </a:extLst>
          </p:cNvPr>
          <p:cNvSpPr>
            <a:spLocks noGrp="1"/>
          </p:cNvSpPr>
          <p:nvPr>
            <p:ph type="body" sz="quarter" idx="13" hasCustomPrompt="1"/>
          </p:nvPr>
        </p:nvSpPr>
        <p:spPr>
          <a:xfrm>
            <a:off x="2859265" y="1989738"/>
            <a:ext cx="8319787" cy="2135456"/>
          </a:xfrm>
          <a:prstGeom prst="callout1">
            <a:avLst>
              <a:gd name="adj1" fmla="val -83"/>
              <a:gd name="adj2" fmla="val -2263"/>
              <a:gd name="adj3" fmla="val 99909"/>
              <a:gd name="adj4" fmla="val -2209"/>
            </a:avLst>
          </a:prstGeom>
          <a:ln w="110490">
            <a:solidFill>
              <a:schemeClr val="accent4"/>
            </a:solidFill>
          </a:ln>
        </p:spPr>
        <p:txBody>
          <a:bodyPr>
            <a:spAutoFit/>
          </a:bodyPr>
          <a:lstStyle>
            <a:lvl1pPr marL="0" indent="0">
              <a:buFont typeface="Nunito Sans Light" panose="00000400000000000000" pitchFamily="2" charset="0"/>
              <a:buChar char="​"/>
              <a:defRPr sz="2800">
                <a:solidFill>
                  <a:schemeClr val="bg1"/>
                </a:solidFill>
              </a:defRPr>
            </a:lvl1pPr>
            <a:lvl2pPr marL="0" indent="0">
              <a:buFont typeface="Nunito Sans Light" panose="00000400000000000000" pitchFamily="2" charset="0"/>
              <a:buChar char="​"/>
              <a:defRPr sz="2400">
                <a:solidFill>
                  <a:schemeClr val="bg1"/>
                </a:solidFill>
              </a:defRPr>
            </a:lvl2pPr>
            <a:lvl3pPr marL="234950" indent="-234950">
              <a:defRPr sz="2000">
                <a:solidFill>
                  <a:schemeClr val="bg1"/>
                </a:solidFill>
              </a:defRPr>
            </a:lvl3pPr>
            <a:lvl4pPr marL="234950" indent="-234950">
              <a:defRPr sz="2000">
                <a:solidFill>
                  <a:schemeClr val="bg1"/>
                </a:solidFill>
              </a:defRPr>
            </a:lvl4pPr>
            <a:lvl5pPr marL="234950" indent="-234950">
              <a:defRPr sz="2000">
                <a:solidFill>
                  <a:schemeClr val="bg1"/>
                </a:solidFill>
              </a:defRPr>
            </a:lvl5pPr>
          </a:lstStyle>
          <a:p>
            <a:pPr lvl="0"/>
            <a:r>
              <a:rPr lang="en-US"/>
              <a:t>Click to insert quote, move quote marks as needed</a:t>
            </a:r>
          </a:p>
          <a:p>
            <a:pPr lvl="1"/>
            <a:r>
              <a:rPr lang="en-US"/>
              <a:t>Second level</a:t>
            </a:r>
          </a:p>
          <a:p>
            <a:pPr lvl="2"/>
            <a:r>
              <a:rPr lang="en-US"/>
              <a:t>Third level</a:t>
            </a:r>
          </a:p>
          <a:p>
            <a:pPr lvl="3"/>
            <a:r>
              <a:rPr lang="en-US"/>
              <a:t>Fourth level</a:t>
            </a:r>
          </a:p>
          <a:p>
            <a:pPr lvl="4"/>
            <a:r>
              <a:rPr lang="en-US"/>
              <a:t>Fifth level</a:t>
            </a:r>
          </a:p>
        </p:txBody>
      </p:sp>
      <p:sp>
        <p:nvSpPr>
          <p:cNvPr id="17" name="Media Placeholder 16">
            <a:extLst>
              <a:ext uri="{FF2B5EF4-FFF2-40B4-BE49-F238E27FC236}">
                <a16:creationId xmlns:a16="http://schemas.microsoft.com/office/drawing/2014/main" id="{42B065FB-F7CE-4AD1-A9DD-DA608947C74A}"/>
              </a:ext>
              <a:ext uri="{C183D7F6-B498-43B3-948B-1728B52AA6E4}">
                <adec:decorative xmlns:adec="http://schemas.microsoft.com/office/drawing/2017/decorative" val="1"/>
              </a:ext>
            </a:extLst>
          </p:cNvPr>
          <p:cNvSpPr>
            <a:spLocks noGrp="1"/>
          </p:cNvSpPr>
          <p:nvPr>
            <p:ph type="media" sz="quarter" idx="14" hasCustomPrompt="1"/>
          </p:nvPr>
        </p:nvSpPr>
        <p:spPr>
          <a:xfrm>
            <a:off x="2621132" y="1356617"/>
            <a:ext cx="777875" cy="540181"/>
          </a:xfrm>
          <a:blipFill>
            <a:blip r:embed="rId5" cstate="email">
              <a:extLst>
                <a:ext uri="{28A0092B-C50C-407E-A947-70E740481C1C}">
                  <a14:useLocalDpi xmlns:a14="http://schemas.microsoft.com/office/drawing/2010/main"/>
                </a:ext>
              </a:extLst>
            </a:blip>
            <a:stretch>
              <a:fillRect/>
            </a:stretch>
          </a:blipFill>
        </p:spPr>
        <p:txBody>
          <a:bodyPr/>
          <a:lstStyle>
            <a:lvl1pPr>
              <a:buNone/>
              <a:defRPr sz="100">
                <a:noFill/>
              </a:defRPr>
            </a:lvl1pPr>
          </a:lstStyle>
          <a:p>
            <a:r>
              <a:rPr lang="en-US"/>
              <a:t>.</a:t>
            </a:r>
          </a:p>
        </p:txBody>
      </p:sp>
      <p:sp>
        <p:nvSpPr>
          <p:cNvPr id="18" name="Media Placeholder 16">
            <a:extLst>
              <a:ext uri="{FF2B5EF4-FFF2-40B4-BE49-F238E27FC236}">
                <a16:creationId xmlns:a16="http://schemas.microsoft.com/office/drawing/2014/main" id="{1B212547-CF72-40BB-ABEB-9A2360868574}"/>
              </a:ext>
              <a:ext uri="{C183D7F6-B498-43B3-948B-1728B52AA6E4}">
                <adec:decorative xmlns:adec="http://schemas.microsoft.com/office/drawing/2017/decorative" val="1"/>
              </a:ext>
            </a:extLst>
          </p:cNvPr>
          <p:cNvSpPr>
            <a:spLocks noGrp="1"/>
          </p:cNvSpPr>
          <p:nvPr>
            <p:ph type="media" sz="quarter" idx="15" hasCustomPrompt="1"/>
          </p:nvPr>
        </p:nvSpPr>
        <p:spPr>
          <a:xfrm rot="10800000">
            <a:off x="2560320" y="4247867"/>
            <a:ext cx="777875" cy="540181"/>
          </a:xfrm>
          <a:blipFill>
            <a:blip r:embed="rId5" cstate="email">
              <a:extLst>
                <a:ext uri="{28A0092B-C50C-407E-A947-70E740481C1C}">
                  <a14:useLocalDpi xmlns:a14="http://schemas.microsoft.com/office/drawing/2010/main"/>
                </a:ext>
              </a:extLst>
            </a:blip>
            <a:stretch>
              <a:fillRect/>
            </a:stretch>
          </a:blipFill>
        </p:spPr>
        <p:txBody>
          <a:bodyPr/>
          <a:lstStyle>
            <a:lvl1pPr>
              <a:buNone/>
              <a:defRPr sz="100">
                <a:noFill/>
              </a:defRPr>
            </a:lvl1pPr>
          </a:lstStyle>
          <a:p>
            <a:r>
              <a:rPr lang="en-US"/>
              <a:t>.</a:t>
            </a:r>
          </a:p>
        </p:txBody>
      </p:sp>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3" name="Footer Placeholder 2" hidden="1">
            <a:extLst>
              <a:ext uri="{FF2B5EF4-FFF2-40B4-BE49-F238E27FC236}">
                <a16:creationId xmlns:a16="http://schemas.microsoft.com/office/drawing/2014/main" id="{C1F34A88-E870-4542-8E40-0AB050539B9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2" name="Logo protection area" hidden="1">
            <a:extLst>
              <a:ext uri="{FF2B5EF4-FFF2-40B4-BE49-F238E27FC236}">
                <a16:creationId xmlns:a16="http://schemas.microsoft.com/office/drawing/2014/main" id="{09B605C6-55B1-477D-9C2D-6F1686EC95D0}"/>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3" name="Layout Protection area" hidden="1">
            <a:extLst>
              <a:ext uri="{FF2B5EF4-FFF2-40B4-BE49-F238E27FC236}">
                <a16:creationId xmlns:a16="http://schemas.microsoft.com/office/drawing/2014/main" id="{2341C043-7F0A-44E9-93B9-B5ACB9F9551A}"/>
              </a:ext>
            </a:extLst>
          </p:cNvPr>
          <p:cNvSpPr/>
          <p:nvPr userDrawn="1">
            <p:custDataLst>
              <p:tags r:id="rId2"/>
            </p:custDataLst>
          </p:nvPr>
        </p:nvSpPr>
        <p:spPr>
          <a:xfrm>
            <a:off x="0" y="0"/>
            <a:ext cx="12176098" cy="6858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4" name="Slide Number Placeholder 3">
            <a:extLst>
              <a:ext uri="{FF2B5EF4-FFF2-40B4-BE49-F238E27FC236}">
                <a16:creationId xmlns:a16="http://schemas.microsoft.com/office/drawing/2014/main" id="{DD2DA6D7-3213-8747-BBAC-FA39EEBE90C0}"/>
              </a:ext>
            </a:extLst>
          </p:cNvPr>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FFFFFF"/>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Nunito Sans Light"/>
              <a:ea typeface="Roboto" panose="02000000000000000000" pitchFamily="2" charset="0"/>
            </a:endParaRPr>
          </a:p>
        </p:txBody>
      </p:sp>
      <p:sp>
        <p:nvSpPr>
          <p:cNvPr id="16" name="Text Placeholder 5">
            <a:extLst>
              <a:ext uri="{FF2B5EF4-FFF2-40B4-BE49-F238E27FC236}">
                <a16:creationId xmlns:a16="http://schemas.microsoft.com/office/drawing/2014/main" id="{22007149-C33B-BF4E-B9B4-9E3BAAD92D8D}"/>
              </a:ext>
            </a:extLst>
          </p:cNvPr>
          <p:cNvSpPr>
            <a:spLocks noGrp="1"/>
          </p:cNvSpPr>
          <p:nvPr>
            <p:ph type="body" sz="quarter" idx="16" hasCustomPrompt="1"/>
          </p:nvPr>
        </p:nvSpPr>
        <p:spPr>
          <a:xfrm>
            <a:off x="3338194" y="4247867"/>
            <a:ext cx="6400800" cy="548640"/>
          </a:xfrm>
        </p:spPr>
        <p:txBody>
          <a:bodyPr lIns="182880">
            <a:noAutofit/>
          </a:bodyPr>
          <a:lstStyle>
            <a:lvl1pPr marL="0" indent="0">
              <a:lnSpc>
                <a:spcPct val="90000"/>
              </a:lnSpc>
              <a:spcBef>
                <a:spcPts val="0"/>
              </a:spcBef>
              <a:buFontTx/>
              <a:buNone/>
              <a:defRPr sz="1800" i="1">
                <a:solidFill>
                  <a:schemeClr val="bg1"/>
                </a:solidFill>
              </a:defRPr>
            </a:lvl1pPr>
            <a:lvl2pPr marL="457200" indent="0">
              <a:buFontTx/>
              <a:buNone/>
              <a:defRPr sz="1800" i="1">
                <a:solidFill>
                  <a:schemeClr val="bg1"/>
                </a:solidFill>
              </a:defRPr>
            </a:lvl2pPr>
            <a:lvl3pPr marL="914400" indent="0">
              <a:buFontTx/>
              <a:buNone/>
              <a:defRPr sz="1800" i="1">
                <a:solidFill>
                  <a:schemeClr val="bg1"/>
                </a:solidFill>
              </a:defRPr>
            </a:lvl3pPr>
            <a:lvl4pPr marL="1371600" indent="0">
              <a:buFontTx/>
              <a:buNone/>
              <a:defRPr sz="1800" i="1">
                <a:solidFill>
                  <a:schemeClr val="bg1"/>
                </a:solidFill>
              </a:defRPr>
            </a:lvl4pPr>
            <a:lvl5pPr marL="1828800" indent="0">
              <a:buFontTx/>
              <a:buNone/>
              <a:defRPr sz="1800" i="1">
                <a:solidFill>
                  <a:schemeClr val="bg1"/>
                </a:solidFill>
              </a:defRPr>
            </a:lvl5pPr>
          </a:lstStyle>
          <a:p>
            <a:pPr lvl="0"/>
            <a:r>
              <a:rPr lang="en-US"/>
              <a:t>Click to add Attribution</a:t>
            </a:r>
            <a:br>
              <a:rPr lang="en-US"/>
            </a:br>
            <a:r>
              <a:rPr lang="en-US"/>
              <a:t>Move to align with quotation mark</a:t>
            </a:r>
          </a:p>
        </p:txBody>
      </p:sp>
    </p:spTree>
    <p:extLst>
      <p:ext uri="{BB962C8B-B14F-4D97-AF65-F5344CB8AC3E}">
        <p14:creationId xmlns:p14="http://schemas.microsoft.com/office/powerpoint/2010/main" val="734816646"/>
      </p:ext>
    </p:extLst>
  </p:cSld>
  <p:clrMapOvr>
    <a:masterClrMapping/>
  </p:clrMapOvr>
  <p:extLst>
    <p:ext uri="{DCECCB84-F9BA-43D5-87BE-67443E8EF086}">
      <p15:sldGuideLst xmlns:p15="http://schemas.microsoft.com/office/powerpoint/2012/main">
        <p15:guide id="1" pos="191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Quote with Titl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CCBF73D-FEA8-584B-8F0B-8BC44B8BC84C}"/>
              </a:ext>
              <a:ext uri="{C183D7F6-B498-43B3-948B-1728B52AA6E4}">
                <adec:decorative xmlns:adec="http://schemas.microsoft.com/office/drawing/2017/decorative" val="1"/>
              </a:ext>
            </a:extLst>
          </p:cNvPr>
          <p:cNvSpPr/>
          <p:nvPr userDrawn="1"/>
        </p:nvSpPr>
        <p:spPr>
          <a:xfrm>
            <a:off x="0" y="0"/>
            <a:ext cx="12192000" cy="628529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pic>
        <p:nvPicPr>
          <p:cNvPr id="20" name="Picture 19">
            <a:extLst>
              <a:ext uri="{FF2B5EF4-FFF2-40B4-BE49-F238E27FC236}">
                <a16:creationId xmlns:a16="http://schemas.microsoft.com/office/drawing/2014/main" id="{6F34F73A-6E94-1744-901A-E7A2F15590B1}"/>
              </a:ext>
              <a:ext uri="{C183D7F6-B498-43B3-948B-1728B52AA6E4}">
                <adec:decorative xmlns:adec="http://schemas.microsoft.com/office/drawing/2017/decorative" val="1"/>
              </a:ext>
            </a:extLst>
          </p:cNvPr>
          <p:cNvPicPr>
            <a:picLocks noChangeAspect="1"/>
          </p:cNvPicPr>
          <p:nvPr userDrawn="1"/>
        </p:nvPicPr>
        <p:blipFill>
          <a:blip r:embed="rId4" cstate="email">
            <a:alphaModFix amt="8000"/>
            <a:extLst>
              <a:ext uri="{28A0092B-C50C-407E-A947-70E740481C1C}">
                <a14:useLocalDpi xmlns:a14="http://schemas.microsoft.com/office/drawing/2010/main"/>
              </a:ext>
            </a:extLst>
          </a:blip>
          <a:stretch>
            <a:fillRect/>
          </a:stretch>
        </p:blipFill>
        <p:spPr>
          <a:xfrm>
            <a:off x="441297" y="2881705"/>
            <a:ext cx="5847522" cy="4201758"/>
          </a:xfrm>
          <a:prstGeom prst="rect">
            <a:avLst/>
          </a:prstGeom>
        </p:spPr>
      </p:pic>
      <p:sp>
        <p:nvSpPr>
          <p:cNvPr id="14" name="Quote text">
            <a:extLst>
              <a:ext uri="{FF2B5EF4-FFF2-40B4-BE49-F238E27FC236}">
                <a16:creationId xmlns:a16="http://schemas.microsoft.com/office/drawing/2014/main" id="{280E5D38-780E-464E-8EFD-EBFAC9B60D2B}"/>
              </a:ext>
            </a:extLst>
          </p:cNvPr>
          <p:cNvSpPr>
            <a:spLocks noGrp="1"/>
          </p:cNvSpPr>
          <p:nvPr>
            <p:ph type="body" sz="quarter" idx="13" hasCustomPrompt="1"/>
          </p:nvPr>
        </p:nvSpPr>
        <p:spPr>
          <a:xfrm>
            <a:off x="2859265" y="2521487"/>
            <a:ext cx="8319787" cy="2135456"/>
          </a:xfrm>
          <a:prstGeom prst="callout1">
            <a:avLst>
              <a:gd name="adj1" fmla="val -83"/>
              <a:gd name="adj2" fmla="val -2263"/>
              <a:gd name="adj3" fmla="val 99909"/>
              <a:gd name="adj4" fmla="val -2209"/>
            </a:avLst>
          </a:prstGeom>
          <a:ln w="110490">
            <a:solidFill>
              <a:schemeClr val="accent4"/>
            </a:solidFill>
          </a:ln>
        </p:spPr>
        <p:txBody>
          <a:bodyPr>
            <a:spAutoFit/>
          </a:bodyPr>
          <a:lstStyle>
            <a:lvl1pPr marL="0" indent="0">
              <a:buFont typeface="Nunito Sans Light" panose="00000400000000000000" pitchFamily="2" charset="0"/>
              <a:buChar char="​"/>
              <a:defRPr sz="2800">
                <a:solidFill>
                  <a:schemeClr val="bg1"/>
                </a:solidFill>
              </a:defRPr>
            </a:lvl1pPr>
            <a:lvl2pPr marL="0" indent="0">
              <a:buFont typeface="Nunito Sans Light" panose="00000400000000000000" pitchFamily="2" charset="0"/>
              <a:buChar char="​"/>
              <a:defRPr sz="2400">
                <a:solidFill>
                  <a:schemeClr val="bg1"/>
                </a:solidFill>
              </a:defRPr>
            </a:lvl2pPr>
            <a:lvl3pPr marL="234950" indent="-234950">
              <a:defRPr sz="2000">
                <a:solidFill>
                  <a:schemeClr val="bg1"/>
                </a:solidFill>
              </a:defRPr>
            </a:lvl3pPr>
            <a:lvl4pPr marL="234950" indent="-234950">
              <a:defRPr sz="2000">
                <a:solidFill>
                  <a:schemeClr val="bg1"/>
                </a:solidFill>
              </a:defRPr>
            </a:lvl4pPr>
            <a:lvl5pPr marL="234950" indent="-234950">
              <a:defRPr sz="2000">
                <a:solidFill>
                  <a:schemeClr val="bg1"/>
                </a:solidFill>
              </a:defRPr>
            </a:lvl5pPr>
          </a:lstStyle>
          <a:p>
            <a:pPr lvl="0"/>
            <a:r>
              <a:rPr lang="en-US"/>
              <a:t>Click to insert quote, move quote marks as needed</a:t>
            </a:r>
          </a:p>
          <a:p>
            <a:pPr lvl="1"/>
            <a:r>
              <a:rPr lang="en-US"/>
              <a:t>Second level</a:t>
            </a:r>
          </a:p>
          <a:p>
            <a:pPr lvl="2"/>
            <a:r>
              <a:rPr lang="en-US"/>
              <a:t>Third level</a:t>
            </a:r>
          </a:p>
          <a:p>
            <a:pPr lvl="3"/>
            <a:r>
              <a:rPr lang="en-US"/>
              <a:t>Fourth level</a:t>
            </a:r>
          </a:p>
          <a:p>
            <a:pPr lvl="4"/>
            <a:r>
              <a:rPr lang="en-US"/>
              <a:t>Fifth level</a:t>
            </a:r>
          </a:p>
        </p:txBody>
      </p:sp>
      <p:sp>
        <p:nvSpPr>
          <p:cNvPr id="17" name="Media Placeholder 16">
            <a:extLst>
              <a:ext uri="{FF2B5EF4-FFF2-40B4-BE49-F238E27FC236}">
                <a16:creationId xmlns:a16="http://schemas.microsoft.com/office/drawing/2014/main" id="{42B065FB-F7CE-4AD1-A9DD-DA608947C74A}"/>
              </a:ext>
              <a:ext uri="{C183D7F6-B498-43B3-948B-1728B52AA6E4}">
                <adec:decorative xmlns:adec="http://schemas.microsoft.com/office/drawing/2017/decorative" val="1"/>
              </a:ext>
            </a:extLst>
          </p:cNvPr>
          <p:cNvSpPr>
            <a:spLocks noGrp="1"/>
          </p:cNvSpPr>
          <p:nvPr>
            <p:ph type="media" sz="quarter" idx="14" hasCustomPrompt="1"/>
          </p:nvPr>
        </p:nvSpPr>
        <p:spPr>
          <a:xfrm>
            <a:off x="2621132" y="1888366"/>
            <a:ext cx="777875" cy="540181"/>
          </a:xfrm>
          <a:blipFill>
            <a:blip r:embed="rId5" cstate="email">
              <a:extLst>
                <a:ext uri="{28A0092B-C50C-407E-A947-70E740481C1C}">
                  <a14:useLocalDpi xmlns:a14="http://schemas.microsoft.com/office/drawing/2010/main"/>
                </a:ext>
              </a:extLst>
            </a:blip>
            <a:stretch>
              <a:fillRect/>
            </a:stretch>
          </a:blipFill>
        </p:spPr>
        <p:txBody>
          <a:bodyPr/>
          <a:lstStyle>
            <a:lvl1pPr>
              <a:buNone/>
              <a:defRPr sz="100">
                <a:noFill/>
              </a:defRPr>
            </a:lvl1pPr>
          </a:lstStyle>
          <a:p>
            <a:r>
              <a:rPr lang="en-US"/>
              <a:t>.</a:t>
            </a:r>
          </a:p>
        </p:txBody>
      </p:sp>
      <p:sp>
        <p:nvSpPr>
          <p:cNvPr id="18" name="Media Placeholder 16">
            <a:extLst>
              <a:ext uri="{FF2B5EF4-FFF2-40B4-BE49-F238E27FC236}">
                <a16:creationId xmlns:a16="http://schemas.microsoft.com/office/drawing/2014/main" id="{1B212547-CF72-40BB-ABEB-9A2360868574}"/>
              </a:ext>
              <a:ext uri="{C183D7F6-B498-43B3-948B-1728B52AA6E4}">
                <adec:decorative xmlns:adec="http://schemas.microsoft.com/office/drawing/2017/decorative" val="1"/>
              </a:ext>
            </a:extLst>
          </p:cNvPr>
          <p:cNvSpPr>
            <a:spLocks noGrp="1"/>
          </p:cNvSpPr>
          <p:nvPr>
            <p:ph type="media" sz="quarter" idx="15" hasCustomPrompt="1"/>
          </p:nvPr>
        </p:nvSpPr>
        <p:spPr>
          <a:xfrm rot="10800000">
            <a:off x="2560320" y="4779616"/>
            <a:ext cx="777875" cy="540181"/>
          </a:xfrm>
          <a:blipFill>
            <a:blip r:embed="rId5" cstate="email">
              <a:extLst>
                <a:ext uri="{28A0092B-C50C-407E-A947-70E740481C1C}">
                  <a14:useLocalDpi xmlns:a14="http://schemas.microsoft.com/office/drawing/2010/main"/>
                </a:ext>
              </a:extLst>
            </a:blip>
            <a:stretch>
              <a:fillRect/>
            </a:stretch>
          </a:blipFill>
        </p:spPr>
        <p:txBody>
          <a:bodyPr/>
          <a:lstStyle>
            <a:lvl1pPr>
              <a:buNone/>
              <a:defRPr sz="100">
                <a:noFill/>
              </a:defRPr>
            </a:lvl1pPr>
          </a:lstStyle>
          <a:p>
            <a:r>
              <a:rPr lang="en-US"/>
              <a:t>.</a:t>
            </a:r>
          </a:p>
        </p:txBody>
      </p:sp>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3" name="Footer Placeholder 2" hidden="1">
            <a:extLst>
              <a:ext uri="{FF2B5EF4-FFF2-40B4-BE49-F238E27FC236}">
                <a16:creationId xmlns:a16="http://schemas.microsoft.com/office/drawing/2014/main" id="{C1F34A88-E870-4542-8E40-0AB050539B9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2" name="Logo protection area" hidden="1">
            <a:extLst>
              <a:ext uri="{FF2B5EF4-FFF2-40B4-BE49-F238E27FC236}">
                <a16:creationId xmlns:a16="http://schemas.microsoft.com/office/drawing/2014/main" id="{09B605C6-55B1-477D-9C2D-6F1686EC95D0}"/>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3" name="Layout Protection area" hidden="1">
            <a:extLst>
              <a:ext uri="{FF2B5EF4-FFF2-40B4-BE49-F238E27FC236}">
                <a16:creationId xmlns:a16="http://schemas.microsoft.com/office/drawing/2014/main" id="{2341C043-7F0A-44E9-93B9-B5ACB9F9551A}"/>
              </a:ext>
            </a:extLst>
          </p:cNvPr>
          <p:cNvSpPr/>
          <p:nvPr userDrawn="1">
            <p:custDataLst>
              <p:tags r:id="rId2"/>
            </p:custDataLst>
          </p:nvPr>
        </p:nvSpPr>
        <p:spPr>
          <a:xfrm>
            <a:off x="0" y="0"/>
            <a:ext cx="12176098" cy="68580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4" name="Slide Number Placeholder 3">
            <a:extLst>
              <a:ext uri="{FF2B5EF4-FFF2-40B4-BE49-F238E27FC236}">
                <a16:creationId xmlns:a16="http://schemas.microsoft.com/office/drawing/2014/main" id="{DD2DA6D7-3213-8747-BBAC-FA39EEBE90C0}"/>
              </a:ext>
            </a:extLst>
          </p:cNvPr>
          <p:cNvSpPr>
            <a:spLocks noGrp="1"/>
          </p:cNvSpPr>
          <p:nvPr>
            <p:ph type="sldNum" sz="quarter" idx="12"/>
          </p:nvPr>
        </p:nvSpPr>
        <p:spPr/>
        <p:txBody>
          <a:bodyPr/>
          <a:lstStyle>
            <a:lvl1pPr>
              <a:defRPr>
                <a:solidFill>
                  <a:schemeClr val="bg1"/>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FFFFFF"/>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FFFFFF"/>
              </a:solidFill>
              <a:effectLst/>
              <a:uLnTx/>
              <a:uFillTx/>
              <a:latin typeface="Nunito Sans Light"/>
              <a:ea typeface="Roboto" panose="02000000000000000000" pitchFamily="2" charset="0"/>
            </a:endParaRPr>
          </a:p>
        </p:txBody>
      </p:sp>
      <p:sp>
        <p:nvSpPr>
          <p:cNvPr id="15" name="Title Placeholder 1">
            <a:extLst>
              <a:ext uri="{FF2B5EF4-FFF2-40B4-BE49-F238E27FC236}">
                <a16:creationId xmlns:a16="http://schemas.microsoft.com/office/drawing/2014/main" id="{3DDAC9F1-86E1-E141-B1C9-F0E6BECDA64B}"/>
              </a:ext>
            </a:extLst>
          </p:cNvPr>
          <p:cNvSpPr>
            <a:spLocks noGrp="1"/>
          </p:cNvSpPr>
          <p:nvPr>
            <p:ph type="title"/>
          </p:nvPr>
        </p:nvSpPr>
        <p:spPr>
          <a:xfrm>
            <a:off x="685800" y="291162"/>
            <a:ext cx="10789920" cy="1080438"/>
          </a:xfrm>
          <a:prstGeom prst="rect">
            <a:avLst/>
          </a:prstGeom>
        </p:spPr>
        <p:txBody>
          <a:bodyPr vert="horz" lIns="0" tIns="0" rIns="0" bIns="0" rtlCol="0" anchor="b" anchorCtr="0">
            <a:noAutofit/>
          </a:bodyPr>
          <a:lstStyle>
            <a:lvl1pPr>
              <a:defRPr>
                <a:solidFill>
                  <a:schemeClr val="bg1"/>
                </a:solidFill>
              </a:defRPr>
            </a:lvl1pPr>
          </a:lstStyle>
          <a:p>
            <a:r>
              <a:rPr lang="en-US"/>
              <a:t>Click to edit Master title style</a:t>
            </a:r>
          </a:p>
        </p:txBody>
      </p:sp>
      <p:sp>
        <p:nvSpPr>
          <p:cNvPr id="6" name="Text Placeholder 5">
            <a:extLst>
              <a:ext uri="{FF2B5EF4-FFF2-40B4-BE49-F238E27FC236}">
                <a16:creationId xmlns:a16="http://schemas.microsoft.com/office/drawing/2014/main" id="{89D9D8F2-AC98-624C-8F76-2AEE1B5EFAE9}"/>
              </a:ext>
            </a:extLst>
          </p:cNvPr>
          <p:cNvSpPr>
            <a:spLocks noGrp="1"/>
          </p:cNvSpPr>
          <p:nvPr>
            <p:ph type="body" sz="quarter" idx="16" hasCustomPrompt="1"/>
          </p:nvPr>
        </p:nvSpPr>
        <p:spPr>
          <a:xfrm>
            <a:off x="3338194" y="4779616"/>
            <a:ext cx="6400800" cy="548640"/>
          </a:xfrm>
        </p:spPr>
        <p:txBody>
          <a:bodyPr lIns="182880">
            <a:noAutofit/>
          </a:bodyPr>
          <a:lstStyle>
            <a:lvl1pPr marL="0" indent="0">
              <a:lnSpc>
                <a:spcPct val="90000"/>
              </a:lnSpc>
              <a:spcBef>
                <a:spcPts val="0"/>
              </a:spcBef>
              <a:buFontTx/>
              <a:buNone/>
              <a:defRPr sz="1800" i="1">
                <a:solidFill>
                  <a:schemeClr val="bg1"/>
                </a:solidFill>
              </a:defRPr>
            </a:lvl1pPr>
            <a:lvl2pPr marL="457200" indent="0">
              <a:buFontTx/>
              <a:buNone/>
              <a:defRPr sz="1800" i="1">
                <a:solidFill>
                  <a:schemeClr val="bg1"/>
                </a:solidFill>
              </a:defRPr>
            </a:lvl2pPr>
            <a:lvl3pPr marL="914400" indent="0">
              <a:buFontTx/>
              <a:buNone/>
              <a:defRPr sz="1800" i="1">
                <a:solidFill>
                  <a:schemeClr val="bg1"/>
                </a:solidFill>
              </a:defRPr>
            </a:lvl3pPr>
            <a:lvl4pPr marL="1371600" indent="0">
              <a:buFontTx/>
              <a:buNone/>
              <a:defRPr sz="1800" i="1">
                <a:solidFill>
                  <a:schemeClr val="bg1"/>
                </a:solidFill>
              </a:defRPr>
            </a:lvl4pPr>
            <a:lvl5pPr marL="1828800" indent="0">
              <a:buFontTx/>
              <a:buNone/>
              <a:defRPr sz="1800" i="1">
                <a:solidFill>
                  <a:schemeClr val="bg1"/>
                </a:solidFill>
              </a:defRPr>
            </a:lvl5pPr>
          </a:lstStyle>
          <a:p>
            <a:pPr lvl="0"/>
            <a:r>
              <a:rPr lang="en-US"/>
              <a:t>Click to add Attribution</a:t>
            </a:r>
            <a:br>
              <a:rPr lang="en-US"/>
            </a:br>
            <a:r>
              <a:rPr lang="en-US"/>
              <a:t>Move to align with quotation mark</a:t>
            </a:r>
          </a:p>
        </p:txBody>
      </p:sp>
    </p:spTree>
    <p:extLst>
      <p:ext uri="{BB962C8B-B14F-4D97-AF65-F5344CB8AC3E}">
        <p14:creationId xmlns:p14="http://schemas.microsoft.com/office/powerpoint/2010/main" val="1579596759"/>
      </p:ext>
    </p:extLst>
  </p:cSld>
  <p:clrMapOvr>
    <a:masterClrMapping/>
  </p:clrMapOvr>
  <p:extLst>
    <p:ext uri="{DCECCB84-F9BA-43D5-87BE-67443E8EF086}">
      <p15:sldGuideLst xmlns:p15="http://schemas.microsoft.com/office/powerpoint/2012/main">
        <p15:guide id="1" pos="191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estimony/Advocacy Headsho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799C999-8D0D-0D40-B84D-2839F14635EB}"/>
              </a:ext>
              <a:ext uri="{C183D7F6-B498-43B3-948B-1728B52AA6E4}">
                <adec:decorative xmlns:adec="http://schemas.microsoft.com/office/drawing/2017/decorative" val="1"/>
              </a:ext>
            </a:extLst>
          </p:cNvPr>
          <p:cNvSpPr/>
          <p:nvPr userDrawn="1"/>
        </p:nvSpPr>
        <p:spPr>
          <a:xfrm>
            <a:off x="3822853" y="-1"/>
            <a:ext cx="8369147" cy="61766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unito Sans Light" pitchFamily="2" charset="77"/>
            </a:endParaRPr>
          </a:p>
        </p:txBody>
      </p:sp>
      <p:sp>
        <p:nvSpPr>
          <p:cNvPr id="2" name="Title 1">
            <a:extLst>
              <a:ext uri="{FF2B5EF4-FFF2-40B4-BE49-F238E27FC236}">
                <a16:creationId xmlns:a16="http://schemas.microsoft.com/office/drawing/2014/main" id="{7838340A-32CC-9F44-9F2D-60B3B3C3A638}"/>
              </a:ext>
            </a:extLst>
          </p:cNvPr>
          <p:cNvSpPr>
            <a:spLocks noGrp="1"/>
          </p:cNvSpPr>
          <p:nvPr>
            <p:ph type="title"/>
          </p:nvPr>
        </p:nvSpPr>
        <p:spPr>
          <a:xfrm>
            <a:off x="853416" y="4792607"/>
            <a:ext cx="2614998" cy="1165278"/>
          </a:xfrm>
        </p:spPr>
        <p:txBody>
          <a:bodyPr lIns="0" tIns="0" rIns="0" bIns="0" anchor="t" anchorCtr="0">
            <a:normAutofit/>
          </a:bodyPr>
          <a:lstStyle>
            <a:lvl1pPr>
              <a:lnSpc>
                <a:spcPct val="110000"/>
              </a:lnSpc>
              <a:defRPr sz="1800">
                <a:solidFill>
                  <a:schemeClr val="tx1"/>
                </a:solidFill>
                <a:latin typeface="+mn-lt"/>
              </a:defRPr>
            </a:lvl1pPr>
          </a:lstStyle>
          <a:p>
            <a:r>
              <a:rPr lang="en-US"/>
              <a:t>Click to edit Master title style</a:t>
            </a:r>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4347990" y="567798"/>
            <a:ext cx="7133693" cy="4948099"/>
          </a:xfrm>
        </p:spPr>
        <p:txBody>
          <a:bodyPr lIns="0" tIns="0" rIns="0" bIns="0" anchor="ctr" anchorCtr="0"/>
          <a:lstStyle>
            <a:lvl1pPr marL="0" indent="0">
              <a:lnSpc>
                <a:spcPct val="110000"/>
              </a:lnSpc>
              <a:spcBef>
                <a:spcPts val="600"/>
              </a:spcBef>
              <a:buNone/>
              <a:defRPr b="0" i="0">
                <a:latin typeface="+mn-lt"/>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5" name="Picture Placeholder 4">
            <a:extLst>
              <a:ext uri="{FF2B5EF4-FFF2-40B4-BE49-F238E27FC236}">
                <a16:creationId xmlns:a16="http://schemas.microsoft.com/office/drawing/2014/main" id="{2299831D-F0F0-F84A-BEE6-DA5C76488D70}"/>
              </a:ext>
            </a:extLst>
          </p:cNvPr>
          <p:cNvSpPr>
            <a:spLocks noGrp="1"/>
          </p:cNvSpPr>
          <p:nvPr>
            <p:ph type="pic" sz="quarter" idx="13" hasCustomPrompt="1"/>
          </p:nvPr>
        </p:nvSpPr>
        <p:spPr>
          <a:xfrm>
            <a:off x="943276" y="2309813"/>
            <a:ext cx="2199315" cy="2289175"/>
          </a:xfrm>
        </p:spPr>
        <p:txBody>
          <a:bodyPr/>
          <a:lstStyle>
            <a:lvl1pPr marL="342900" indent="-342900">
              <a:buFont typeface="Arial" panose="020B0604020202020204" pitchFamily="34" charset="0"/>
              <a:buChar char="•"/>
              <a:defRPr/>
            </a:lvl1pPr>
          </a:lstStyle>
          <a:p>
            <a:r>
              <a:rPr lang="en-US"/>
              <a:t>Headshot  Here. Logo only option available in master slides</a:t>
            </a:r>
          </a:p>
        </p:txBody>
      </p:sp>
      <p:sp>
        <p:nvSpPr>
          <p:cNvPr id="10" name="Picture Placeholder 9">
            <a:extLst>
              <a:ext uri="{FF2B5EF4-FFF2-40B4-BE49-F238E27FC236}">
                <a16:creationId xmlns:a16="http://schemas.microsoft.com/office/drawing/2014/main" id="{DAD44F5C-15F9-6F46-A9A6-3A6ADE24207C}"/>
              </a:ext>
            </a:extLst>
          </p:cNvPr>
          <p:cNvSpPr>
            <a:spLocks noGrp="1"/>
          </p:cNvSpPr>
          <p:nvPr>
            <p:ph type="pic" sz="quarter" idx="14" hasCustomPrompt="1"/>
          </p:nvPr>
        </p:nvSpPr>
        <p:spPr>
          <a:xfrm>
            <a:off x="831646" y="655637"/>
            <a:ext cx="2350008" cy="1572768"/>
          </a:xfrm>
        </p:spPr>
        <p:txBody>
          <a:bodyPr/>
          <a:lstStyle>
            <a:lvl1pPr marL="342900" indent="-342900">
              <a:buFont typeface="Arial" panose="020B0604020202020204" pitchFamily="34" charset="0"/>
              <a:buChar char="•"/>
              <a:defRPr/>
            </a:lvl1pPr>
          </a:lstStyle>
          <a:p>
            <a:r>
              <a:rPr lang="en-US"/>
              <a:t>Customer Logo Card</a:t>
            </a:r>
          </a:p>
        </p:txBody>
      </p:sp>
      <p:sp>
        <p:nvSpPr>
          <p:cNvPr id="8" name="Rectangle 7">
            <a:extLst>
              <a:ext uri="{FF2B5EF4-FFF2-40B4-BE49-F238E27FC236}">
                <a16:creationId xmlns:a16="http://schemas.microsoft.com/office/drawing/2014/main" id="{E40698F1-5566-8F43-9E54-71C592258BB9}"/>
              </a:ext>
              <a:ext uri="{C183D7F6-B498-43B3-948B-1728B52AA6E4}">
                <adec:decorative xmlns:adec="http://schemas.microsoft.com/office/drawing/2017/decorative" val="1"/>
              </a:ext>
            </a:extLst>
          </p:cNvPr>
          <p:cNvSpPr/>
          <p:nvPr userDrawn="1"/>
        </p:nvSpPr>
        <p:spPr>
          <a:xfrm>
            <a:off x="853416" y="2309813"/>
            <a:ext cx="89860" cy="228917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36465858-F858-7244-80D8-C8C8C6C87180}"/>
              </a:ext>
            </a:extLst>
          </p:cNvPr>
          <p:cNvSpPr>
            <a:spLocks noGrp="1"/>
          </p:cNvSpPr>
          <p:nvPr>
            <p:ph type="sldNum" sz="quarter" idx="12"/>
          </p:nvPr>
        </p:nvSpPr>
        <p:spPr/>
        <p:txBody>
          <a:bodyPr/>
          <a:lstStyle/>
          <a:p>
            <a:fld id="{7F9396FD-A8D2-5548-97AD-44EE9AACF15F}" type="slidenum">
              <a:rPr lang="en-US"/>
              <a:t>‹#›</a:t>
            </a:fld>
            <a:endParaRPr lang="en-US"/>
          </a:p>
        </p:txBody>
      </p:sp>
    </p:spTree>
    <p:extLst>
      <p:ext uri="{BB962C8B-B14F-4D97-AF65-F5344CB8AC3E}">
        <p14:creationId xmlns:p14="http://schemas.microsoft.com/office/powerpoint/2010/main" val="190466697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estimony/Advocacy Logo Only">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D1AC5BB0-2CB0-1443-8819-9DEA236FB8A4}"/>
              </a:ext>
              <a:ext uri="{C183D7F6-B498-43B3-948B-1728B52AA6E4}">
                <adec:decorative xmlns:adec="http://schemas.microsoft.com/office/drawing/2017/decorative" val="1"/>
              </a:ext>
            </a:extLst>
          </p:cNvPr>
          <p:cNvSpPr/>
          <p:nvPr userDrawn="1"/>
        </p:nvSpPr>
        <p:spPr>
          <a:xfrm>
            <a:off x="3822853" y="-1"/>
            <a:ext cx="8369147" cy="617664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Nunito Sans Light" pitchFamily="2" charset="77"/>
            </a:endParaRPr>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4347990" y="567798"/>
            <a:ext cx="7133693" cy="4948099"/>
          </a:xfrm>
        </p:spPr>
        <p:txBody>
          <a:bodyPr lIns="0" tIns="0" rIns="0" bIns="0" anchor="ctr" anchorCtr="0"/>
          <a:lstStyle>
            <a:lvl1pPr marL="0" indent="0">
              <a:lnSpc>
                <a:spcPct val="110000"/>
              </a:lnSpc>
              <a:spcBef>
                <a:spcPts val="600"/>
              </a:spcBef>
              <a:buNone/>
              <a:defRPr b="0" i="0">
                <a:latin typeface="+mn-lt"/>
              </a:defRPr>
            </a:lvl1pPr>
            <a:lvl2pPr>
              <a:lnSpc>
                <a:spcPct val="100000"/>
              </a:lnSpc>
              <a:spcBef>
                <a:spcPts val="600"/>
              </a:spcBef>
              <a:defRPr/>
            </a:lvl2pPr>
            <a:lvl3pPr>
              <a:lnSpc>
                <a:spcPct val="100000"/>
              </a:lnSpc>
              <a:spcBef>
                <a:spcPts val="600"/>
              </a:spcBef>
              <a:defRPr/>
            </a:lvl3pPr>
            <a:lvl4pPr>
              <a:lnSpc>
                <a:spcPct val="100000"/>
              </a:lnSpc>
              <a:spcBef>
                <a:spcPts val="600"/>
              </a:spcBef>
              <a:defRPr/>
            </a:lvl4pPr>
            <a:lvl5pPr>
              <a:lnSpc>
                <a:spcPct val="100000"/>
              </a:lnSpc>
              <a:spcBef>
                <a:spcPts val="600"/>
              </a:spcBef>
              <a:defRPr/>
            </a:lvl5pPr>
          </a:lstStyle>
          <a:p>
            <a:pPr lvl="0"/>
            <a:r>
              <a:rPr lang="en-US"/>
              <a:t>Click to edit Master text styles</a:t>
            </a:r>
          </a:p>
        </p:txBody>
      </p:sp>
      <p:sp>
        <p:nvSpPr>
          <p:cNvPr id="10" name="Picture Placeholder 9">
            <a:extLst>
              <a:ext uri="{FF2B5EF4-FFF2-40B4-BE49-F238E27FC236}">
                <a16:creationId xmlns:a16="http://schemas.microsoft.com/office/drawing/2014/main" id="{DAD44F5C-15F9-6F46-A9A6-3A6ADE24207C}"/>
              </a:ext>
            </a:extLst>
          </p:cNvPr>
          <p:cNvSpPr>
            <a:spLocks noGrp="1"/>
          </p:cNvSpPr>
          <p:nvPr>
            <p:ph type="pic" sz="quarter" idx="14" hasCustomPrompt="1"/>
          </p:nvPr>
        </p:nvSpPr>
        <p:spPr>
          <a:xfrm>
            <a:off x="457225" y="2085388"/>
            <a:ext cx="2867866" cy="1919350"/>
          </a:xfrm>
        </p:spPr>
        <p:txBody>
          <a:bodyPr/>
          <a:lstStyle>
            <a:lvl1pPr marL="230188" marR="0" indent="-230188" algn="l" defTabSz="914400" rtl="0" eaLnBrk="1" fontAlgn="auto" latinLnBrk="0" hangingPunct="1">
              <a:lnSpc>
                <a:spcPct val="110000"/>
              </a:lnSpc>
              <a:spcBef>
                <a:spcPts val="1000"/>
              </a:spcBef>
              <a:spcAft>
                <a:spcPts val="0"/>
              </a:spcAft>
              <a:buClr>
                <a:schemeClr val="accent4"/>
              </a:buClr>
              <a:buSzPct val="120000"/>
              <a:buFont typeface="Arial" panose="020B0604020202020204" pitchFamily="34" charset="0"/>
              <a:buChar char="•"/>
              <a:tabLst/>
              <a:defRPr/>
            </a:lvl1pPr>
          </a:lstStyle>
          <a:p>
            <a:r>
              <a:rPr lang="en-US"/>
              <a:t>Customer Logo Card</a:t>
            </a:r>
          </a:p>
          <a:p>
            <a:endParaRPr lang="en-US"/>
          </a:p>
        </p:txBody>
      </p:sp>
      <p:sp>
        <p:nvSpPr>
          <p:cNvPr id="6" name="Slide Number Placeholder 5">
            <a:extLst>
              <a:ext uri="{FF2B5EF4-FFF2-40B4-BE49-F238E27FC236}">
                <a16:creationId xmlns:a16="http://schemas.microsoft.com/office/drawing/2014/main" id="{36465858-F858-7244-80D8-C8C8C6C87180}"/>
              </a:ext>
            </a:extLst>
          </p:cNvPr>
          <p:cNvSpPr>
            <a:spLocks noGrp="1"/>
          </p:cNvSpPr>
          <p:nvPr>
            <p:ph type="sldNum" sz="quarter" idx="12"/>
          </p:nvPr>
        </p:nvSpPr>
        <p:spPr/>
        <p:txBody>
          <a:bodyPr/>
          <a:lstStyle/>
          <a:p>
            <a:fld id="{7F9396FD-A8D2-5548-97AD-44EE9AACF15F}" type="slidenum">
              <a:rPr lang="en-US"/>
              <a:t>‹#›</a:t>
            </a:fld>
            <a:endParaRPr lang="en-US"/>
          </a:p>
        </p:txBody>
      </p:sp>
    </p:spTree>
    <p:extLst>
      <p:ext uri="{BB962C8B-B14F-4D97-AF65-F5344CB8AC3E}">
        <p14:creationId xmlns:p14="http://schemas.microsoft.com/office/powerpoint/2010/main" val="200727518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     ">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6BD8B30-570A-41BC-B76C-CEA2703D3972}"/>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1200" cap="none" spc="0" normalizeH="0" baseline="0" noProof="0">
                <a:ln>
                  <a:noFill/>
                </a:ln>
                <a:solidFill>
                  <a:srgbClr val="FFFFFF"/>
                </a:solidFill>
                <a:effectLst/>
                <a:uLnTx/>
                <a:uFillTx/>
                <a:latin typeface="Tiempos Headline Bold"/>
                <a:ea typeface="+mn-ea"/>
                <a:cs typeface="+mn-cs"/>
              </a:rPr>
              <a:t>Divider </a:t>
            </a:r>
            <a:br>
              <a:rPr kumimoji="0" lang="en-US" sz="13800" b="0" i="0" u="none" strike="noStrike" kern="1200" cap="none" spc="0" normalizeH="0" baseline="0" noProof="0">
                <a:ln>
                  <a:noFill/>
                </a:ln>
                <a:solidFill>
                  <a:srgbClr val="FFFFFF"/>
                </a:solidFill>
                <a:effectLst/>
                <a:uLnTx/>
                <a:uFillTx/>
                <a:latin typeface="Tiempos Headline Bold"/>
                <a:ea typeface="+mn-ea"/>
                <a:cs typeface="+mn-cs"/>
              </a:rPr>
            </a:br>
            <a:r>
              <a:rPr kumimoji="0" lang="en-US" sz="13800" b="0" i="0" u="none" strike="noStrike" kern="1200" cap="none" spc="0" normalizeH="0" baseline="0" noProof="0">
                <a:ln>
                  <a:noFill/>
                </a:ln>
                <a:solidFill>
                  <a:srgbClr val="FFFFFF"/>
                </a:solidFill>
                <a:effectLst/>
                <a:uLnTx/>
                <a:uFillTx/>
                <a:latin typeface="Tiempos Headline Bold"/>
                <a:ea typeface="+mn-ea"/>
                <a:cs typeface="+mn-cs"/>
              </a:rPr>
              <a:t>Layouts</a:t>
            </a:r>
          </a:p>
        </p:txBody>
      </p:sp>
    </p:spTree>
    <p:extLst>
      <p:ext uri="{BB962C8B-B14F-4D97-AF65-F5344CB8AC3E}">
        <p14:creationId xmlns:p14="http://schemas.microsoft.com/office/powerpoint/2010/main" val="45765390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ur Presenters">
    <p:spTree>
      <p:nvGrpSpPr>
        <p:cNvPr id="1" name=""/>
        <p:cNvGrpSpPr/>
        <p:nvPr/>
      </p:nvGrpSpPr>
      <p:grpSpPr>
        <a:xfrm>
          <a:off x="0" y="0"/>
          <a:ext cx="0" cy="0"/>
          <a:chOff x="0" y="0"/>
          <a:chExt cx="0" cy="0"/>
        </a:xfrm>
      </p:grpSpPr>
      <p:sp>
        <p:nvSpPr>
          <p:cNvPr id="32" name="Text Placeholder 8">
            <a:extLst>
              <a:ext uri="{FF2B5EF4-FFF2-40B4-BE49-F238E27FC236}">
                <a16:creationId xmlns:a16="http://schemas.microsoft.com/office/drawing/2014/main" id="{8F289818-772D-A140-AA34-CF35FE3184CE}"/>
              </a:ext>
            </a:extLst>
          </p:cNvPr>
          <p:cNvSpPr>
            <a:spLocks noGrp="1"/>
          </p:cNvSpPr>
          <p:nvPr>
            <p:ph type="body" sz="quarter" idx="17"/>
          </p:nvPr>
        </p:nvSpPr>
        <p:spPr>
          <a:xfrm>
            <a:off x="826291" y="3818919"/>
            <a:ext cx="2470676" cy="233710"/>
          </a:xfrm>
        </p:spPr>
        <p:txBody>
          <a:bodyPr anchor="b" anchorCtr="0">
            <a:noAutofit/>
          </a:bodyPr>
          <a:lstStyle>
            <a:lvl1pPr marL="0" indent="0" algn="ctr">
              <a:buFont typeface="Arial" panose="020B0604020202020204" pitchFamily="34" charset="0"/>
              <a:buChar char="​"/>
              <a:defRPr sz="1300" b="0" i="0" spc="0">
                <a:latin typeface="+mj-lt"/>
                <a:ea typeface="Roboto Medium" panose="02000000000000000000" pitchFamily="2" charset="0"/>
                <a:cs typeface="Roboto Medium" panose="02000000000000000000" pitchFamily="2" charset="0"/>
              </a:defRPr>
            </a:lvl1pPr>
          </a:lstStyle>
          <a:p>
            <a:pPr lvl="0"/>
            <a:r>
              <a:rPr lang="en-US"/>
              <a:t>Click to edit Master text styles</a:t>
            </a:r>
          </a:p>
        </p:txBody>
      </p:sp>
      <p:sp>
        <p:nvSpPr>
          <p:cNvPr id="33" name="Text Placeholder 10">
            <a:extLst>
              <a:ext uri="{FF2B5EF4-FFF2-40B4-BE49-F238E27FC236}">
                <a16:creationId xmlns:a16="http://schemas.microsoft.com/office/drawing/2014/main" id="{B4C7420B-45DC-474D-99FE-866DCAFF6544}"/>
              </a:ext>
            </a:extLst>
          </p:cNvPr>
          <p:cNvSpPr>
            <a:spLocks noGrp="1"/>
          </p:cNvSpPr>
          <p:nvPr>
            <p:ph type="body" sz="quarter" idx="18"/>
          </p:nvPr>
        </p:nvSpPr>
        <p:spPr>
          <a:xfrm>
            <a:off x="826290" y="4109999"/>
            <a:ext cx="2470677" cy="1236953"/>
          </a:xfrm>
        </p:spPr>
        <p:txBody>
          <a:bodyPr anchor="t" anchorCtr="0">
            <a:normAutofit/>
          </a:bodyPr>
          <a:lstStyle>
            <a:lvl1pPr marL="0" indent="0" algn="ctr">
              <a:buFont typeface="Arial" panose="020B0604020202020204" pitchFamily="34" charset="0"/>
              <a:buChar char="​"/>
              <a:defRPr sz="1300" b="0" i="0">
                <a:latin typeface="+mn-lt"/>
              </a:defRPr>
            </a:lvl1pPr>
          </a:lstStyle>
          <a:p>
            <a:pPr lvl="0"/>
            <a:r>
              <a:rPr lang="en-US"/>
              <a:t>Click to edit Master text styles</a:t>
            </a:r>
          </a:p>
        </p:txBody>
      </p:sp>
      <p:sp>
        <p:nvSpPr>
          <p:cNvPr id="65" name="Text Placeholder 8">
            <a:extLst>
              <a:ext uri="{FF2B5EF4-FFF2-40B4-BE49-F238E27FC236}">
                <a16:creationId xmlns:a16="http://schemas.microsoft.com/office/drawing/2014/main" id="{3E6BA00D-873D-3449-AACE-B6EB39DBBBD7}"/>
              </a:ext>
            </a:extLst>
          </p:cNvPr>
          <p:cNvSpPr>
            <a:spLocks noGrp="1"/>
          </p:cNvSpPr>
          <p:nvPr>
            <p:ph type="body" sz="quarter" idx="66"/>
          </p:nvPr>
        </p:nvSpPr>
        <p:spPr>
          <a:xfrm>
            <a:off x="3511716" y="3818919"/>
            <a:ext cx="2470676" cy="233710"/>
          </a:xfrm>
        </p:spPr>
        <p:txBody>
          <a:bodyPr anchor="b" anchorCtr="0">
            <a:noAutofit/>
          </a:bodyPr>
          <a:lstStyle>
            <a:lvl1pPr marL="0" indent="0" algn="ctr">
              <a:buFont typeface="Arial" panose="020B0604020202020204" pitchFamily="34" charset="0"/>
              <a:buChar char="​"/>
              <a:defRPr sz="1300" b="0" i="0" spc="0">
                <a:latin typeface="+mj-lt"/>
                <a:ea typeface="Roboto Medium" panose="02000000000000000000" pitchFamily="2" charset="0"/>
                <a:cs typeface="Roboto Medium" panose="02000000000000000000" pitchFamily="2" charset="0"/>
              </a:defRPr>
            </a:lvl1pPr>
          </a:lstStyle>
          <a:p>
            <a:pPr lvl="0"/>
            <a:r>
              <a:rPr lang="en-US"/>
              <a:t>Click to edit Master text styles</a:t>
            </a:r>
          </a:p>
        </p:txBody>
      </p:sp>
      <p:sp>
        <p:nvSpPr>
          <p:cNvPr id="78" name="Text Placeholder 10">
            <a:extLst>
              <a:ext uri="{FF2B5EF4-FFF2-40B4-BE49-F238E27FC236}">
                <a16:creationId xmlns:a16="http://schemas.microsoft.com/office/drawing/2014/main" id="{8FF5E4BC-2E10-CB44-9802-D46774F4123E}"/>
              </a:ext>
            </a:extLst>
          </p:cNvPr>
          <p:cNvSpPr>
            <a:spLocks noGrp="1"/>
          </p:cNvSpPr>
          <p:nvPr>
            <p:ph type="body" sz="quarter" idx="67"/>
          </p:nvPr>
        </p:nvSpPr>
        <p:spPr>
          <a:xfrm>
            <a:off x="3511715" y="4109999"/>
            <a:ext cx="2470677" cy="1236953"/>
          </a:xfrm>
        </p:spPr>
        <p:txBody>
          <a:bodyPr anchor="t" anchorCtr="0">
            <a:normAutofit/>
          </a:bodyPr>
          <a:lstStyle>
            <a:lvl1pPr marL="0" indent="0" algn="ctr">
              <a:buFont typeface="Arial" panose="020B0604020202020204" pitchFamily="34" charset="0"/>
              <a:buChar char="​"/>
              <a:defRPr sz="1300" b="0" i="0">
                <a:latin typeface="+mn-lt"/>
              </a:defRPr>
            </a:lvl1pPr>
          </a:lstStyle>
          <a:p>
            <a:pPr lvl="0"/>
            <a:r>
              <a:rPr lang="en-US"/>
              <a:t>Click to edit Master text styles</a:t>
            </a:r>
          </a:p>
        </p:txBody>
      </p:sp>
      <p:sp>
        <p:nvSpPr>
          <p:cNvPr id="79" name="Text Placeholder 8">
            <a:extLst>
              <a:ext uri="{FF2B5EF4-FFF2-40B4-BE49-F238E27FC236}">
                <a16:creationId xmlns:a16="http://schemas.microsoft.com/office/drawing/2014/main" id="{319A64E7-9A91-6742-B189-A4DBB5B40A7C}"/>
              </a:ext>
            </a:extLst>
          </p:cNvPr>
          <p:cNvSpPr>
            <a:spLocks noGrp="1"/>
          </p:cNvSpPr>
          <p:nvPr>
            <p:ph type="body" sz="quarter" idx="68"/>
          </p:nvPr>
        </p:nvSpPr>
        <p:spPr>
          <a:xfrm>
            <a:off x="6197141" y="3818919"/>
            <a:ext cx="2470676" cy="233710"/>
          </a:xfrm>
        </p:spPr>
        <p:txBody>
          <a:bodyPr anchor="b" anchorCtr="0">
            <a:noAutofit/>
          </a:bodyPr>
          <a:lstStyle>
            <a:lvl1pPr marL="0" indent="0" algn="ctr">
              <a:buFont typeface="Arial" panose="020B0604020202020204" pitchFamily="34" charset="0"/>
              <a:buChar char="​"/>
              <a:defRPr sz="1300" b="0" i="0" spc="0">
                <a:latin typeface="+mj-lt"/>
                <a:ea typeface="Roboto Medium" panose="02000000000000000000" pitchFamily="2" charset="0"/>
                <a:cs typeface="Roboto Medium" panose="02000000000000000000" pitchFamily="2" charset="0"/>
              </a:defRPr>
            </a:lvl1pPr>
          </a:lstStyle>
          <a:p>
            <a:pPr lvl="0"/>
            <a:r>
              <a:rPr lang="en-US"/>
              <a:t>Click to edit Master text styles</a:t>
            </a:r>
          </a:p>
        </p:txBody>
      </p:sp>
      <p:sp>
        <p:nvSpPr>
          <p:cNvPr id="80" name="Text Placeholder 10">
            <a:extLst>
              <a:ext uri="{FF2B5EF4-FFF2-40B4-BE49-F238E27FC236}">
                <a16:creationId xmlns:a16="http://schemas.microsoft.com/office/drawing/2014/main" id="{5332BF71-0E13-424F-9700-79F4AA8E3A38}"/>
              </a:ext>
            </a:extLst>
          </p:cNvPr>
          <p:cNvSpPr>
            <a:spLocks noGrp="1"/>
          </p:cNvSpPr>
          <p:nvPr>
            <p:ph type="body" sz="quarter" idx="69"/>
          </p:nvPr>
        </p:nvSpPr>
        <p:spPr>
          <a:xfrm>
            <a:off x="6197140" y="4109999"/>
            <a:ext cx="2470677" cy="1236953"/>
          </a:xfrm>
        </p:spPr>
        <p:txBody>
          <a:bodyPr anchor="t" anchorCtr="0">
            <a:normAutofit/>
          </a:bodyPr>
          <a:lstStyle>
            <a:lvl1pPr marL="0" indent="0" algn="ctr">
              <a:buFont typeface="Arial" panose="020B0604020202020204" pitchFamily="34" charset="0"/>
              <a:buChar char="​"/>
              <a:defRPr sz="1300" b="0" i="0">
                <a:latin typeface="+mn-lt"/>
              </a:defRPr>
            </a:lvl1pPr>
          </a:lstStyle>
          <a:p>
            <a:pPr lvl="0"/>
            <a:r>
              <a:rPr lang="en-US"/>
              <a:t>Click to edit Master text styles</a:t>
            </a:r>
          </a:p>
        </p:txBody>
      </p:sp>
      <p:sp>
        <p:nvSpPr>
          <p:cNvPr id="81" name="Text Placeholder 8">
            <a:extLst>
              <a:ext uri="{FF2B5EF4-FFF2-40B4-BE49-F238E27FC236}">
                <a16:creationId xmlns:a16="http://schemas.microsoft.com/office/drawing/2014/main" id="{040038F4-AA58-B54C-88B7-33A677C93229}"/>
              </a:ext>
            </a:extLst>
          </p:cNvPr>
          <p:cNvSpPr>
            <a:spLocks noGrp="1"/>
          </p:cNvSpPr>
          <p:nvPr>
            <p:ph type="body" sz="quarter" idx="70"/>
          </p:nvPr>
        </p:nvSpPr>
        <p:spPr>
          <a:xfrm>
            <a:off x="8882565" y="3818919"/>
            <a:ext cx="2470676" cy="233710"/>
          </a:xfrm>
        </p:spPr>
        <p:txBody>
          <a:bodyPr anchor="b" anchorCtr="0">
            <a:noAutofit/>
          </a:bodyPr>
          <a:lstStyle>
            <a:lvl1pPr marL="0" indent="0" algn="ctr">
              <a:buFont typeface="Arial" panose="020B0604020202020204" pitchFamily="34" charset="0"/>
              <a:buChar char="​"/>
              <a:defRPr sz="1300" b="0" i="0" spc="0">
                <a:latin typeface="+mj-lt"/>
                <a:ea typeface="Roboto Medium" panose="02000000000000000000" pitchFamily="2" charset="0"/>
                <a:cs typeface="Roboto Medium" panose="02000000000000000000" pitchFamily="2" charset="0"/>
              </a:defRPr>
            </a:lvl1pPr>
          </a:lstStyle>
          <a:p>
            <a:pPr lvl="0"/>
            <a:r>
              <a:rPr lang="en-US"/>
              <a:t>Click to edit Master text styles</a:t>
            </a:r>
          </a:p>
        </p:txBody>
      </p:sp>
      <p:sp>
        <p:nvSpPr>
          <p:cNvPr id="82" name="Text Placeholder 10">
            <a:extLst>
              <a:ext uri="{FF2B5EF4-FFF2-40B4-BE49-F238E27FC236}">
                <a16:creationId xmlns:a16="http://schemas.microsoft.com/office/drawing/2014/main" id="{FE21304F-5CF1-3143-A20B-6949637FA3A9}"/>
              </a:ext>
            </a:extLst>
          </p:cNvPr>
          <p:cNvSpPr>
            <a:spLocks noGrp="1"/>
          </p:cNvSpPr>
          <p:nvPr>
            <p:ph type="body" sz="quarter" idx="71"/>
          </p:nvPr>
        </p:nvSpPr>
        <p:spPr>
          <a:xfrm>
            <a:off x="8882564" y="4109999"/>
            <a:ext cx="2470677" cy="1236953"/>
          </a:xfrm>
        </p:spPr>
        <p:txBody>
          <a:bodyPr anchor="t" anchorCtr="0">
            <a:normAutofit/>
          </a:bodyPr>
          <a:lstStyle>
            <a:lvl1pPr marL="0" indent="0" algn="ctr">
              <a:buFont typeface="Arial" panose="020B0604020202020204" pitchFamily="34" charset="0"/>
              <a:buChar char="​"/>
              <a:defRPr sz="1300" b="0" i="0">
                <a:latin typeface="+mn-lt"/>
              </a:defRPr>
            </a:lvl1pPr>
          </a:lstStyle>
          <a:p>
            <a:pPr lvl="0"/>
            <a:r>
              <a:rPr lang="en-US"/>
              <a:t>Click to edit Master text styles</a:t>
            </a:r>
          </a:p>
        </p:txBody>
      </p:sp>
      <p:sp>
        <p:nvSpPr>
          <p:cNvPr id="23" name="Rectangle 22">
            <a:extLst>
              <a:ext uri="{FF2B5EF4-FFF2-40B4-BE49-F238E27FC236}">
                <a16:creationId xmlns:a16="http://schemas.microsoft.com/office/drawing/2014/main" id="{A9A5FF8A-2A79-834F-AA61-B9064AD947E9}"/>
              </a:ext>
              <a:ext uri="{C183D7F6-B498-43B3-948B-1728B52AA6E4}">
                <adec:decorative xmlns:adec="http://schemas.microsoft.com/office/drawing/2017/decorative" val="1"/>
              </a:ext>
            </a:extLst>
          </p:cNvPr>
          <p:cNvSpPr/>
          <p:nvPr userDrawn="1"/>
        </p:nvSpPr>
        <p:spPr>
          <a:xfrm>
            <a:off x="1088263" y="1775450"/>
            <a:ext cx="1947295" cy="188165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24" name="Rectangle 23">
            <a:extLst>
              <a:ext uri="{FF2B5EF4-FFF2-40B4-BE49-F238E27FC236}">
                <a16:creationId xmlns:a16="http://schemas.microsoft.com/office/drawing/2014/main" id="{3F3E8339-4363-CC4D-95C6-84C44C28C0DD}"/>
              </a:ext>
              <a:ext uri="{C183D7F6-B498-43B3-948B-1728B52AA6E4}">
                <adec:decorative xmlns:adec="http://schemas.microsoft.com/office/drawing/2017/decorative" val="1"/>
              </a:ext>
            </a:extLst>
          </p:cNvPr>
          <p:cNvSpPr/>
          <p:nvPr userDrawn="1"/>
        </p:nvSpPr>
        <p:spPr>
          <a:xfrm>
            <a:off x="1178800" y="1775450"/>
            <a:ext cx="1879547" cy="1881655"/>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25" name="TextBox 24">
            <a:extLst>
              <a:ext uri="{FF2B5EF4-FFF2-40B4-BE49-F238E27FC236}">
                <a16:creationId xmlns:a16="http://schemas.microsoft.com/office/drawing/2014/main" id="{B209960D-E04E-7245-B83B-5A9EBED26DA3}"/>
              </a:ext>
              <a:ext uri="{C183D7F6-B498-43B3-948B-1728B52AA6E4}">
                <adec:decorative xmlns:adec="http://schemas.microsoft.com/office/drawing/2017/decorative" val="1"/>
              </a:ext>
            </a:extLst>
          </p:cNvPr>
          <p:cNvSpPr txBox="1"/>
          <p:nvPr userDrawn="1"/>
        </p:nvSpPr>
        <p:spPr>
          <a:xfrm>
            <a:off x="1271324" y="3051692"/>
            <a:ext cx="162903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Nunito Sans Light" pitchFamily="2" charset="77"/>
                <a:ea typeface="Roboto Medium" panose="02000000000000000000" pitchFamily="2" charset="0"/>
                <a:cs typeface="Roboto Medium" panose="02000000000000000000" pitchFamily="2" charset="0"/>
              </a:rPr>
              <a:t>Headshot</a:t>
            </a:r>
          </a:p>
        </p:txBody>
      </p:sp>
      <p:sp>
        <p:nvSpPr>
          <p:cNvPr id="26" name="Picture Placeholder 5">
            <a:extLst>
              <a:ext uri="{FF2B5EF4-FFF2-40B4-BE49-F238E27FC236}">
                <a16:creationId xmlns:a16="http://schemas.microsoft.com/office/drawing/2014/main" id="{6E67699B-DAED-7447-94E4-3848170F0297}"/>
              </a:ext>
              <a:ext uri="{C183D7F6-B498-43B3-948B-1728B52AA6E4}">
                <adec:decorative xmlns:adec="http://schemas.microsoft.com/office/drawing/2017/decorative" val="1"/>
              </a:ext>
            </a:extLst>
          </p:cNvPr>
          <p:cNvSpPr>
            <a:spLocks noGrp="1"/>
          </p:cNvSpPr>
          <p:nvPr>
            <p:ph type="pic" sz="quarter" idx="28" hasCustomPrompt="1"/>
          </p:nvPr>
        </p:nvSpPr>
        <p:spPr>
          <a:xfrm>
            <a:off x="1178818" y="1775450"/>
            <a:ext cx="1879523" cy="1881655"/>
          </a:xfrm>
        </p:spPr>
        <p:txBody>
          <a:bodyPr tIns="274320">
            <a:normAutofit/>
          </a:bodyPr>
          <a:lstStyle>
            <a:lvl1pPr algn="l">
              <a:buNone/>
              <a:defRPr sz="1600" b="0" i="0"/>
            </a:lvl1pPr>
          </a:lstStyle>
          <a:p>
            <a:r>
              <a:rPr lang="en-US"/>
              <a:t>Click icon to insert image</a:t>
            </a:r>
          </a:p>
        </p:txBody>
      </p:sp>
      <p:sp>
        <p:nvSpPr>
          <p:cNvPr id="39" name="Rectangle 38">
            <a:extLst>
              <a:ext uri="{FF2B5EF4-FFF2-40B4-BE49-F238E27FC236}">
                <a16:creationId xmlns:a16="http://schemas.microsoft.com/office/drawing/2014/main" id="{BD58A104-B2A1-B34D-8DDF-EB3C99DE42AE}"/>
              </a:ext>
              <a:ext uri="{C183D7F6-B498-43B3-948B-1728B52AA6E4}">
                <adec:decorative xmlns:adec="http://schemas.microsoft.com/office/drawing/2017/decorative" val="1"/>
              </a:ext>
            </a:extLst>
          </p:cNvPr>
          <p:cNvSpPr/>
          <p:nvPr userDrawn="1"/>
        </p:nvSpPr>
        <p:spPr>
          <a:xfrm>
            <a:off x="3765718" y="1775450"/>
            <a:ext cx="1947295" cy="188165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40" name="Rectangle 39">
            <a:extLst>
              <a:ext uri="{FF2B5EF4-FFF2-40B4-BE49-F238E27FC236}">
                <a16:creationId xmlns:a16="http://schemas.microsoft.com/office/drawing/2014/main" id="{DEBE52FD-7FC2-4C40-9CA9-358713F9F9F3}"/>
              </a:ext>
              <a:ext uri="{C183D7F6-B498-43B3-948B-1728B52AA6E4}">
                <adec:decorative xmlns:adec="http://schemas.microsoft.com/office/drawing/2017/decorative" val="1"/>
              </a:ext>
            </a:extLst>
          </p:cNvPr>
          <p:cNvSpPr/>
          <p:nvPr userDrawn="1"/>
        </p:nvSpPr>
        <p:spPr>
          <a:xfrm>
            <a:off x="3856255" y="1775450"/>
            <a:ext cx="1879547" cy="1881655"/>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41" name="TextBox 40">
            <a:extLst>
              <a:ext uri="{FF2B5EF4-FFF2-40B4-BE49-F238E27FC236}">
                <a16:creationId xmlns:a16="http://schemas.microsoft.com/office/drawing/2014/main" id="{7D741936-94F8-A343-A1DC-9FFB659C1F3E}"/>
              </a:ext>
              <a:ext uri="{C183D7F6-B498-43B3-948B-1728B52AA6E4}">
                <adec:decorative xmlns:adec="http://schemas.microsoft.com/office/drawing/2017/decorative" val="1"/>
              </a:ext>
            </a:extLst>
          </p:cNvPr>
          <p:cNvSpPr txBox="1"/>
          <p:nvPr userDrawn="1"/>
        </p:nvSpPr>
        <p:spPr>
          <a:xfrm>
            <a:off x="3948779" y="3051692"/>
            <a:ext cx="162903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Nunito Sans Light" pitchFamily="2" charset="77"/>
                <a:ea typeface="Roboto Medium" panose="02000000000000000000" pitchFamily="2" charset="0"/>
                <a:cs typeface="Roboto Medium" panose="02000000000000000000" pitchFamily="2" charset="0"/>
              </a:rPr>
              <a:t>Headshot</a:t>
            </a:r>
          </a:p>
        </p:txBody>
      </p:sp>
      <p:sp>
        <p:nvSpPr>
          <p:cNvPr id="42" name="Picture Placeholder 5">
            <a:extLst>
              <a:ext uri="{FF2B5EF4-FFF2-40B4-BE49-F238E27FC236}">
                <a16:creationId xmlns:a16="http://schemas.microsoft.com/office/drawing/2014/main" id="{49ABB335-E6E5-5742-A4A3-5BC7222FE8A8}"/>
              </a:ext>
              <a:ext uri="{C183D7F6-B498-43B3-948B-1728B52AA6E4}">
                <adec:decorative xmlns:adec="http://schemas.microsoft.com/office/drawing/2017/decorative" val="1"/>
              </a:ext>
            </a:extLst>
          </p:cNvPr>
          <p:cNvSpPr>
            <a:spLocks noGrp="1"/>
          </p:cNvSpPr>
          <p:nvPr>
            <p:ph type="pic" sz="quarter" idx="53" hasCustomPrompt="1"/>
          </p:nvPr>
        </p:nvSpPr>
        <p:spPr>
          <a:xfrm>
            <a:off x="3856273" y="1775450"/>
            <a:ext cx="1879523" cy="1881655"/>
          </a:xfrm>
        </p:spPr>
        <p:txBody>
          <a:bodyPr tIns="274320">
            <a:normAutofit/>
          </a:bodyPr>
          <a:lstStyle>
            <a:lvl1pPr algn="l">
              <a:buNone/>
              <a:defRPr sz="1600" b="0" i="0"/>
            </a:lvl1pPr>
          </a:lstStyle>
          <a:p>
            <a:r>
              <a:rPr lang="en-US"/>
              <a:t>Click icon to insert image</a:t>
            </a:r>
          </a:p>
        </p:txBody>
      </p:sp>
      <p:sp>
        <p:nvSpPr>
          <p:cNvPr id="43" name="Rectangle 42">
            <a:extLst>
              <a:ext uri="{FF2B5EF4-FFF2-40B4-BE49-F238E27FC236}">
                <a16:creationId xmlns:a16="http://schemas.microsoft.com/office/drawing/2014/main" id="{5C6F2581-571F-9347-A0CA-5488B41BA4DA}"/>
              </a:ext>
              <a:ext uri="{C183D7F6-B498-43B3-948B-1728B52AA6E4}">
                <adec:decorative xmlns:adec="http://schemas.microsoft.com/office/drawing/2017/decorative" val="1"/>
              </a:ext>
            </a:extLst>
          </p:cNvPr>
          <p:cNvSpPr/>
          <p:nvPr userDrawn="1"/>
        </p:nvSpPr>
        <p:spPr>
          <a:xfrm>
            <a:off x="6451861" y="1775450"/>
            <a:ext cx="1947295" cy="188165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44" name="Rectangle 43">
            <a:extLst>
              <a:ext uri="{FF2B5EF4-FFF2-40B4-BE49-F238E27FC236}">
                <a16:creationId xmlns:a16="http://schemas.microsoft.com/office/drawing/2014/main" id="{104E7DBE-6F2A-1D4F-858F-FF0091B3C0CC}"/>
              </a:ext>
              <a:ext uri="{C183D7F6-B498-43B3-948B-1728B52AA6E4}">
                <adec:decorative xmlns:adec="http://schemas.microsoft.com/office/drawing/2017/decorative" val="1"/>
              </a:ext>
            </a:extLst>
          </p:cNvPr>
          <p:cNvSpPr/>
          <p:nvPr userDrawn="1"/>
        </p:nvSpPr>
        <p:spPr>
          <a:xfrm>
            <a:off x="6542398" y="1775450"/>
            <a:ext cx="1879547" cy="1881655"/>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45" name="TextBox 44">
            <a:extLst>
              <a:ext uri="{FF2B5EF4-FFF2-40B4-BE49-F238E27FC236}">
                <a16:creationId xmlns:a16="http://schemas.microsoft.com/office/drawing/2014/main" id="{5ACF9186-A8A3-5946-9D3A-806BB2E1CB79}"/>
              </a:ext>
              <a:ext uri="{C183D7F6-B498-43B3-948B-1728B52AA6E4}">
                <adec:decorative xmlns:adec="http://schemas.microsoft.com/office/drawing/2017/decorative" val="1"/>
              </a:ext>
            </a:extLst>
          </p:cNvPr>
          <p:cNvSpPr txBox="1"/>
          <p:nvPr userDrawn="1"/>
        </p:nvSpPr>
        <p:spPr>
          <a:xfrm>
            <a:off x="6634922" y="3051692"/>
            <a:ext cx="162903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Nunito Sans Light" pitchFamily="2" charset="77"/>
                <a:ea typeface="Roboto Medium" panose="02000000000000000000" pitchFamily="2" charset="0"/>
                <a:cs typeface="Roboto Medium" panose="02000000000000000000" pitchFamily="2" charset="0"/>
              </a:rPr>
              <a:t>Headshot</a:t>
            </a:r>
          </a:p>
        </p:txBody>
      </p:sp>
      <p:sp>
        <p:nvSpPr>
          <p:cNvPr id="46" name="Picture Placeholder 5">
            <a:extLst>
              <a:ext uri="{FF2B5EF4-FFF2-40B4-BE49-F238E27FC236}">
                <a16:creationId xmlns:a16="http://schemas.microsoft.com/office/drawing/2014/main" id="{2D52D5E7-F51B-BB4F-9CB4-A45A6815ACD2}"/>
              </a:ext>
              <a:ext uri="{C183D7F6-B498-43B3-948B-1728B52AA6E4}">
                <adec:decorative xmlns:adec="http://schemas.microsoft.com/office/drawing/2017/decorative" val="1"/>
              </a:ext>
            </a:extLst>
          </p:cNvPr>
          <p:cNvSpPr>
            <a:spLocks noGrp="1"/>
          </p:cNvSpPr>
          <p:nvPr>
            <p:ph type="pic" sz="quarter" idx="54" hasCustomPrompt="1"/>
          </p:nvPr>
        </p:nvSpPr>
        <p:spPr>
          <a:xfrm>
            <a:off x="6542416" y="1775450"/>
            <a:ext cx="1879523" cy="1881655"/>
          </a:xfrm>
        </p:spPr>
        <p:txBody>
          <a:bodyPr tIns="274320">
            <a:normAutofit/>
          </a:bodyPr>
          <a:lstStyle>
            <a:lvl1pPr algn="l">
              <a:buNone/>
              <a:defRPr sz="1600" b="0" i="0"/>
            </a:lvl1pPr>
          </a:lstStyle>
          <a:p>
            <a:r>
              <a:rPr lang="en-US"/>
              <a:t>Click icon to insert image</a:t>
            </a:r>
          </a:p>
        </p:txBody>
      </p:sp>
      <p:sp>
        <p:nvSpPr>
          <p:cNvPr id="47" name="Rectangle 46">
            <a:extLst>
              <a:ext uri="{FF2B5EF4-FFF2-40B4-BE49-F238E27FC236}">
                <a16:creationId xmlns:a16="http://schemas.microsoft.com/office/drawing/2014/main" id="{06BD122F-CABC-034B-9791-488279034818}"/>
              </a:ext>
              <a:ext uri="{C183D7F6-B498-43B3-948B-1728B52AA6E4}">
                <adec:decorative xmlns:adec="http://schemas.microsoft.com/office/drawing/2017/decorative" val="1"/>
              </a:ext>
            </a:extLst>
          </p:cNvPr>
          <p:cNvSpPr/>
          <p:nvPr userDrawn="1"/>
        </p:nvSpPr>
        <p:spPr>
          <a:xfrm>
            <a:off x="9133653" y="1775450"/>
            <a:ext cx="1947295" cy="188165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48" name="Rectangle 47">
            <a:extLst>
              <a:ext uri="{FF2B5EF4-FFF2-40B4-BE49-F238E27FC236}">
                <a16:creationId xmlns:a16="http://schemas.microsoft.com/office/drawing/2014/main" id="{6CD8EB1B-3FD0-EC4D-A7E9-4D80F04EE674}"/>
              </a:ext>
              <a:ext uri="{C183D7F6-B498-43B3-948B-1728B52AA6E4}">
                <adec:decorative xmlns:adec="http://schemas.microsoft.com/office/drawing/2017/decorative" val="1"/>
              </a:ext>
            </a:extLst>
          </p:cNvPr>
          <p:cNvSpPr/>
          <p:nvPr userDrawn="1"/>
        </p:nvSpPr>
        <p:spPr>
          <a:xfrm>
            <a:off x="9224190" y="1775450"/>
            <a:ext cx="1879547" cy="1881655"/>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49" name="TextBox 48">
            <a:extLst>
              <a:ext uri="{FF2B5EF4-FFF2-40B4-BE49-F238E27FC236}">
                <a16:creationId xmlns:a16="http://schemas.microsoft.com/office/drawing/2014/main" id="{0AF10AA2-20F0-3E45-B0E4-2023C34AD9CA}"/>
              </a:ext>
              <a:ext uri="{C183D7F6-B498-43B3-948B-1728B52AA6E4}">
                <adec:decorative xmlns:adec="http://schemas.microsoft.com/office/drawing/2017/decorative" val="1"/>
              </a:ext>
            </a:extLst>
          </p:cNvPr>
          <p:cNvSpPr txBox="1"/>
          <p:nvPr userDrawn="1"/>
        </p:nvSpPr>
        <p:spPr>
          <a:xfrm>
            <a:off x="9316714" y="3051692"/>
            <a:ext cx="1629031"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Nunito Sans Light" pitchFamily="2" charset="77"/>
                <a:ea typeface="Roboto Medium" panose="02000000000000000000" pitchFamily="2" charset="0"/>
                <a:cs typeface="Roboto Medium" panose="02000000000000000000" pitchFamily="2" charset="0"/>
              </a:rPr>
              <a:t>Headshot</a:t>
            </a:r>
          </a:p>
        </p:txBody>
      </p:sp>
      <p:sp>
        <p:nvSpPr>
          <p:cNvPr id="50" name="Picture Placeholder 5">
            <a:extLst>
              <a:ext uri="{FF2B5EF4-FFF2-40B4-BE49-F238E27FC236}">
                <a16:creationId xmlns:a16="http://schemas.microsoft.com/office/drawing/2014/main" id="{46E35F6C-8F6A-0C47-B0B2-852C57D867AD}"/>
              </a:ext>
              <a:ext uri="{C183D7F6-B498-43B3-948B-1728B52AA6E4}">
                <adec:decorative xmlns:adec="http://schemas.microsoft.com/office/drawing/2017/decorative" val="1"/>
              </a:ext>
            </a:extLst>
          </p:cNvPr>
          <p:cNvSpPr>
            <a:spLocks noGrp="1"/>
          </p:cNvSpPr>
          <p:nvPr>
            <p:ph type="pic" sz="quarter" idx="55" hasCustomPrompt="1"/>
          </p:nvPr>
        </p:nvSpPr>
        <p:spPr>
          <a:xfrm>
            <a:off x="9224208" y="1775450"/>
            <a:ext cx="1879523" cy="1881655"/>
          </a:xfrm>
        </p:spPr>
        <p:txBody>
          <a:bodyPr tIns="274320">
            <a:normAutofit/>
          </a:bodyPr>
          <a:lstStyle>
            <a:lvl1pPr algn="l">
              <a:buNone/>
              <a:defRPr sz="1600" b="0" i="0"/>
            </a:lvl1pPr>
          </a:lstStyle>
          <a:p>
            <a:r>
              <a:rPr lang="en-US"/>
              <a:t>Click icon to insert image</a:t>
            </a:r>
          </a:p>
        </p:txBody>
      </p:sp>
      <p:sp>
        <p:nvSpPr>
          <p:cNvPr id="2" name="Date Placeholder 1" hidden="1">
            <a:extLst>
              <a:ext uri="{FF2B5EF4-FFF2-40B4-BE49-F238E27FC236}">
                <a16:creationId xmlns:a16="http://schemas.microsoft.com/office/drawing/2014/main" id="{BEC7E80B-BEA4-402F-83AA-50D9834C817E}"/>
              </a:ext>
            </a:extLst>
          </p:cNvPr>
          <p:cNvSpPr>
            <a:spLocks noGrp="1"/>
          </p:cNvSpPr>
          <p:nvPr>
            <p:ph type="dt" sz="half" idx="30"/>
          </p:nvPr>
        </p:nvSpPr>
        <p:spPr/>
        <p:txBody>
          <a:bodyPr/>
          <a:lstStyle/>
          <a:p>
            <a:fld id="{77AA6E6C-BB3E-E94D-B480-811E6A5390FE}" type="datetime1">
              <a:rPr lang="en-US"/>
              <a:pPr/>
              <a:t>5/10/2023</a:t>
            </a:fld>
            <a:endParaRPr lang="en-US"/>
          </a:p>
        </p:txBody>
      </p:sp>
      <p:sp>
        <p:nvSpPr>
          <p:cNvPr id="6" name="Footer Placeholder 5" hidden="1">
            <a:extLst>
              <a:ext uri="{FF2B5EF4-FFF2-40B4-BE49-F238E27FC236}">
                <a16:creationId xmlns:a16="http://schemas.microsoft.com/office/drawing/2014/main" id="{65FAC813-B34C-46E5-BA68-FE76BFC664A6}"/>
              </a:ext>
            </a:extLst>
          </p:cNvPr>
          <p:cNvSpPr>
            <a:spLocks noGrp="1"/>
          </p:cNvSpPr>
          <p:nvPr>
            <p:ph type="ftr" sz="quarter" idx="31"/>
          </p:nvPr>
        </p:nvSpPr>
        <p:spPr/>
        <p:txBody>
          <a:bodyPr/>
          <a:lstStyle/>
          <a:p>
            <a:pPr algn="r"/>
            <a:endParaRPr lang="en-US"/>
          </a:p>
        </p:txBody>
      </p:sp>
      <p:sp>
        <p:nvSpPr>
          <p:cNvPr id="29" name="Logo protection area" hidden="1">
            <a:extLst>
              <a:ext uri="{FF2B5EF4-FFF2-40B4-BE49-F238E27FC236}">
                <a16:creationId xmlns:a16="http://schemas.microsoft.com/office/drawing/2014/main" id="{08356037-3A3A-124B-9A57-F45A664F1E6D}"/>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30" name="Layout protection area" hidden="1">
            <a:extLst>
              <a:ext uri="{FF2B5EF4-FFF2-40B4-BE49-F238E27FC236}">
                <a16:creationId xmlns:a16="http://schemas.microsoft.com/office/drawing/2014/main" id="{7E60E8E9-D961-D74B-B75F-492C7E623D83}"/>
              </a:ext>
            </a:extLst>
          </p:cNvPr>
          <p:cNvSpPr/>
          <p:nvPr userDrawn="1">
            <p:custDataLst>
              <p:tags r:id="rId2"/>
            </p:custDataLst>
          </p:nvPr>
        </p:nvSpPr>
        <p:spPr>
          <a:xfrm>
            <a:off x="0" y="0"/>
            <a:ext cx="12176098" cy="604361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7" name="Slide Number Placeholder 6">
            <a:extLst>
              <a:ext uri="{FF2B5EF4-FFF2-40B4-BE49-F238E27FC236}">
                <a16:creationId xmlns:a16="http://schemas.microsoft.com/office/drawing/2014/main" id="{7F380CA8-A72A-4D2A-9CC8-3A5723A3AB1D}"/>
              </a:ext>
            </a:extLst>
          </p:cNvPr>
          <p:cNvSpPr>
            <a:spLocks noGrp="1"/>
          </p:cNvSpPr>
          <p:nvPr>
            <p:ph type="sldNum" sz="quarter" idx="32"/>
          </p:nvPr>
        </p:nvSpPr>
        <p:spPr/>
        <p:txBody>
          <a:bodyPr/>
          <a:lstStyle/>
          <a:p>
            <a:fld id="{7F9396FD-A8D2-5548-97AD-44EE9AACF15F}" type="slidenum">
              <a:rPr lang="en-US"/>
              <a:pPr/>
              <a:t>‹#›</a:t>
            </a:fld>
            <a:endParaRPr lang="en-US"/>
          </a:p>
        </p:txBody>
      </p:sp>
    </p:spTree>
    <p:extLst>
      <p:ext uri="{BB962C8B-B14F-4D97-AF65-F5344CB8AC3E}">
        <p14:creationId xmlns:p14="http://schemas.microsoft.com/office/powerpoint/2010/main" val="288467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Divider Slide 1">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5CA6403-541C-694D-9087-F5085C060ABC}"/>
              </a:ext>
              <a:ext uri="{C183D7F6-B498-43B3-948B-1728B52AA6E4}">
                <adec:decorative xmlns:adec="http://schemas.microsoft.com/office/drawing/2017/decorative" val="1"/>
              </a:ext>
            </a:extLst>
          </p:cNvPr>
          <p:cNvSpPr/>
          <p:nvPr userDrawn="1"/>
        </p:nvSpPr>
        <p:spPr>
          <a:xfrm>
            <a:off x="-4233" y="0"/>
            <a:ext cx="5726242" cy="61769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706771" y="636100"/>
            <a:ext cx="4581161" cy="4731025"/>
          </a:xfrm>
        </p:spPr>
        <p:txBody>
          <a:bodyPr anchor="ctr" anchorCtr="0"/>
          <a:lstStyle>
            <a:lvl1pPr>
              <a:defRPr sz="5400"/>
            </a:lvl1pPr>
          </a:lstStyle>
          <a:p>
            <a:r>
              <a:rPr lang="en-US"/>
              <a:t>Click to edit Master title style</a:t>
            </a:r>
          </a:p>
        </p:txBody>
      </p:sp>
      <p:pic>
        <p:nvPicPr>
          <p:cNvPr id="6" name="Picture 5">
            <a:extLst>
              <a:ext uri="{FF2B5EF4-FFF2-40B4-BE49-F238E27FC236}">
                <a16:creationId xmlns:a16="http://schemas.microsoft.com/office/drawing/2014/main" id="{A448ABDA-6143-BA43-B304-DACBCAB72615}"/>
              </a:ext>
              <a:ext uri="{C183D7F6-B498-43B3-948B-1728B52AA6E4}">
                <adec:decorative xmlns:adec="http://schemas.microsoft.com/office/drawing/2017/decorative" val="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751642" y="-2"/>
            <a:ext cx="6440358" cy="6176965"/>
          </a:xfrm>
          <a:prstGeom prst="rect">
            <a:avLst/>
          </a:prstGeom>
        </p:spPr>
      </p:pic>
      <p:sp>
        <p:nvSpPr>
          <p:cNvPr id="11" name="Rectangle 10">
            <a:extLst>
              <a:ext uri="{FF2B5EF4-FFF2-40B4-BE49-F238E27FC236}">
                <a16:creationId xmlns:a16="http://schemas.microsoft.com/office/drawing/2014/main" id="{4D5A98E4-D72E-7F44-BAC4-AAFE8FA8790C}"/>
              </a:ext>
              <a:ext uri="{C183D7F6-B498-43B3-948B-1728B52AA6E4}">
                <adec:decorative xmlns:adec="http://schemas.microsoft.com/office/drawing/2017/decorative" val="1"/>
              </a:ext>
            </a:extLst>
          </p:cNvPr>
          <p:cNvSpPr/>
          <p:nvPr userDrawn="1"/>
        </p:nvSpPr>
        <p:spPr>
          <a:xfrm>
            <a:off x="5695285" y="-1"/>
            <a:ext cx="107630" cy="617696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9" name="Logo protection area" hidden="1">
            <a:extLst>
              <a:ext uri="{FF2B5EF4-FFF2-40B4-BE49-F238E27FC236}">
                <a16:creationId xmlns:a16="http://schemas.microsoft.com/office/drawing/2014/main" id="{CA31C6BB-3090-4736-ACA0-4B095E02319E}"/>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0" name="Layout Protection area" hidden="1">
            <a:extLst>
              <a:ext uri="{FF2B5EF4-FFF2-40B4-BE49-F238E27FC236}">
                <a16:creationId xmlns:a16="http://schemas.microsoft.com/office/drawing/2014/main" id="{6C3EAF7A-ECE8-4A10-A8F4-9112E712B557}"/>
              </a:ext>
            </a:extLst>
          </p:cNvPr>
          <p:cNvSpPr/>
          <p:nvPr userDrawn="1">
            <p:custDataLst>
              <p:tags r:id="rId2"/>
            </p:custDataLst>
          </p:nvPr>
        </p:nvSpPr>
        <p:spPr>
          <a:xfrm>
            <a:off x="0" y="-2"/>
            <a:ext cx="5695286" cy="618627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5" name="Date Placeholder 4">
            <a:extLst>
              <a:ext uri="{FF2B5EF4-FFF2-40B4-BE49-F238E27FC236}">
                <a16:creationId xmlns:a16="http://schemas.microsoft.com/office/drawing/2014/main" id="{5344C601-5F82-4698-828E-DFBEC86C0E1E}"/>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7" name="Footer Placeholder 6">
            <a:extLst>
              <a:ext uri="{FF2B5EF4-FFF2-40B4-BE49-F238E27FC236}">
                <a16:creationId xmlns:a16="http://schemas.microsoft.com/office/drawing/2014/main" id="{1FB19239-6F77-4099-ADA2-31B4EBAA1F7A}"/>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8" name="Slide Number Placeholder 7">
            <a:extLst>
              <a:ext uri="{FF2B5EF4-FFF2-40B4-BE49-F238E27FC236}">
                <a16:creationId xmlns:a16="http://schemas.microsoft.com/office/drawing/2014/main" id="{BAE1065C-18C3-40A7-B8BE-4CE978BE7F45}"/>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375033984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Slide 2">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5CA6403-541C-694D-9087-F5085C060ABC}"/>
              </a:ext>
              <a:ext uri="{C183D7F6-B498-43B3-948B-1728B52AA6E4}">
                <adec:decorative xmlns:adec="http://schemas.microsoft.com/office/drawing/2017/decorative" val="1"/>
              </a:ext>
            </a:extLst>
          </p:cNvPr>
          <p:cNvSpPr/>
          <p:nvPr userDrawn="1"/>
        </p:nvSpPr>
        <p:spPr>
          <a:xfrm>
            <a:off x="-4233" y="0"/>
            <a:ext cx="5726242" cy="61769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14" name="Title 1">
            <a:extLst>
              <a:ext uri="{FF2B5EF4-FFF2-40B4-BE49-F238E27FC236}">
                <a16:creationId xmlns:a16="http://schemas.microsoft.com/office/drawing/2014/main" id="{B70A75B4-7EA5-8A4D-A25F-EFF187B5E446}"/>
              </a:ext>
            </a:extLst>
          </p:cNvPr>
          <p:cNvSpPr>
            <a:spLocks noGrp="1"/>
          </p:cNvSpPr>
          <p:nvPr>
            <p:ph type="title"/>
          </p:nvPr>
        </p:nvSpPr>
        <p:spPr>
          <a:xfrm>
            <a:off x="706771" y="636100"/>
            <a:ext cx="4581161" cy="4731025"/>
          </a:xfrm>
        </p:spPr>
        <p:txBody>
          <a:bodyPr anchor="ctr" anchorCtr="0"/>
          <a:lstStyle>
            <a:lvl1pPr>
              <a:defRPr sz="5400"/>
            </a:lvl1pPr>
          </a:lstStyle>
          <a:p>
            <a:r>
              <a:rPr lang="en-US"/>
              <a:t>Click to edit Master title style</a:t>
            </a:r>
          </a:p>
        </p:txBody>
      </p:sp>
      <p:pic>
        <p:nvPicPr>
          <p:cNvPr id="9" name="Picture 8">
            <a:extLst>
              <a:ext uri="{FF2B5EF4-FFF2-40B4-BE49-F238E27FC236}">
                <a16:creationId xmlns:a16="http://schemas.microsoft.com/office/drawing/2014/main" id="{B0AFB475-D6F6-8347-AF3E-F626867A486C}"/>
              </a:ext>
              <a:ext uri="{C183D7F6-B498-43B3-948B-1728B52AA6E4}">
                <adec:decorative xmlns:adec="http://schemas.microsoft.com/office/drawing/2017/decorative" val="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780057" y="0"/>
            <a:ext cx="6411943" cy="6178245"/>
          </a:xfrm>
          <a:prstGeom prst="rect">
            <a:avLst/>
          </a:prstGeom>
        </p:spPr>
      </p:pic>
      <p:sp>
        <p:nvSpPr>
          <p:cNvPr id="10" name="Rectangle 9">
            <a:extLst>
              <a:ext uri="{FF2B5EF4-FFF2-40B4-BE49-F238E27FC236}">
                <a16:creationId xmlns:a16="http://schemas.microsoft.com/office/drawing/2014/main" id="{1FF42E62-451F-A945-934E-0D24D1E45674}"/>
              </a:ext>
              <a:ext uri="{C183D7F6-B498-43B3-948B-1728B52AA6E4}">
                <adec:decorative xmlns:adec="http://schemas.microsoft.com/office/drawing/2017/decorative" val="1"/>
              </a:ext>
            </a:extLst>
          </p:cNvPr>
          <p:cNvSpPr/>
          <p:nvPr userDrawn="1"/>
        </p:nvSpPr>
        <p:spPr>
          <a:xfrm>
            <a:off x="5694353" y="-3099"/>
            <a:ext cx="107630" cy="618134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11" name="Logo protection area" hidden="1">
            <a:extLst>
              <a:ext uri="{FF2B5EF4-FFF2-40B4-BE49-F238E27FC236}">
                <a16:creationId xmlns:a16="http://schemas.microsoft.com/office/drawing/2014/main" id="{C704A216-FC8F-4251-B284-6247C9375346}"/>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2" name="Layout Protection area" hidden="1">
            <a:extLst>
              <a:ext uri="{FF2B5EF4-FFF2-40B4-BE49-F238E27FC236}">
                <a16:creationId xmlns:a16="http://schemas.microsoft.com/office/drawing/2014/main" id="{4878FB7B-3C73-430B-9ACC-E3CEC52FFA14}"/>
              </a:ext>
            </a:extLst>
          </p:cNvPr>
          <p:cNvSpPr/>
          <p:nvPr userDrawn="1">
            <p:custDataLst>
              <p:tags r:id="rId2"/>
            </p:custDataLst>
          </p:nvPr>
        </p:nvSpPr>
        <p:spPr>
          <a:xfrm>
            <a:off x="0" y="-2"/>
            <a:ext cx="5695286" cy="618627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5" name="Date Placeholder 4" hidden="1">
            <a:extLst>
              <a:ext uri="{FF2B5EF4-FFF2-40B4-BE49-F238E27FC236}">
                <a16:creationId xmlns:a16="http://schemas.microsoft.com/office/drawing/2014/main" id="{976028DE-9523-400E-80FF-BC81B082B746}"/>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6" name="Footer Placeholder 5" hidden="1">
            <a:extLst>
              <a:ext uri="{FF2B5EF4-FFF2-40B4-BE49-F238E27FC236}">
                <a16:creationId xmlns:a16="http://schemas.microsoft.com/office/drawing/2014/main" id="{6B1C730D-2322-4A46-81B7-2D054A3218F1}"/>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7" name="Slide Number Placeholder 6">
            <a:extLst>
              <a:ext uri="{FF2B5EF4-FFF2-40B4-BE49-F238E27FC236}">
                <a16:creationId xmlns:a16="http://schemas.microsoft.com/office/drawing/2014/main" id="{A45EDBB5-65D1-4CCB-B20F-A89006140A99}"/>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205297741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Divider Slide 3">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5CA6403-541C-694D-9087-F5085C060ABC}"/>
              </a:ext>
              <a:ext uri="{C183D7F6-B498-43B3-948B-1728B52AA6E4}">
                <adec:decorative xmlns:adec="http://schemas.microsoft.com/office/drawing/2017/decorative" val="1"/>
              </a:ext>
            </a:extLst>
          </p:cNvPr>
          <p:cNvSpPr/>
          <p:nvPr userDrawn="1"/>
        </p:nvSpPr>
        <p:spPr>
          <a:xfrm>
            <a:off x="-4233" y="0"/>
            <a:ext cx="5726242" cy="61769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14" name="Title 1">
            <a:extLst>
              <a:ext uri="{FF2B5EF4-FFF2-40B4-BE49-F238E27FC236}">
                <a16:creationId xmlns:a16="http://schemas.microsoft.com/office/drawing/2014/main" id="{DB667C50-AAF6-3245-8FA1-160126F5D7CC}"/>
              </a:ext>
            </a:extLst>
          </p:cNvPr>
          <p:cNvSpPr>
            <a:spLocks noGrp="1"/>
          </p:cNvSpPr>
          <p:nvPr>
            <p:ph type="title"/>
          </p:nvPr>
        </p:nvSpPr>
        <p:spPr>
          <a:xfrm>
            <a:off x="706771" y="636100"/>
            <a:ext cx="4581161" cy="4731025"/>
          </a:xfrm>
        </p:spPr>
        <p:txBody>
          <a:bodyPr anchor="ctr" anchorCtr="0"/>
          <a:lstStyle>
            <a:lvl1pPr>
              <a:defRPr sz="5400"/>
            </a:lvl1pPr>
          </a:lstStyle>
          <a:p>
            <a:r>
              <a:rPr lang="en-US"/>
              <a:t>Click to edit Master title style</a:t>
            </a:r>
          </a:p>
        </p:txBody>
      </p:sp>
      <p:pic>
        <p:nvPicPr>
          <p:cNvPr id="11" name="Picture 10">
            <a:extLst>
              <a:ext uri="{FF2B5EF4-FFF2-40B4-BE49-F238E27FC236}">
                <a16:creationId xmlns:a16="http://schemas.microsoft.com/office/drawing/2014/main" id="{2B432B82-87CE-8749-A8CF-C2C7DC735ADF}"/>
              </a:ext>
              <a:ext uri="{C183D7F6-B498-43B3-948B-1728B52AA6E4}">
                <adec:decorative xmlns:adec="http://schemas.microsoft.com/office/drawing/2017/decorative" val="1"/>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l="-616"/>
          <a:stretch/>
        </p:blipFill>
        <p:spPr>
          <a:xfrm>
            <a:off x="5726243" y="-2381"/>
            <a:ext cx="6465758" cy="6179344"/>
          </a:xfrm>
          <a:prstGeom prst="rect">
            <a:avLst/>
          </a:prstGeom>
        </p:spPr>
      </p:pic>
      <p:sp>
        <p:nvSpPr>
          <p:cNvPr id="12" name="Rectangle 11">
            <a:extLst>
              <a:ext uri="{FF2B5EF4-FFF2-40B4-BE49-F238E27FC236}">
                <a16:creationId xmlns:a16="http://schemas.microsoft.com/office/drawing/2014/main" id="{6B6F5D2D-A4F7-1B43-B18D-FA5D46617C83}"/>
              </a:ext>
              <a:ext uri="{C183D7F6-B498-43B3-948B-1728B52AA6E4}">
                <adec:decorative xmlns:adec="http://schemas.microsoft.com/office/drawing/2017/decorative" val="1"/>
              </a:ext>
            </a:extLst>
          </p:cNvPr>
          <p:cNvSpPr/>
          <p:nvPr userDrawn="1"/>
        </p:nvSpPr>
        <p:spPr>
          <a:xfrm>
            <a:off x="5694711" y="-2381"/>
            <a:ext cx="107630" cy="617934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9" name="Logo protection area" hidden="1">
            <a:extLst>
              <a:ext uri="{FF2B5EF4-FFF2-40B4-BE49-F238E27FC236}">
                <a16:creationId xmlns:a16="http://schemas.microsoft.com/office/drawing/2014/main" id="{51EEFC8F-C28F-4C73-B6A6-66B29D5C61E8}"/>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0" name="Layout Protection area" hidden="1">
            <a:extLst>
              <a:ext uri="{FF2B5EF4-FFF2-40B4-BE49-F238E27FC236}">
                <a16:creationId xmlns:a16="http://schemas.microsoft.com/office/drawing/2014/main" id="{BB581FCD-108F-4CE4-92CD-8DD76716B42B}"/>
              </a:ext>
            </a:extLst>
          </p:cNvPr>
          <p:cNvSpPr/>
          <p:nvPr userDrawn="1">
            <p:custDataLst>
              <p:tags r:id="rId2"/>
            </p:custDataLst>
          </p:nvPr>
        </p:nvSpPr>
        <p:spPr>
          <a:xfrm>
            <a:off x="0" y="-2"/>
            <a:ext cx="5695286" cy="618627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5" name="Date Placeholder 4" hidden="1">
            <a:extLst>
              <a:ext uri="{FF2B5EF4-FFF2-40B4-BE49-F238E27FC236}">
                <a16:creationId xmlns:a16="http://schemas.microsoft.com/office/drawing/2014/main" id="{33699042-E824-4AFA-9A67-4DACC65E1303}"/>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6" name="Footer Placeholder 5" hidden="1">
            <a:extLst>
              <a:ext uri="{FF2B5EF4-FFF2-40B4-BE49-F238E27FC236}">
                <a16:creationId xmlns:a16="http://schemas.microsoft.com/office/drawing/2014/main" id="{029B855A-B9FE-485C-A359-CA85CB48D239}"/>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7" name="Slide Number Placeholder 6">
            <a:extLst>
              <a:ext uri="{FF2B5EF4-FFF2-40B4-BE49-F238E27FC236}">
                <a16:creationId xmlns:a16="http://schemas.microsoft.com/office/drawing/2014/main" id="{F557A637-28EE-45BB-A2A5-A319A0A1CF07}"/>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135100733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Divider Slide 4">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5CA6403-541C-694D-9087-F5085C060ABC}"/>
              </a:ext>
              <a:ext uri="{C183D7F6-B498-43B3-948B-1728B52AA6E4}">
                <adec:decorative xmlns:adec="http://schemas.microsoft.com/office/drawing/2017/decorative" val="1"/>
              </a:ext>
            </a:extLst>
          </p:cNvPr>
          <p:cNvSpPr/>
          <p:nvPr userDrawn="1"/>
        </p:nvSpPr>
        <p:spPr>
          <a:xfrm>
            <a:off x="-4233" y="0"/>
            <a:ext cx="5726242" cy="61769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14" name="Title 1">
            <a:extLst>
              <a:ext uri="{FF2B5EF4-FFF2-40B4-BE49-F238E27FC236}">
                <a16:creationId xmlns:a16="http://schemas.microsoft.com/office/drawing/2014/main" id="{CFBB264C-B577-C94B-9A1E-4036F060FA3E}"/>
              </a:ext>
            </a:extLst>
          </p:cNvPr>
          <p:cNvSpPr>
            <a:spLocks noGrp="1"/>
          </p:cNvSpPr>
          <p:nvPr>
            <p:ph type="title"/>
          </p:nvPr>
        </p:nvSpPr>
        <p:spPr>
          <a:xfrm>
            <a:off x="706771" y="636100"/>
            <a:ext cx="4581161" cy="4731025"/>
          </a:xfrm>
        </p:spPr>
        <p:txBody>
          <a:bodyPr anchor="ctr" anchorCtr="0"/>
          <a:lstStyle>
            <a:lvl1pPr>
              <a:defRPr sz="5400"/>
            </a:lvl1pPr>
          </a:lstStyle>
          <a:p>
            <a:r>
              <a:rPr lang="en-US"/>
              <a:t>Click to edit Master title style</a:t>
            </a:r>
          </a:p>
        </p:txBody>
      </p:sp>
      <p:pic>
        <p:nvPicPr>
          <p:cNvPr id="9" name="Picture 8">
            <a:extLst>
              <a:ext uri="{FF2B5EF4-FFF2-40B4-BE49-F238E27FC236}">
                <a16:creationId xmlns:a16="http://schemas.microsoft.com/office/drawing/2014/main" id="{8221EB53-AB71-9B4F-9104-E993CF2D242F}"/>
              </a:ext>
              <a:ext uri="{C183D7F6-B498-43B3-948B-1728B52AA6E4}">
                <adec:decorative xmlns:adec="http://schemas.microsoft.com/office/drawing/2017/decorative" val="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795772" y="0"/>
            <a:ext cx="6396228" cy="6176963"/>
          </a:xfrm>
          <a:prstGeom prst="rect">
            <a:avLst/>
          </a:prstGeom>
        </p:spPr>
      </p:pic>
      <p:sp>
        <p:nvSpPr>
          <p:cNvPr id="10" name="Rectangle 9">
            <a:extLst>
              <a:ext uri="{FF2B5EF4-FFF2-40B4-BE49-F238E27FC236}">
                <a16:creationId xmlns:a16="http://schemas.microsoft.com/office/drawing/2014/main" id="{B83BEFB5-053B-9043-A2D0-BC5A06FFCF50}"/>
              </a:ext>
              <a:ext uri="{C183D7F6-B498-43B3-948B-1728B52AA6E4}">
                <adec:decorative xmlns:adec="http://schemas.microsoft.com/office/drawing/2017/decorative" val="1"/>
              </a:ext>
            </a:extLst>
          </p:cNvPr>
          <p:cNvSpPr/>
          <p:nvPr userDrawn="1"/>
        </p:nvSpPr>
        <p:spPr>
          <a:xfrm>
            <a:off x="5700047" y="0"/>
            <a:ext cx="107630" cy="617696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11" name="Logo protection area" hidden="1">
            <a:extLst>
              <a:ext uri="{FF2B5EF4-FFF2-40B4-BE49-F238E27FC236}">
                <a16:creationId xmlns:a16="http://schemas.microsoft.com/office/drawing/2014/main" id="{7C12B07B-F49A-4639-B135-806A5C134BD4}"/>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2" name="Layout Protection area" hidden="1">
            <a:extLst>
              <a:ext uri="{FF2B5EF4-FFF2-40B4-BE49-F238E27FC236}">
                <a16:creationId xmlns:a16="http://schemas.microsoft.com/office/drawing/2014/main" id="{AFE0E5E1-7F3A-4455-A608-C5AE841BF297}"/>
              </a:ext>
            </a:extLst>
          </p:cNvPr>
          <p:cNvSpPr/>
          <p:nvPr userDrawn="1">
            <p:custDataLst>
              <p:tags r:id="rId2"/>
            </p:custDataLst>
          </p:nvPr>
        </p:nvSpPr>
        <p:spPr>
          <a:xfrm>
            <a:off x="0" y="-2"/>
            <a:ext cx="5695286" cy="618627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5" name="Date Placeholder 4" hidden="1">
            <a:extLst>
              <a:ext uri="{FF2B5EF4-FFF2-40B4-BE49-F238E27FC236}">
                <a16:creationId xmlns:a16="http://schemas.microsoft.com/office/drawing/2014/main" id="{69992046-A1A7-4C1B-9FC5-AE5D73C5972E}"/>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6" name="Footer Placeholder 5" hidden="1">
            <a:extLst>
              <a:ext uri="{FF2B5EF4-FFF2-40B4-BE49-F238E27FC236}">
                <a16:creationId xmlns:a16="http://schemas.microsoft.com/office/drawing/2014/main" id="{4939F8CC-DCF1-48F0-8D2C-B924D47B7B90}"/>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7" name="Slide Number Placeholder 6">
            <a:extLst>
              <a:ext uri="{FF2B5EF4-FFF2-40B4-BE49-F238E27FC236}">
                <a16:creationId xmlns:a16="http://schemas.microsoft.com/office/drawing/2014/main" id="{1C55443F-2CA7-42B8-90EF-9255F2A7F4A6}"/>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244803516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Slide 5">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5CA6403-541C-694D-9087-F5085C060ABC}"/>
              </a:ext>
              <a:ext uri="{C183D7F6-B498-43B3-948B-1728B52AA6E4}">
                <adec:decorative xmlns:adec="http://schemas.microsoft.com/office/drawing/2017/decorative" val="1"/>
              </a:ext>
            </a:extLst>
          </p:cNvPr>
          <p:cNvSpPr/>
          <p:nvPr userDrawn="1"/>
        </p:nvSpPr>
        <p:spPr>
          <a:xfrm>
            <a:off x="-4233" y="0"/>
            <a:ext cx="5726242" cy="61769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14" name="Title 1">
            <a:extLst>
              <a:ext uri="{FF2B5EF4-FFF2-40B4-BE49-F238E27FC236}">
                <a16:creationId xmlns:a16="http://schemas.microsoft.com/office/drawing/2014/main" id="{33E97416-E874-3342-9A06-D3071F1E67D6}"/>
              </a:ext>
            </a:extLst>
          </p:cNvPr>
          <p:cNvSpPr>
            <a:spLocks noGrp="1"/>
          </p:cNvSpPr>
          <p:nvPr>
            <p:ph type="title"/>
          </p:nvPr>
        </p:nvSpPr>
        <p:spPr>
          <a:xfrm>
            <a:off x="706771" y="636100"/>
            <a:ext cx="4581161" cy="4731025"/>
          </a:xfrm>
        </p:spPr>
        <p:txBody>
          <a:bodyPr anchor="ctr" anchorCtr="0"/>
          <a:lstStyle>
            <a:lvl1pPr>
              <a:defRPr sz="5400"/>
            </a:lvl1pPr>
          </a:lstStyle>
          <a:p>
            <a:r>
              <a:rPr lang="en-US"/>
              <a:t>Click to edit Master title style</a:t>
            </a:r>
          </a:p>
        </p:txBody>
      </p:sp>
      <p:pic>
        <p:nvPicPr>
          <p:cNvPr id="11" name="Picture 10">
            <a:extLst>
              <a:ext uri="{FF2B5EF4-FFF2-40B4-BE49-F238E27FC236}">
                <a16:creationId xmlns:a16="http://schemas.microsoft.com/office/drawing/2014/main" id="{FDE50571-6E5B-9542-BA57-115C9EA22C6F}"/>
              </a:ext>
              <a:ext uri="{C183D7F6-B498-43B3-948B-1728B52AA6E4}">
                <adec:decorative xmlns:adec="http://schemas.microsoft.com/office/drawing/2017/decorative" val="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795772" y="0"/>
            <a:ext cx="6396227" cy="6176963"/>
          </a:xfrm>
          <a:prstGeom prst="rect">
            <a:avLst/>
          </a:prstGeom>
        </p:spPr>
      </p:pic>
      <p:sp>
        <p:nvSpPr>
          <p:cNvPr id="12" name="Rectangle 11">
            <a:extLst>
              <a:ext uri="{FF2B5EF4-FFF2-40B4-BE49-F238E27FC236}">
                <a16:creationId xmlns:a16="http://schemas.microsoft.com/office/drawing/2014/main" id="{8A4A1454-8D6A-1146-9732-58A1A6DD9E26}"/>
              </a:ext>
              <a:ext uri="{C183D7F6-B498-43B3-948B-1728B52AA6E4}">
                <adec:decorative xmlns:adec="http://schemas.microsoft.com/office/drawing/2017/decorative" val="1"/>
              </a:ext>
            </a:extLst>
          </p:cNvPr>
          <p:cNvSpPr/>
          <p:nvPr userDrawn="1"/>
        </p:nvSpPr>
        <p:spPr>
          <a:xfrm>
            <a:off x="5694621" y="0"/>
            <a:ext cx="107630" cy="61769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5" name="Date Placeholder 4" hidden="1">
            <a:extLst>
              <a:ext uri="{FF2B5EF4-FFF2-40B4-BE49-F238E27FC236}">
                <a16:creationId xmlns:a16="http://schemas.microsoft.com/office/drawing/2014/main" id="{92AF61C4-429F-4898-A805-56B38546A97A}"/>
              </a:ext>
            </a:extLst>
          </p:cNvPr>
          <p:cNvSpPr>
            <a:spLocks noGrp="1"/>
          </p:cNvSpPr>
          <p:nvPr>
            <p:ph type="dt" sz="half"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6" name="Footer Placeholder 5" hidden="1">
            <a:extLst>
              <a:ext uri="{FF2B5EF4-FFF2-40B4-BE49-F238E27FC236}">
                <a16:creationId xmlns:a16="http://schemas.microsoft.com/office/drawing/2014/main" id="{75722716-A251-47DB-B678-0501ED721AF7}"/>
              </a:ext>
            </a:extLst>
          </p:cNvPr>
          <p:cNvSpPr>
            <a:spLocks noGrp="1"/>
          </p:cNvSpPr>
          <p:nvPr>
            <p:ph type="ftr" sz="quarter" idx="1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9" name="Layout Protection area" hidden="1">
            <a:extLst>
              <a:ext uri="{FF2B5EF4-FFF2-40B4-BE49-F238E27FC236}">
                <a16:creationId xmlns:a16="http://schemas.microsoft.com/office/drawing/2014/main" id="{2523011E-7BD8-454C-9CB8-D6267D2CE0A5}"/>
              </a:ext>
            </a:extLst>
          </p:cNvPr>
          <p:cNvSpPr/>
          <p:nvPr userDrawn="1">
            <p:custDataLst>
              <p:tags r:id="rId1"/>
            </p:custDataLst>
          </p:nvPr>
        </p:nvSpPr>
        <p:spPr>
          <a:xfrm>
            <a:off x="0" y="-2"/>
            <a:ext cx="5695286" cy="618627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0" name="Logo protection area" hidden="1">
            <a:extLst>
              <a:ext uri="{FF2B5EF4-FFF2-40B4-BE49-F238E27FC236}">
                <a16:creationId xmlns:a16="http://schemas.microsoft.com/office/drawing/2014/main" id="{A01782FE-5490-4FFB-945A-5F6D78FB1CA8}"/>
              </a:ext>
            </a:extLst>
          </p:cNvPr>
          <p:cNvSpPr/>
          <p:nvPr userDrawn="1">
            <p:custDataLst>
              <p:tags r:id="rId2"/>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7" name="Slide Number Placeholder 6">
            <a:extLst>
              <a:ext uri="{FF2B5EF4-FFF2-40B4-BE49-F238E27FC236}">
                <a16:creationId xmlns:a16="http://schemas.microsoft.com/office/drawing/2014/main" id="{01D5BDEF-FBC2-4DD5-A34B-63CFBDEDED4A}"/>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273006347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Divider Slide +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5CA6403-541C-694D-9087-F5085C060ABC}"/>
              </a:ext>
              <a:ext uri="{C183D7F6-B498-43B3-948B-1728B52AA6E4}">
                <adec:decorative xmlns:adec="http://schemas.microsoft.com/office/drawing/2017/decorative" val="1"/>
              </a:ext>
            </a:extLst>
          </p:cNvPr>
          <p:cNvSpPr/>
          <p:nvPr userDrawn="1"/>
        </p:nvSpPr>
        <p:spPr>
          <a:xfrm>
            <a:off x="-4233" y="0"/>
            <a:ext cx="5804958" cy="61769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10" name="Title 1">
            <a:extLst>
              <a:ext uri="{FF2B5EF4-FFF2-40B4-BE49-F238E27FC236}">
                <a16:creationId xmlns:a16="http://schemas.microsoft.com/office/drawing/2014/main" id="{34A180F2-7E08-DD4B-B80A-17FB8D5739B2}"/>
              </a:ext>
            </a:extLst>
          </p:cNvPr>
          <p:cNvSpPr>
            <a:spLocks noGrp="1"/>
          </p:cNvSpPr>
          <p:nvPr>
            <p:ph type="title"/>
          </p:nvPr>
        </p:nvSpPr>
        <p:spPr>
          <a:xfrm>
            <a:off x="706771" y="636100"/>
            <a:ext cx="4581161" cy="4731025"/>
          </a:xfrm>
        </p:spPr>
        <p:txBody>
          <a:bodyPr anchor="ctr" anchorCtr="0"/>
          <a:lstStyle>
            <a:lvl1pPr>
              <a:defRPr sz="5400"/>
            </a:lvl1pPr>
          </a:lstStyle>
          <a:p>
            <a:r>
              <a:rPr lang="en-US"/>
              <a:t>Click to edit Master title style</a:t>
            </a:r>
          </a:p>
        </p:txBody>
      </p:sp>
      <p:sp>
        <p:nvSpPr>
          <p:cNvPr id="6" name="Picture Placeholder 5">
            <a:extLst>
              <a:ext uri="{FF2B5EF4-FFF2-40B4-BE49-F238E27FC236}">
                <a16:creationId xmlns:a16="http://schemas.microsoft.com/office/drawing/2014/main" id="{6E183135-5EB3-49A2-BCE5-4FE66EE2C661}"/>
              </a:ext>
            </a:extLst>
          </p:cNvPr>
          <p:cNvSpPr>
            <a:spLocks noGrp="1"/>
          </p:cNvSpPr>
          <p:nvPr>
            <p:ph type="pic" sz="quarter" idx="14" hasCustomPrompt="1"/>
          </p:nvPr>
        </p:nvSpPr>
        <p:spPr>
          <a:xfrm>
            <a:off x="5804746" y="-2666"/>
            <a:ext cx="6387254" cy="6180972"/>
          </a:xfrm>
          <a:prstGeom prst="callout1">
            <a:avLst>
              <a:gd name="adj1" fmla="val 29"/>
              <a:gd name="adj2" fmla="val -902"/>
              <a:gd name="adj3" fmla="val 99967"/>
              <a:gd name="adj4" fmla="val -872"/>
            </a:avLst>
          </a:prstGeom>
          <a:ln w="110490">
            <a:solidFill>
              <a:schemeClr val="accent1"/>
            </a:solidFill>
          </a:ln>
        </p:spPr>
        <p:txBody>
          <a:bodyPr anchor="ctr"/>
          <a:lstStyle>
            <a:lvl1pPr algn="ctr">
              <a:buNone/>
              <a:defRPr/>
            </a:lvl1pPr>
          </a:lstStyle>
          <a:p>
            <a:r>
              <a:rPr lang="en-US"/>
              <a:t>Click icon to insert image – to change the color of the vertical line, mark the image and change the outline color of the image. </a:t>
            </a:r>
          </a:p>
        </p:txBody>
      </p:sp>
      <p:sp>
        <p:nvSpPr>
          <p:cNvPr id="8" name="Logo protection area" hidden="1">
            <a:extLst>
              <a:ext uri="{FF2B5EF4-FFF2-40B4-BE49-F238E27FC236}">
                <a16:creationId xmlns:a16="http://schemas.microsoft.com/office/drawing/2014/main" id="{643AC0A1-C85A-4063-87B8-C301374264A0}"/>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9" name="Layout Protection area" hidden="1">
            <a:extLst>
              <a:ext uri="{FF2B5EF4-FFF2-40B4-BE49-F238E27FC236}">
                <a16:creationId xmlns:a16="http://schemas.microsoft.com/office/drawing/2014/main" id="{E57B2C00-3F1E-4D57-8C7F-618C6FAF7C89}"/>
              </a:ext>
            </a:extLst>
          </p:cNvPr>
          <p:cNvSpPr/>
          <p:nvPr userDrawn="1">
            <p:custDataLst>
              <p:tags r:id="rId2"/>
            </p:custDataLst>
          </p:nvPr>
        </p:nvSpPr>
        <p:spPr>
          <a:xfrm>
            <a:off x="0" y="-2"/>
            <a:ext cx="12192000" cy="618627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3" name="Footer Placeholder 2" hidden="1">
            <a:extLst>
              <a:ext uri="{FF2B5EF4-FFF2-40B4-BE49-F238E27FC236}">
                <a16:creationId xmlns:a16="http://schemas.microsoft.com/office/drawing/2014/main" id="{C1F34A88-E870-4542-8E40-0AB050539B9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4" name="Slide Number Placeholder 3">
            <a:extLst>
              <a:ext uri="{FF2B5EF4-FFF2-40B4-BE49-F238E27FC236}">
                <a16:creationId xmlns:a16="http://schemas.microsoft.com/office/drawing/2014/main" id="{DD2DA6D7-3213-8747-BBAC-FA39EEBE90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4051508258"/>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Divider Slide +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5CA6403-541C-694D-9087-F5085C060ABC}"/>
              </a:ext>
              <a:ext uri="{C183D7F6-B498-43B3-948B-1728B52AA6E4}">
                <adec:decorative xmlns:adec="http://schemas.microsoft.com/office/drawing/2017/decorative" val="1"/>
              </a:ext>
            </a:extLst>
          </p:cNvPr>
          <p:cNvSpPr/>
          <p:nvPr userDrawn="1"/>
        </p:nvSpPr>
        <p:spPr>
          <a:xfrm>
            <a:off x="-4233" y="0"/>
            <a:ext cx="5804958" cy="61769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10" name="Title 1">
            <a:extLst>
              <a:ext uri="{FF2B5EF4-FFF2-40B4-BE49-F238E27FC236}">
                <a16:creationId xmlns:a16="http://schemas.microsoft.com/office/drawing/2014/main" id="{34A180F2-7E08-DD4B-B80A-17FB8D5739B2}"/>
              </a:ext>
            </a:extLst>
          </p:cNvPr>
          <p:cNvSpPr>
            <a:spLocks noGrp="1"/>
          </p:cNvSpPr>
          <p:nvPr>
            <p:ph type="title"/>
          </p:nvPr>
        </p:nvSpPr>
        <p:spPr>
          <a:xfrm>
            <a:off x="706771" y="636100"/>
            <a:ext cx="4581161" cy="4731025"/>
          </a:xfrm>
        </p:spPr>
        <p:txBody>
          <a:bodyPr anchor="ctr" anchorCtr="0"/>
          <a:lstStyle>
            <a:lvl1pPr>
              <a:defRPr sz="5400"/>
            </a:lvl1pPr>
          </a:lstStyle>
          <a:p>
            <a:r>
              <a:rPr lang="en-US"/>
              <a:t>Click to edit Master title style</a:t>
            </a:r>
          </a:p>
        </p:txBody>
      </p:sp>
      <p:sp>
        <p:nvSpPr>
          <p:cNvPr id="6" name="Picture Placeholder 5">
            <a:extLst>
              <a:ext uri="{FF2B5EF4-FFF2-40B4-BE49-F238E27FC236}">
                <a16:creationId xmlns:a16="http://schemas.microsoft.com/office/drawing/2014/main" id="{6E183135-5EB3-49A2-BCE5-4FE66EE2C661}"/>
              </a:ext>
            </a:extLst>
          </p:cNvPr>
          <p:cNvSpPr>
            <a:spLocks noGrp="1"/>
          </p:cNvSpPr>
          <p:nvPr>
            <p:ph type="pic" sz="quarter" idx="14" hasCustomPrompt="1"/>
          </p:nvPr>
        </p:nvSpPr>
        <p:spPr>
          <a:xfrm>
            <a:off x="5804746" y="-2666"/>
            <a:ext cx="6387254" cy="6180972"/>
          </a:xfrm>
          <a:prstGeom prst="callout1">
            <a:avLst>
              <a:gd name="adj1" fmla="val 29"/>
              <a:gd name="adj2" fmla="val -902"/>
              <a:gd name="adj3" fmla="val 99967"/>
              <a:gd name="adj4" fmla="val -872"/>
            </a:avLst>
          </a:prstGeom>
          <a:ln w="110490">
            <a:solidFill>
              <a:schemeClr val="accent2"/>
            </a:solidFill>
          </a:ln>
        </p:spPr>
        <p:txBody>
          <a:bodyPr anchor="ctr"/>
          <a:lstStyle>
            <a:lvl1pPr algn="ctr">
              <a:buNone/>
              <a:defRPr/>
            </a:lvl1pPr>
          </a:lstStyle>
          <a:p>
            <a:r>
              <a:rPr lang="en-US"/>
              <a:t>Click icon to insert image – to change the color of the vertical line, mark the image and change the outline color of the image. </a:t>
            </a:r>
          </a:p>
        </p:txBody>
      </p:sp>
      <p:sp>
        <p:nvSpPr>
          <p:cNvPr id="8" name="Logo protection area" hidden="1">
            <a:extLst>
              <a:ext uri="{FF2B5EF4-FFF2-40B4-BE49-F238E27FC236}">
                <a16:creationId xmlns:a16="http://schemas.microsoft.com/office/drawing/2014/main" id="{643AC0A1-C85A-4063-87B8-C301374264A0}"/>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9" name="Layout Protection area" hidden="1">
            <a:extLst>
              <a:ext uri="{FF2B5EF4-FFF2-40B4-BE49-F238E27FC236}">
                <a16:creationId xmlns:a16="http://schemas.microsoft.com/office/drawing/2014/main" id="{E57B2C00-3F1E-4D57-8C7F-618C6FAF7C89}"/>
              </a:ext>
            </a:extLst>
          </p:cNvPr>
          <p:cNvSpPr/>
          <p:nvPr userDrawn="1">
            <p:custDataLst>
              <p:tags r:id="rId2"/>
            </p:custDataLst>
          </p:nvPr>
        </p:nvSpPr>
        <p:spPr>
          <a:xfrm>
            <a:off x="0" y="-2"/>
            <a:ext cx="12192000" cy="618627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3" name="Footer Placeholder 2" hidden="1">
            <a:extLst>
              <a:ext uri="{FF2B5EF4-FFF2-40B4-BE49-F238E27FC236}">
                <a16:creationId xmlns:a16="http://schemas.microsoft.com/office/drawing/2014/main" id="{C1F34A88-E870-4542-8E40-0AB050539B9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4" name="Slide Number Placeholder 3">
            <a:extLst>
              <a:ext uri="{FF2B5EF4-FFF2-40B4-BE49-F238E27FC236}">
                <a16:creationId xmlns:a16="http://schemas.microsoft.com/office/drawing/2014/main" id="{DD2DA6D7-3213-8747-BBAC-FA39EEBE90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4215139083"/>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Divider Slide +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5CA6403-541C-694D-9087-F5085C060ABC}"/>
              </a:ext>
              <a:ext uri="{C183D7F6-B498-43B3-948B-1728B52AA6E4}">
                <adec:decorative xmlns:adec="http://schemas.microsoft.com/office/drawing/2017/decorative" val="1"/>
              </a:ext>
            </a:extLst>
          </p:cNvPr>
          <p:cNvSpPr/>
          <p:nvPr userDrawn="1"/>
        </p:nvSpPr>
        <p:spPr>
          <a:xfrm>
            <a:off x="-4233" y="0"/>
            <a:ext cx="5804958" cy="61769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10" name="Title 1">
            <a:extLst>
              <a:ext uri="{FF2B5EF4-FFF2-40B4-BE49-F238E27FC236}">
                <a16:creationId xmlns:a16="http://schemas.microsoft.com/office/drawing/2014/main" id="{34A180F2-7E08-DD4B-B80A-17FB8D5739B2}"/>
              </a:ext>
            </a:extLst>
          </p:cNvPr>
          <p:cNvSpPr>
            <a:spLocks noGrp="1"/>
          </p:cNvSpPr>
          <p:nvPr>
            <p:ph type="title"/>
          </p:nvPr>
        </p:nvSpPr>
        <p:spPr>
          <a:xfrm>
            <a:off x="706771" y="636100"/>
            <a:ext cx="4581161" cy="4731025"/>
          </a:xfrm>
        </p:spPr>
        <p:txBody>
          <a:bodyPr anchor="ctr" anchorCtr="0"/>
          <a:lstStyle>
            <a:lvl1pPr>
              <a:defRPr sz="5400"/>
            </a:lvl1pPr>
          </a:lstStyle>
          <a:p>
            <a:r>
              <a:rPr lang="en-US"/>
              <a:t>Click to edit Master title style</a:t>
            </a:r>
          </a:p>
        </p:txBody>
      </p:sp>
      <p:sp>
        <p:nvSpPr>
          <p:cNvPr id="6" name="Picture Placeholder 5">
            <a:extLst>
              <a:ext uri="{FF2B5EF4-FFF2-40B4-BE49-F238E27FC236}">
                <a16:creationId xmlns:a16="http://schemas.microsoft.com/office/drawing/2014/main" id="{6E183135-5EB3-49A2-BCE5-4FE66EE2C661}"/>
              </a:ext>
            </a:extLst>
          </p:cNvPr>
          <p:cNvSpPr>
            <a:spLocks noGrp="1"/>
          </p:cNvSpPr>
          <p:nvPr>
            <p:ph type="pic" sz="quarter" idx="14" hasCustomPrompt="1"/>
          </p:nvPr>
        </p:nvSpPr>
        <p:spPr>
          <a:xfrm>
            <a:off x="5804746" y="-2666"/>
            <a:ext cx="6387254" cy="6180972"/>
          </a:xfrm>
          <a:prstGeom prst="callout1">
            <a:avLst>
              <a:gd name="adj1" fmla="val 29"/>
              <a:gd name="adj2" fmla="val -902"/>
              <a:gd name="adj3" fmla="val 99967"/>
              <a:gd name="adj4" fmla="val -872"/>
            </a:avLst>
          </a:prstGeom>
          <a:ln w="110490">
            <a:solidFill>
              <a:schemeClr val="accent3"/>
            </a:solidFill>
          </a:ln>
        </p:spPr>
        <p:txBody>
          <a:bodyPr anchor="ctr"/>
          <a:lstStyle>
            <a:lvl1pPr algn="ctr">
              <a:buNone/>
              <a:defRPr/>
            </a:lvl1pPr>
          </a:lstStyle>
          <a:p>
            <a:r>
              <a:rPr lang="en-US"/>
              <a:t>Click icon to insert image – to change the color of the vertical line, mark the image and change the outline color of the image. </a:t>
            </a:r>
          </a:p>
        </p:txBody>
      </p:sp>
      <p:sp>
        <p:nvSpPr>
          <p:cNvPr id="8" name="Logo protection area" hidden="1">
            <a:extLst>
              <a:ext uri="{FF2B5EF4-FFF2-40B4-BE49-F238E27FC236}">
                <a16:creationId xmlns:a16="http://schemas.microsoft.com/office/drawing/2014/main" id="{643AC0A1-C85A-4063-87B8-C301374264A0}"/>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9" name="Layout Protection area" hidden="1">
            <a:extLst>
              <a:ext uri="{FF2B5EF4-FFF2-40B4-BE49-F238E27FC236}">
                <a16:creationId xmlns:a16="http://schemas.microsoft.com/office/drawing/2014/main" id="{E57B2C00-3F1E-4D57-8C7F-618C6FAF7C89}"/>
              </a:ext>
            </a:extLst>
          </p:cNvPr>
          <p:cNvSpPr/>
          <p:nvPr userDrawn="1">
            <p:custDataLst>
              <p:tags r:id="rId2"/>
            </p:custDataLst>
          </p:nvPr>
        </p:nvSpPr>
        <p:spPr>
          <a:xfrm>
            <a:off x="0" y="-2"/>
            <a:ext cx="12192000" cy="618627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3" name="Footer Placeholder 2" hidden="1">
            <a:extLst>
              <a:ext uri="{FF2B5EF4-FFF2-40B4-BE49-F238E27FC236}">
                <a16:creationId xmlns:a16="http://schemas.microsoft.com/office/drawing/2014/main" id="{C1F34A88-E870-4542-8E40-0AB050539B9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4" name="Slide Number Placeholder 3">
            <a:extLst>
              <a:ext uri="{FF2B5EF4-FFF2-40B4-BE49-F238E27FC236}">
                <a16:creationId xmlns:a16="http://schemas.microsoft.com/office/drawing/2014/main" id="{DD2DA6D7-3213-8747-BBAC-FA39EEBE90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188658235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3_Divider Slide +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5CA6403-541C-694D-9087-F5085C060ABC}"/>
              </a:ext>
              <a:ext uri="{C183D7F6-B498-43B3-948B-1728B52AA6E4}">
                <adec:decorative xmlns:adec="http://schemas.microsoft.com/office/drawing/2017/decorative" val="1"/>
              </a:ext>
            </a:extLst>
          </p:cNvPr>
          <p:cNvSpPr/>
          <p:nvPr userDrawn="1"/>
        </p:nvSpPr>
        <p:spPr>
          <a:xfrm>
            <a:off x="-4233" y="0"/>
            <a:ext cx="5804958" cy="61769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10" name="Title 1">
            <a:extLst>
              <a:ext uri="{FF2B5EF4-FFF2-40B4-BE49-F238E27FC236}">
                <a16:creationId xmlns:a16="http://schemas.microsoft.com/office/drawing/2014/main" id="{34A180F2-7E08-DD4B-B80A-17FB8D5739B2}"/>
              </a:ext>
            </a:extLst>
          </p:cNvPr>
          <p:cNvSpPr>
            <a:spLocks noGrp="1"/>
          </p:cNvSpPr>
          <p:nvPr>
            <p:ph type="title"/>
          </p:nvPr>
        </p:nvSpPr>
        <p:spPr>
          <a:xfrm>
            <a:off x="706771" y="636100"/>
            <a:ext cx="4581161" cy="4731025"/>
          </a:xfrm>
        </p:spPr>
        <p:txBody>
          <a:bodyPr anchor="ctr" anchorCtr="0"/>
          <a:lstStyle>
            <a:lvl1pPr>
              <a:defRPr sz="5400"/>
            </a:lvl1pPr>
          </a:lstStyle>
          <a:p>
            <a:r>
              <a:rPr lang="en-US"/>
              <a:t>Click to edit Master title style</a:t>
            </a:r>
          </a:p>
        </p:txBody>
      </p:sp>
      <p:sp>
        <p:nvSpPr>
          <p:cNvPr id="6" name="Picture Placeholder 5">
            <a:extLst>
              <a:ext uri="{FF2B5EF4-FFF2-40B4-BE49-F238E27FC236}">
                <a16:creationId xmlns:a16="http://schemas.microsoft.com/office/drawing/2014/main" id="{6E183135-5EB3-49A2-BCE5-4FE66EE2C661}"/>
              </a:ext>
            </a:extLst>
          </p:cNvPr>
          <p:cNvSpPr>
            <a:spLocks noGrp="1"/>
          </p:cNvSpPr>
          <p:nvPr>
            <p:ph type="pic" sz="quarter" idx="14" hasCustomPrompt="1"/>
          </p:nvPr>
        </p:nvSpPr>
        <p:spPr>
          <a:xfrm>
            <a:off x="5804746" y="-2666"/>
            <a:ext cx="6387254" cy="6180972"/>
          </a:xfrm>
          <a:prstGeom prst="callout1">
            <a:avLst>
              <a:gd name="adj1" fmla="val 29"/>
              <a:gd name="adj2" fmla="val -902"/>
              <a:gd name="adj3" fmla="val 99967"/>
              <a:gd name="adj4" fmla="val -872"/>
            </a:avLst>
          </a:prstGeom>
          <a:ln w="110490">
            <a:solidFill>
              <a:schemeClr val="accent4"/>
            </a:solidFill>
          </a:ln>
        </p:spPr>
        <p:txBody>
          <a:bodyPr anchor="ctr"/>
          <a:lstStyle>
            <a:lvl1pPr algn="ctr">
              <a:buNone/>
              <a:defRPr/>
            </a:lvl1pPr>
          </a:lstStyle>
          <a:p>
            <a:r>
              <a:rPr lang="en-US"/>
              <a:t>Click icon to insert image – to change the color of the vertical line, mark the image and change the outline color of the image. </a:t>
            </a:r>
          </a:p>
        </p:txBody>
      </p:sp>
      <p:sp>
        <p:nvSpPr>
          <p:cNvPr id="8" name="Logo protection area" hidden="1">
            <a:extLst>
              <a:ext uri="{FF2B5EF4-FFF2-40B4-BE49-F238E27FC236}">
                <a16:creationId xmlns:a16="http://schemas.microsoft.com/office/drawing/2014/main" id="{643AC0A1-C85A-4063-87B8-C301374264A0}"/>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9" name="Layout Protection area" hidden="1">
            <a:extLst>
              <a:ext uri="{FF2B5EF4-FFF2-40B4-BE49-F238E27FC236}">
                <a16:creationId xmlns:a16="http://schemas.microsoft.com/office/drawing/2014/main" id="{E57B2C00-3F1E-4D57-8C7F-618C6FAF7C89}"/>
              </a:ext>
            </a:extLst>
          </p:cNvPr>
          <p:cNvSpPr/>
          <p:nvPr userDrawn="1">
            <p:custDataLst>
              <p:tags r:id="rId2"/>
            </p:custDataLst>
          </p:nvPr>
        </p:nvSpPr>
        <p:spPr>
          <a:xfrm>
            <a:off x="0" y="-2"/>
            <a:ext cx="12192000" cy="618627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3" name="Footer Placeholder 2" hidden="1">
            <a:extLst>
              <a:ext uri="{FF2B5EF4-FFF2-40B4-BE49-F238E27FC236}">
                <a16:creationId xmlns:a16="http://schemas.microsoft.com/office/drawing/2014/main" id="{C1F34A88-E870-4542-8E40-0AB050539B9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4" name="Slide Number Placeholder 3">
            <a:extLst>
              <a:ext uri="{FF2B5EF4-FFF2-40B4-BE49-F238E27FC236}">
                <a16:creationId xmlns:a16="http://schemas.microsoft.com/office/drawing/2014/main" id="{DD2DA6D7-3213-8747-BBAC-FA39EEBE90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88911625"/>
      </p:ext>
    </p:extLst>
  </p:cSld>
  <p:clrMapOvr>
    <a:masterClrMapping/>
  </p:clrMapOvr>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4_Divider Slide + Imag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5CA6403-541C-694D-9087-F5085C060ABC}"/>
              </a:ext>
              <a:ext uri="{C183D7F6-B498-43B3-948B-1728B52AA6E4}">
                <adec:decorative xmlns:adec="http://schemas.microsoft.com/office/drawing/2017/decorative" val="1"/>
              </a:ext>
            </a:extLst>
          </p:cNvPr>
          <p:cNvSpPr/>
          <p:nvPr userDrawn="1"/>
        </p:nvSpPr>
        <p:spPr>
          <a:xfrm>
            <a:off x="-4233" y="0"/>
            <a:ext cx="5804958" cy="61769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10" name="Title 1">
            <a:extLst>
              <a:ext uri="{FF2B5EF4-FFF2-40B4-BE49-F238E27FC236}">
                <a16:creationId xmlns:a16="http://schemas.microsoft.com/office/drawing/2014/main" id="{34A180F2-7E08-DD4B-B80A-17FB8D5739B2}"/>
              </a:ext>
            </a:extLst>
          </p:cNvPr>
          <p:cNvSpPr>
            <a:spLocks noGrp="1"/>
          </p:cNvSpPr>
          <p:nvPr>
            <p:ph type="title"/>
          </p:nvPr>
        </p:nvSpPr>
        <p:spPr>
          <a:xfrm>
            <a:off x="706771" y="636100"/>
            <a:ext cx="4581161" cy="4731025"/>
          </a:xfrm>
        </p:spPr>
        <p:txBody>
          <a:bodyPr anchor="ctr" anchorCtr="0"/>
          <a:lstStyle>
            <a:lvl1pPr>
              <a:defRPr sz="5400"/>
            </a:lvl1pPr>
          </a:lstStyle>
          <a:p>
            <a:r>
              <a:rPr lang="en-US"/>
              <a:t>Click to edit Master title style</a:t>
            </a:r>
          </a:p>
        </p:txBody>
      </p:sp>
      <p:sp>
        <p:nvSpPr>
          <p:cNvPr id="6" name="Picture Placeholder 5">
            <a:extLst>
              <a:ext uri="{FF2B5EF4-FFF2-40B4-BE49-F238E27FC236}">
                <a16:creationId xmlns:a16="http://schemas.microsoft.com/office/drawing/2014/main" id="{6E183135-5EB3-49A2-BCE5-4FE66EE2C661}"/>
              </a:ext>
            </a:extLst>
          </p:cNvPr>
          <p:cNvSpPr>
            <a:spLocks noGrp="1"/>
          </p:cNvSpPr>
          <p:nvPr>
            <p:ph type="pic" sz="quarter" idx="14" hasCustomPrompt="1"/>
          </p:nvPr>
        </p:nvSpPr>
        <p:spPr>
          <a:xfrm>
            <a:off x="5804746" y="-2666"/>
            <a:ext cx="6387254" cy="6180972"/>
          </a:xfrm>
          <a:prstGeom prst="callout1">
            <a:avLst>
              <a:gd name="adj1" fmla="val 29"/>
              <a:gd name="adj2" fmla="val -902"/>
              <a:gd name="adj3" fmla="val 99967"/>
              <a:gd name="adj4" fmla="val -872"/>
            </a:avLst>
          </a:prstGeom>
          <a:ln w="110490">
            <a:solidFill>
              <a:schemeClr val="accent5"/>
            </a:solidFill>
          </a:ln>
        </p:spPr>
        <p:txBody>
          <a:bodyPr anchor="ctr"/>
          <a:lstStyle>
            <a:lvl1pPr algn="ctr">
              <a:buNone/>
              <a:defRPr/>
            </a:lvl1pPr>
          </a:lstStyle>
          <a:p>
            <a:r>
              <a:rPr lang="en-US"/>
              <a:t>Click icon to insert image – to change the color of the vertical line, mark the image and change the outline color of the image. </a:t>
            </a:r>
          </a:p>
        </p:txBody>
      </p:sp>
      <p:sp>
        <p:nvSpPr>
          <p:cNvPr id="8" name="Logo protection area" hidden="1">
            <a:extLst>
              <a:ext uri="{FF2B5EF4-FFF2-40B4-BE49-F238E27FC236}">
                <a16:creationId xmlns:a16="http://schemas.microsoft.com/office/drawing/2014/main" id="{643AC0A1-C85A-4063-87B8-C301374264A0}"/>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9" name="Layout Protection area" hidden="1">
            <a:extLst>
              <a:ext uri="{FF2B5EF4-FFF2-40B4-BE49-F238E27FC236}">
                <a16:creationId xmlns:a16="http://schemas.microsoft.com/office/drawing/2014/main" id="{E57B2C00-3F1E-4D57-8C7F-618C6FAF7C89}"/>
              </a:ext>
            </a:extLst>
          </p:cNvPr>
          <p:cNvSpPr/>
          <p:nvPr userDrawn="1">
            <p:custDataLst>
              <p:tags r:id="rId2"/>
            </p:custDataLst>
          </p:nvPr>
        </p:nvSpPr>
        <p:spPr>
          <a:xfrm>
            <a:off x="0" y="-2"/>
            <a:ext cx="12192000" cy="618627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2" name="Date Placeholder 1" hidden="1">
            <a:extLst>
              <a:ext uri="{FF2B5EF4-FFF2-40B4-BE49-F238E27FC236}">
                <a16:creationId xmlns:a16="http://schemas.microsoft.com/office/drawing/2014/main" id="{D887608E-88C4-C84F-A823-00FBF2D64029}"/>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3" name="Footer Placeholder 2" hidden="1">
            <a:extLst>
              <a:ext uri="{FF2B5EF4-FFF2-40B4-BE49-F238E27FC236}">
                <a16:creationId xmlns:a16="http://schemas.microsoft.com/office/drawing/2014/main" id="{C1F34A88-E870-4542-8E40-0AB050539B9A}"/>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4" name="Slide Number Placeholder 3">
            <a:extLst>
              <a:ext uri="{FF2B5EF4-FFF2-40B4-BE49-F238E27FC236}">
                <a16:creationId xmlns:a16="http://schemas.microsoft.com/office/drawing/2014/main" id="{DD2DA6D7-3213-8747-BBAC-FA39EEBE90C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3179466585"/>
      </p:ext>
    </p:extLst>
  </p:cSld>
  <p:clrMapOvr>
    <a:masterClrMapping/>
  </p:clrMapOvr>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ive Presenters">
    <p:spTree>
      <p:nvGrpSpPr>
        <p:cNvPr id="1" name=""/>
        <p:cNvGrpSpPr/>
        <p:nvPr/>
      </p:nvGrpSpPr>
      <p:grpSpPr>
        <a:xfrm>
          <a:off x="0" y="0"/>
          <a:ext cx="0" cy="0"/>
          <a:chOff x="0" y="0"/>
          <a:chExt cx="0" cy="0"/>
        </a:xfrm>
      </p:grpSpPr>
      <p:sp>
        <p:nvSpPr>
          <p:cNvPr id="32" name="Text Placeholder 8">
            <a:extLst>
              <a:ext uri="{FF2B5EF4-FFF2-40B4-BE49-F238E27FC236}">
                <a16:creationId xmlns:a16="http://schemas.microsoft.com/office/drawing/2014/main" id="{8F289818-772D-A140-AA34-CF35FE3184CE}"/>
              </a:ext>
            </a:extLst>
          </p:cNvPr>
          <p:cNvSpPr>
            <a:spLocks noGrp="1"/>
          </p:cNvSpPr>
          <p:nvPr>
            <p:ph type="body" sz="quarter" idx="17"/>
          </p:nvPr>
        </p:nvSpPr>
        <p:spPr>
          <a:xfrm>
            <a:off x="613322" y="3523433"/>
            <a:ext cx="2000777" cy="233710"/>
          </a:xfrm>
        </p:spPr>
        <p:txBody>
          <a:bodyPr anchor="b" anchorCtr="0">
            <a:normAutofit/>
          </a:bodyPr>
          <a:lstStyle>
            <a:lvl1pPr marL="0" indent="0" algn="ctr">
              <a:buFont typeface="Arial" panose="020B0604020202020204" pitchFamily="34" charset="0"/>
              <a:buChar char="​"/>
              <a:defRPr sz="1050" b="0" i="0" spc="0">
                <a:latin typeface="+mj-lt"/>
                <a:ea typeface="Roboto Medium" panose="02000000000000000000" pitchFamily="2" charset="0"/>
                <a:cs typeface="Roboto Medium" panose="02000000000000000000" pitchFamily="2" charset="0"/>
              </a:defRPr>
            </a:lvl1pPr>
          </a:lstStyle>
          <a:p>
            <a:pPr lvl="0"/>
            <a:r>
              <a:rPr lang="en-US"/>
              <a:t>Click to edit Master text styles</a:t>
            </a:r>
          </a:p>
        </p:txBody>
      </p:sp>
      <p:sp>
        <p:nvSpPr>
          <p:cNvPr id="33" name="Text Placeholder 10">
            <a:extLst>
              <a:ext uri="{FF2B5EF4-FFF2-40B4-BE49-F238E27FC236}">
                <a16:creationId xmlns:a16="http://schemas.microsoft.com/office/drawing/2014/main" id="{B4C7420B-45DC-474D-99FE-866DCAFF6544}"/>
              </a:ext>
            </a:extLst>
          </p:cNvPr>
          <p:cNvSpPr>
            <a:spLocks noGrp="1"/>
          </p:cNvSpPr>
          <p:nvPr>
            <p:ph type="body" sz="quarter" idx="18"/>
          </p:nvPr>
        </p:nvSpPr>
        <p:spPr>
          <a:xfrm>
            <a:off x="613322" y="3850846"/>
            <a:ext cx="2000778" cy="1236953"/>
          </a:xfrm>
        </p:spPr>
        <p:txBody>
          <a:bodyPr anchor="t" anchorCtr="0">
            <a:normAutofit/>
          </a:bodyPr>
          <a:lstStyle>
            <a:lvl1pPr marL="0" indent="0" algn="ctr">
              <a:buFont typeface="Arial" panose="020B0604020202020204" pitchFamily="34" charset="0"/>
              <a:buChar char="​"/>
              <a:defRPr sz="1050" b="0" i="0">
                <a:latin typeface="+mn-lt"/>
              </a:defRPr>
            </a:lvl1pPr>
          </a:lstStyle>
          <a:p>
            <a:pPr lvl="0"/>
            <a:r>
              <a:rPr lang="en-US"/>
              <a:t>Click to edit Master text styles</a:t>
            </a:r>
          </a:p>
        </p:txBody>
      </p:sp>
      <p:sp>
        <p:nvSpPr>
          <p:cNvPr id="83" name="Text Placeholder 8">
            <a:extLst>
              <a:ext uri="{FF2B5EF4-FFF2-40B4-BE49-F238E27FC236}">
                <a16:creationId xmlns:a16="http://schemas.microsoft.com/office/drawing/2014/main" id="{CB2EA48A-5A8C-004D-9148-321D181E87A9}"/>
              </a:ext>
            </a:extLst>
          </p:cNvPr>
          <p:cNvSpPr>
            <a:spLocks noGrp="1"/>
          </p:cNvSpPr>
          <p:nvPr>
            <p:ph type="body" sz="quarter" idx="45"/>
          </p:nvPr>
        </p:nvSpPr>
        <p:spPr>
          <a:xfrm>
            <a:off x="2864591" y="3523433"/>
            <a:ext cx="2000777" cy="233710"/>
          </a:xfrm>
        </p:spPr>
        <p:txBody>
          <a:bodyPr anchor="b" anchorCtr="0">
            <a:normAutofit/>
          </a:bodyPr>
          <a:lstStyle>
            <a:lvl1pPr marL="0" indent="0" algn="ctr">
              <a:buFont typeface="Arial" panose="020B0604020202020204" pitchFamily="34" charset="0"/>
              <a:buChar char="​"/>
              <a:defRPr sz="1050" b="0" i="0" spc="0">
                <a:latin typeface="+mj-lt"/>
                <a:ea typeface="Roboto Medium" panose="02000000000000000000" pitchFamily="2" charset="0"/>
                <a:cs typeface="Roboto Medium" panose="02000000000000000000" pitchFamily="2" charset="0"/>
              </a:defRPr>
            </a:lvl1pPr>
          </a:lstStyle>
          <a:p>
            <a:pPr lvl="0"/>
            <a:r>
              <a:rPr lang="en-US"/>
              <a:t>Click to edit Master text styles</a:t>
            </a:r>
          </a:p>
        </p:txBody>
      </p:sp>
      <p:sp>
        <p:nvSpPr>
          <p:cNvPr id="87" name="Text Placeholder 10">
            <a:extLst>
              <a:ext uri="{FF2B5EF4-FFF2-40B4-BE49-F238E27FC236}">
                <a16:creationId xmlns:a16="http://schemas.microsoft.com/office/drawing/2014/main" id="{62B66B57-9E76-FE46-AE93-5052CF80EA0A}"/>
              </a:ext>
            </a:extLst>
          </p:cNvPr>
          <p:cNvSpPr>
            <a:spLocks noGrp="1"/>
          </p:cNvSpPr>
          <p:nvPr>
            <p:ph type="body" sz="quarter" idx="49"/>
          </p:nvPr>
        </p:nvSpPr>
        <p:spPr>
          <a:xfrm>
            <a:off x="2864590" y="3850846"/>
            <a:ext cx="2000778" cy="1236953"/>
          </a:xfrm>
        </p:spPr>
        <p:txBody>
          <a:bodyPr anchor="t" anchorCtr="0">
            <a:normAutofit/>
          </a:bodyPr>
          <a:lstStyle>
            <a:lvl1pPr marL="0" indent="0" algn="ctr">
              <a:buFont typeface="Arial" panose="020B0604020202020204" pitchFamily="34" charset="0"/>
              <a:buChar char="​"/>
              <a:defRPr sz="1050" b="0" i="0">
                <a:latin typeface="+mn-lt"/>
              </a:defRPr>
            </a:lvl1pPr>
          </a:lstStyle>
          <a:p>
            <a:pPr lvl="0"/>
            <a:r>
              <a:rPr lang="en-US"/>
              <a:t>Click to edit Master text styles</a:t>
            </a:r>
          </a:p>
        </p:txBody>
      </p:sp>
      <p:sp>
        <p:nvSpPr>
          <p:cNvPr id="84" name="Text Placeholder 8">
            <a:extLst>
              <a:ext uri="{FF2B5EF4-FFF2-40B4-BE49-F238E27FC236}">
                <a16:creationId xmlns:a16="http://schemas.microsoft.com/office/drawing/2014/main" id="{FDCE6314-08C7-6F4A-AD03-B6D0035AE028}"/>
              </a:ext>
            </a:extLst>
          </p:cNvPr>
          <p:cNvSpPr>
            <a:spLocks noGrp="1"/>
          </p:cNvSpPr>
          <p:nvPr>
            <p:ph type="body" sz="quarter" idx="46"/>
          </p:nvPr>
        </p:nvSpPr>
        <p:spPr>
          <a:xfrm>
            <a:off x="5095611" y="3523433"/>
            <a:ext cx="2000777" cy="233710"/>
          </a:xfrm>
        </p:spPr>
        <p:txBody>
          <a:bodyPr anchor="b" anchorCtr="0">
            <a:normAutofit/>
          </a:bodyPr>
          <a:lstStyle>
            <a:lvl1pPr marL="0" indent="0" algn="ctr">
              <a:buFont typeface="Arial" panose="020B0604020202020204" pitchFamily="34" charset="0"/>
              <a:buChar char="​"/>
              <a:defRPr sz="1050" b="0" i="0" spc="0">
                <a:latin typeface="+mj-lt"/>
                <a:ea typeface="Roboto Medium" panose="02000000000000000000" pitchFamily="2" charset="0"/>
                <a:cs typeface="Roboto Medium" panose="02000000000000000000" pitchFamily="2" charset="0"/>
              </a:defRPr>
            </a:lvl1pPr>
          </a:lstStyle>
          <a:p>
            <a:pPr lvl="0"/>
            <a:r>
              <a:rPr lang="en-US"/>
              <a:t>Click to edit Master text styles</a:t>
            </a:r>
          </a:p>
        </p:txBody>
      </p:sp>
      <p:sp>
        <p:nvSpPr>
          <p:cNvPr id="88" name="Text Placeholder 10">
            <a:extLst>
              <a:ext uri="{FF2B5EF4-FFF2-40B4-BE49-F238E27FC236}">
                <a16:creationId xmlns:a16="http://schemas.microsoft.com/office/drawing/2014/main" id="{C5B975A1-52C3-F94D-8A4D-2FDA2DC624E6}"/>
              </a:ext>
            </a:extLst>
          </p:cNvPr>
          <p:cNvSpPr>
            <a:spLocks noGrp="1"/>
          </p:cNvSpPr>
          <p:nvPr>
            <p:ph type="body" sz="quarter" idx="50"/>
          </p:nvPr>
        </p:nvSpPr>
        <p:spPr>
          <a:xfrm>
            <a:off x="5095611" y="3850846"/>
            <a:ext cx="2000778" cy="1236953"/>
          </a:xfrm>
        </p:spPr>
        <p:txBody>
          <a:bodyPr anchor="t" anchorCtr="0">
            <a:normAutofit/>
          </a:bodyPr>
          <a:lstStyle>
            <a:lvl1pPr marL="0" indent="0" algn="ctr">
              <a:buFont typeface="Arial" panose="020B0604020202020204" pitchFamily="34" charset="0"/>
              <a:buChar char="​"/>
              <a:defRPr sz="1050" b="0" i="0">
                <a:latin typeface="+mn-lt"/>
              </a:defRPr>
            </a:lvl1pPr>
          </a:lstStyle>
          <a:p>
            <a:pPr lvl="0"/>
            <a:r>
              <a:rPr lang="en-US"/>
              <a:t>Click to edit Master text styles</a:t>
            </a:r>
          </a:p>
        </p:txBody>
      </p:sp>
      <p:sp>
        <p:nvSpPr>
          <p:cNvPr id="85" name="Text Placeholder 8">
            <a:extLst>
              <a:ext uri="{FF2B5EF4-FFF2-40B4-BE49-F238E27FC236}">
                <a16:creationId xmlns:a16="http://schemas.microsoft.com/office/drawing/2014/main" id="{20A4B62D-41EA-E345-863D-40A2902035A0}"/>
              </a:ext>
            </a:extLst>
          </p:cNvPr>
          <p:cNvSpPr>
            <a:spLocks noGrp="1"/>
          </p:cNvSpPr>
          <p:nvPr>
            <p:ph type="body" sz="quarter" idx="47"/>
          </p:nvPr>
        </p:nvSpPr>
        <p:spPr>
          <a:xfrm>
            <a:off x="7326631" y="3523433"/>
            <a:ext cx="2000777" cy="233710"/>
          </a:xfrm>
        </p:spPr>
        <p:txBody>
          <a:bodyPr anchor="b" anchorCtr="0">
            <a:normAutofit/>
          </a:bodyPr>
          <a:lstStyle>
            <a:lvl1pPr marL="0" indent="0" algn="ctr">
              <a:buFont typeface="Arial" panose="020B0604020202020204" pitchFamily="34" charset="0"/>
              <a:buChar char="​"/>
              <a:defRPr sz="1050" b="0" i="0" spc="0">
                <a:latin typeface="+mj-lt"/>
                <a:ea typeface="Roboto Medium" panose="02000000000000000000" pitchFamily="2" charset="0"/>
                <a:cs typeface="Roboto Medium" panose="02000000000000000000" pitchFamily="2" charset="0"/>
              </a:defRPr>
            </a:lvl1pPr>
          </a:lstStyle>
          <a:p>
            <a:pPr lvl="0"/>
            <a:r>
              <a:rPr lang="en-US"/>
              <a:t>Click to edit Master text styles</a:t>
            </a:r>
          </a:p>
        </p:txBody>
      </p:sp>
      <p:sp>
        <p:nvSpPr>
          <p:cNvPr id="89" name="Text Placeholder 10">
            <a:extLst>
              <a:ext uri="{FF2B5EF4-FFF2-40B4-BE49-F238E27FC236}">
                <a16:creationId xmlns:a16="http://schemas.microsoft.com/office/drawing/2014/main" id="{D42ADD9A-621F-7247-B780-6EDD49D44453}"/>
              </a:ext>
            </a:extLst>
          </p:cNvPr>
          <p:cNvSpPr>
            <a:spLocks noGrp="1"/>
          </p:cNvSpPr>
          <p:nvPr>
            <p:ph type="body" sz="quarter" idx="51"/>
          </p:nvPr>
        </p:nvSpPr>
        <p:spPr>
          <a:xfrm>
            <a:off x="7326631" y="3850846"/>
            <a:ext cx="2000778" cy="1236953"/>
          </a:xfrm>
        </p:spPr>
        <p:txBody>
          <a:bodyPr anchor="t" anchorCtr="0">
            <a:normAutofit/>
          </a:bodyPr>
          <a:lstStyle>
            <a:lvl1pPr marL="0" indent="0" algn="ctr">
              <a:buFont typeface="Arial" panose="020B0604020202020204" pitchFamily="34" charset="0"/>
              <a:buChar char="​"/>
              <a:defRPr sz="1050" b="0" i="0">
                <a:latin typeface="+mn-lt"/>
              </a:defRPr>
            </a:lvl1pPr>
          </a:lstStyle>
          <a:p>
            <a:pPr lvl="0"/>
            <a:r>
              <a:rPr lang="en-US"/>
              <a:t>Click to edit Master text styles</a:t>
            </a:r>
          </a:p>
        </p:txBody>
      </p:sp>
      <p:sp>
        <p:nvSpPr>
          <p:cNvPr id="86" name="Text Placeholder 8">
            <a:extLst>
              <a:ext uri="{FF2B5EF4-FFF2-40B4-BE49-F238E27FC236}">
                <a16:creationId xmlns:a16="http://schemas.microsoft.com/office/drawing/2014/main" id="{6EF69F42-5B16-764C-ABEC-656071AA5E54}"/>
              </a:ext>
            </a:extLst>
          </p:cNvPr>
          <p:cNvSpPr>
            <a:spLocks noGrp="1"/>
          </p:cNvSpPr>
          <p:nvPr>
            <p:ph type="body" sz="quarter" idx="48"/>
          </p:nvPr>
        </p:nvSpPr>
        <p:spPr>
          <a:xfrm>
            <a:off x="9537404" y="3523433"/>
            <a:ext cx="2000777" cy="233710"/>
          </a:xfrm>
        </p:spPr>
        <p:txBody>
          <a:bodyPr anchor="b" anchorCtr="0">
            <a:normAutofit/>
          </a:bodyPr>
          <a:lstStyle>
            <a:lvl1pPr marL="0" indent="0" algn="ctr">
              <a:buFont typeface="Arial" panose="020B0604020202020204" pitchFamily="34" charset="0"/>
              <a:buChar char="​"/>
              <a:defRPr sz="1050" b="0" i="0" spc="0">
                <a:latin typeface="+mj-lt"/>
                <a:ea typeface="Roboto Medium" panose="02000000000000000000" pitchFamily="2" charset="0"/>
                <a:cs typeface="Roboto Medium" panose="02000000000000000000" pitchFamily="2" charset="0"/>
              </a:defRPr>
            </a:lvl1pPr>
          </a:lstStyle>
          <a:p>
            <a:pPr lvl="0"/>
            <a:r>
              <a:rPr lang="en-US"/>
              <a:t>Click to edit Master text styles</a:t>
            </a:r>
          </a:p>
        </p:txBody>
      </p:sp>
      <p:sp>
        <p:nvSpPr>
          <p:cNvPr id="90" name="Text Placeholder 10">
            <a:extLst>
              <a:ext uri="{FF2B5EF4-FFF2-40B4-BE49-F238E27FC236}">
                <a16:creationId xmlns:a16="http://schemas.microsoft.com/office/drawing/2014/main" id="{75114EBA-98DD-BC43-87E9-B2AC955C1C16}"/>
              </a:ext>
            </a:extLst>
          </p:cNvPr>
          <p:cNvSpPr>
            <a:spLocks noGrp="1"/>
          </p:cNvSpPr>
          <p:nvPr>
            <p:ph type="body" sz="quarter" idx="52"/>
          </p:nvPr>
        </p:nvSpPr>
        <p:spPr>
          <a:xfrm>
            <a:off x="9537403" y="3850846"/>
            <a:ext cx="2000778" cy="1236953"/>
          </a:xfrm>
        </p:spPr>
        <p:txBody>
          <a:bodyPr anchor="t" anchorCtr="0">
            <a:normAutofit/>
          </a:bodyPr>
          <a:lstStyle>
            <a:lvl1pPr marL="0" indent="0" algn="ctr">
              <a:buFont typeface="Arial" panose="020B0604020202020204" pitchFamily="34" charset="0"/>
              <a:buChar char="​"/>
              <a:defRPr sz="1050" b="0" i="0">
                <a:latin typeface="+mn-lt"/>
              </a:defRPr>
            </a:lvl1pPr>
          </a:lstStyle>
          <a:p>
            <a:pPr lvl="0"/>
            <a:r>
              <a:rPr lang="en-US"/>
              <a:t>Click to edit Master text styles</a:t>
            </a:r>
          </a:p>
        </p:txBody>
      </p:sp>
      <p:sp>
        <p:nvSpPr>
          <p:cNvPr id="23" name="Rectangle 22">
            <a:extLst>
              <a:ext uri="{FF2B5EF4-FFF2-40B4-BE49-F238E27FC236}">
                <a16:creationId xmlns:a16="http://schemas.microsoft.com/office/drawing/2014/main" id="{A9A5FF8A-2A79-834F-AA61-B9064AD947E9}"/>
              </a:ext>
              <a:ext uri="{C183D7F6-B498-43B3-948B-1728B52AA6E4}">
                <adec:decorative xmlns:adec="http://schemas.microsoft.com/office/drawing/2017/decorative" val="1"/>
              </a:ext>
            </a:extLst>
          </p:cNvPr>
          <p:cNvSpPr/>
          <p:nvPr userDrawn="1"/>
        </p:nvSpPr>
        <p:spPr>
          <a:xfrm>
            <a:off x="894511" y="1971704"/>
            <a:ext cx="1438401" cy="1389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24" name="Rectangle 23">
            <a:extLst>
              <a:ext uri="{FF2B5EF4-FFF2-40B4-BE49-F238E27FC236}">
                <a16:creationId xmlns:a16="http://schemas.microsoft.com/office/drawing/2014/main" id="{3F3E8339-4363-CC4D-95C6-84C44C28C0DD}"/>
              </a:ext>
              <a:ext uri="{C183D7F6-B498-43B3-948B-1728B52AA6E4}">
                <adec:decorative xmlns:adec="http://schemas.microsoft.com/office/drawing/2017/decorative" val="1"/>
              </a:ext>
            </a:extLst>
          </p:cNvPr>
          <p:cNvSpPr/>
          <p:nvPr userDrawn="1"/>
        </p:nvSpPr>
        <p:spPr>
          <a:xfrm>
            <a:off x="985049" y="1971704"/>
            <a:ext cx="1388358" cy="1389915"/>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25" name="TextBox 24">
            <a:extLst>
              <a:ext uri="{FF2B5EF4-FFF2-40B4-BE49-F238E27FC236}">
                <a16:creationId xmlns:a16="http://schemas.microsoft.com/office/drawing/2014/main" id="{B209960D-E04E-7245-B83B-5A9EBED26DA3}"/>
              </a:ext>
              <a:ext uri="{C183D7F6-B498-43B3-948B-1728B52AA6E4}">
                <adec:decorative xmlns:adec="http://schemas.microsoft.com/office/drawing/2017/decorative" val="1"/>
              </a:ext>
            </a:extLst>
          </p:cNvPr>
          <p:cNvSpPr txBox="1"/>
          <p:nvPr userDrawn="1"/>
        </p:nvSpPr>
        <p:spPr>
          <a:xfrm>
            <a:off x="1077573" y="2865094"/>
            <a:ext cx="120331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Nunito Sans Light" pitchFamily="2" charset="77"/>
                <a:ea typeface="Roboto Medium" panose="02000000000000000000" pitchFamily="2" charset="0"/>
                <a:cs typeface="Roboto Medium" panose="02000000000000000000" pitchFamily="2" charset="0"/>
              </a:rPr>
              <a:t>Headshot</a:t>
            </a:r>
          </a:p>
        </p:txBody>
      </p:sp>
      <p:sp>
        <p:nvSpPr>
          <p:cNvPr id="26" name="Picture Placeholder 5">
            <a:extLst>
              <a:ext uri="{FF2B5EF4-FFF2-40B4-BE49-F238E27FC236}">
                <a16:creationId xmlns:a16="http://schemas.microsoft.com/office/drawing/2014/main" id="{6E67699B-DAED-7447-94E4-3848170F0297}"/>
              </a:ext>
              <a:ext uri="{C183D7F6-B498-43B3-948B-1728B52AA6E4}">
                <adec:decorative xmlns:adec="http://schemas.microsoft.com/office/drawing/2017/decorative" val="1"/>
              </a:ext>
            </a:extLst>
          </p:cNvPr>
          <p:cNvSpPr>
            <a:spLocks noGrp="1"/>
          </p:cNvSpPr>
          <p:nvPr>
            <p:ph type="pic" sz="quarter" idx="28" hasCustomPrompt="1"/>
          </p:nvPr>
        </p:nvSpPr>
        <p:spPr>
          <a:xfrm>
            <a:off x="985067" y="1971704"/>
            <a:ext cx="1388340" cy="1389915"/>
          </a:xfrm>
        </p:spPr>
        <p:txBody>
          <a:bodyPr tIns="274320">
            <a:normAutofit/>
          </a:bodyPr>
          <a:lstStyle>
            <a:lvl1pPr algn="l">
              <a:buNone/>
              <a:defRPr sz="1600" b="0" i="0"/>
            </a:lvl1pPr>
          </a:lstStyle>
          <a:p>
            <a:r>
              <a:rPr lang="en-US"/>
              <a:t>Click icon to insert image</a:t>
            </a:r>
          </a:p>
        </p:txBody>
      </p:sp>
      <p:sp>
        <p:nvSpPr>
          <p:cNvPr id="58" name="Rectangle 57">
            <a:extLst>
              <a:ext uri="{FF2B5EF4-FFF2-40B4-BE49-F238E27FC236}">
                <a16:creationId xmlns:a16="http://schemas.microsoft.com/office/drawing/2014/main" id="{BEB3AC85-24F5-3448-801A-459806AA7A3C}"/>
              </a:ext>
              <a:ext uri="{C183D7F6-B498-43B3-948B-1728B52AA6E4}">
                <adec:decorative xmlns:adec="http://schemas.microsoft.com/office/drawing/2017/decorative" val="1"/>
              </a:ext>
            </a:extLst>
          </p:cNvPr>
          <p:cNvSpPr/>
          <p:nvPr userDrawn="1"/>
        </p:nvSpPr>
        <p:spPr>
          <a:xfrm>
            <a:off x="3125532" y="1971704"/>
            <a:ext cx="1438401" cy="1389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59" name="Rectangle 58">
            <a:extLst>
              <a:ext uri="{FF2B5EF4-FFF2-40B4-BE49-F238E27FC236}">
                <a16:creationId xmlns:a16="http://schemas.microsoft.com/office/drawing/2014/main" id="{B6494591-A676-8E4B-8FA0-519B8006B126}"/>
              </a:ext>
              <a:ext uri="{C183D7F6-B498-43B3-948B-1728B52AA6E4}">
                <adec:decorative xmlns:adec="http://schemas.microsoft.com/office/drawing/2017/decorative" val="1"/>
              </a:ext>
            </a:extLst>
          </p:cNvPr>
          <p:cNvSpPr/>
          <p:nvPr userDrawn="1"/>
        </p:nvSpPr>
        <p:spPr>
          <a:xfrm>
            <a:off x="3216070" y="1971704"/>
            <a:ext cx="1388358" cy="1389915"/>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60" name="TextBox 59">
            <a:extLst>
              <a:ext uri="{FF2B5EF4-FFF2-40B4-BE49-F238E27FC236}">
                <a16:creationId xmlns:a16="http://schemas.microsoft.com/office/drawing/2014/main" id="{D908107C-7DF1-5C4B-97F4-FBF100ACC33C}"/>
              </a:ext>
              <a:ext uri="{C183D7F6-B498-43B3-948B-1728B52AA6E4}">
                <adec:decorative xmlns:adec="http://schemas.microsoft.com/office/drawing/2017/decorative" val="1"/>
              </a:ext>
            </a:extLst>
          </p:cNvPr>
          <p:cNvSpPr txBox="1"/>
          <p:nvPr userDrawn="1"/>
        </p:nvSpPr>
        <p:spPr>
          <a:xfrm>
            <a:off x="3308594" y="2865094"/>
            <a:ext cx="120331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Nunito Sans Light" pitchFamily="2" charset="77"/>
                <a:ea typeface="Roboto Medium" panose="02000000000000000000" pitchFamily="2" charset="0"/>
                <a:cs typeface="Roboto Medium" panose="02000000000000000000" pitchFamily="2" charset="0"/>
              </a:rPr>
              <a:t>Headshot</a:t>
            </a:r>
          </a:p>
        </p:txBody>
      </p:sp>
      <p:sp>
        <p:nvSpPr>
          <p:cNvPr id="61" name="Picture Placeholder 5">
            <a:extLst>
              <a:ext uri="{FF2B5EF4-FFF2-40B4-BE49-F238E27FC236}">
                <a16:creationId xmlns:a16="http://schemas.microsoft.com/office/drawing/2014/main" id="{00FA298A-B5DE-5D4D-AAB2-AB9B53D4C0AD}"/>
              </a:ext>
              <a:ext uri="{C183D7F6-B498-43B3-948B-1728B52AA6E4}">
                <adec:decorative xmlns:adec="http://schemas.microsoft.com/office/drawing/2017/decorative" val="1"/>
              </a:ext>
            </a:extLst>
          </p:cNvPr>
          <p:cNvSpPr>
            <a:spLocks noGrp="1"/>
          </p:cNvSpPr>
          <p:nvPr>
            <p:ph type="pic" sz="quarter" idx="39" hasCustomPrompt="1"/>
          </p:nvPr>
        </p:nvSpPr>
        <p:spPr>
          <a:xfrm>
            <a:off x="3216088" y="1971704"/>
            <a:ext cx="1388340" cy="1389915"/>
          </a:xfrm>
        </p:spPr>
        <p:txBody>
          <a:bodyPr tIns="274320">
            <a:normAutofit/>
          </a:bodyPr>
          <a:lstStyle>
            <a:lvl1pPr algn="l">
              <a:buNone/>
              <a:defRPr sz="1600" b="0" i="0"/>
            </a:lvl1pPr>
          </a:lstStyle>
          <a:p>
            <a:r>
              <a:rPr lang="en-US"/>
              <a:t>Click icon to insert image</a:t>
            </a:r>
          </a:p>
        </p:txBody>
      </p:sp>
      <p:sp>
        <p:nvSpPr>
          <p:cNvPr id="66" name="Rectangle 65">
            <a:extLst>
              <a:ext uri="{FF2B5EF4-FFF2-40B4-BE49-F238E27FC236}">
                <a16:creationId xmlns:a16="http://schemas.microsoft.com/office/drawing/2014/main" id="{1C5CAF47-42B2-D848-B18D-083B417F9392}"/>
              </a:ext>
              <a:ext uri="{C183D7F6-B498-43B3-948B-1728B52AA6E4}">
                <adec:decorative xmlns:adec="http://schemas.microsoft.com/office/drawing/2017/decorative" val="1"/>
              </a:ext>
            </a:extLst>
          </p:cNvPr>
          <p:cNvSpPr/>
          <p:nvPr userDrawn="1"/>
        </p:nvSpPr>
        <p:spPr>
          <a:xfrm>
            <a:off x="5356553" y="1971704"/>
            <a:ext cx="1438401" cy="1389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67" name="Rectangle 66">
            <a:extLst>
              <a:ext uri="{FF2B5EF4-FFF2-40B4-BE49-F238E27FC236}">
                <a16:creationId xmlns:a16="http://schemas.microsoft.com/office/drawing/2014/main" id="{1DE165C1-6688-C74B-A7AE-C33910AD2D36}"/>
              </a:ext>
              <a:ext uri="{C183D7F6-B498-43B3-948B-1728B52AA6E4}">
                <adec:decorative xmlns:adec="http://schemas.microsoft.com/office/drawing/2017/decorative" val="1"/>
              </a:ext>
            </a:extLst>
          </p:cNvPr>
          <p:cNvSpPr/>
          <p:nvPr userDrawn="1"/>
        </p:nvSpPr>
        <p:spPr>
          <a:xfrm>
            <a:off x="5447091" y="1971704"/>
            <a:ext cx="1388358" cy="1389915"/>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68" name="TextBox 67">
            <a:extLst>
              <a:ext uri="{FF2B5EF4-FFF2-40B4-BE49-F238E27FC236}">
                <a16:creationId xmlns:a16="http://schemas.microsoft.com/office/drawing/2014/main" id="{A5B5DF76-3DE5-164A-B744-57EB295A3A59}"/>
              </a:ext>
              <a:ext uri="{C183D7F6-B498-43B3-948B-1728B52AA6E4}">
                <adec:decorative xmlns:adec="http://schemas.microsoft.com/office/drawing/2017/decorative" val="1"/>
              </a:ext>
            </a:extLst>
          </p:cNvPr>
          <p:cNvSpPr txBox="1"/>
          <p:nvPr userDrawn="1"/>
        </p:nvSpPr>
        <p:spPr>
          <a:xfrm>
            <a:off x="5539615" y="2865094"/>
            <a:ext cx="120331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Nunito Sans Light" pitchFamily="2" charset="77"/>
                <a:ea typeface="Roboto Medium" panose="02000000000000000000" pitchFamily="2" charset="0"/>
                <a:cs typeface="Roboto Medium" panose="02000000000000000000" pitchFamily="2" charset="0"/>
              </a:rPr>
              <a:t>Headshot</a:t>
            </a:r>
          </a:p>
        </p:txBody>
      </p:sp>
      <p:sp>
        <p:nvSpPr>
          <p:cNvPr id="69" name="Picture Placeholder 5">
            <a:extLst>
              <a:ext uri="{FF2B5EF4-FFF2-40B4-BE49-F238E27FC236}">
                <a16:creationId xmlns:a16="http://schemas.microsoft.com/office/drawing/2014/main" id="{1BF0B029-6B37-6948-B00B-A93E4678B429}"/>
              </a:ext>
              <a:ext uri="{C183D7F6-B498-43B3-948B-1728B52AA6E4}">
                <adec:decorative xmlns:adec="http://schemas.microsoft.com/office/drawing/2017/decorative" val="1"/>
              </a:ext>
            </a:extLst>
          </p:cNvPr>
          <p:cNvSpPr>
            <a:spLocks noGrp="1"/>
          </p:cNvSpPr>
          <p:nvPr>
            <p:ph type="pic" sz="quarter" idx="40" hasCustomPrompt="1"/>
          </p:nvPr>
        </p:nvSpPr>
        <p:spPr>
          <a:xfrm>
            <a:off x="5447109" y="1971704"/>
            <a:ext cx="1388340" cy="1389915"/>
          </a:xfrm>
        </p:spPr>
        <p:txBody>
          <a:bodyPr tIns="274320">
            <a:normAutofit/>
          </a:bodyPr>
          <a:lstStyle>
            <a:lvl1pPr algn="l">
              <a:buNone/>
              <a:defRPr sz="1600" b="0" i="0"/>
            </a:lvl1pPr>
          </a:lstStyle>
          <a:p>
            <a:r>
              <a:rPr lang="en-US"/>
              <a:t>Click icon to insert image</a:t>
            </a:r>
          </a:p>
        </p:txBody>
      </p:sp>
      <p:sp>
        <p:nvSpPr>
          <p:cNvPr id="70" name="Rectangle 69">
            <a:extLst>
              <a:ext uri="{FF2B5EF4-FFF2-40B4-BE49-F238E27FC236}">
                <a16:creationId xmlns:a16="http://schemas.microsoft.com/office/drawing/2014/main" id="{716327FE-2184-EE40-836E-5F5AFA32CB97}"/>
              </a:ext>
              <a:ext uri="{C183D7F6-B498-43B3-948B-1728B52AA6E4}">
                <adec:decorative xmlns:adec="http://schemas.microsoft.com/office/drawing/2017/decorative" val="1"/>
              </a:ext>
            </a:extLst>
          </p:cNvPr>
          <p:cNvSpPr/>
          <p:nvPr userDrawn="1"/>
        </p:nvSpPr>
        <p:spPr>
          <a:xfrm>
            <a:off x="7587574" y="1971704"/>
            <a:ext cx="1438401" cy="1389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71" name="Rectangle 70">
            <a:extLst>
              <a:ext uri="{FF2B5EF4-FFF2-40B4-BE49-F238E27FC236}">
                <a16:creationId xmlns:a16="http://schemas.microsoft.com/office/drawing/2014/main" id="{E3F2B607-5789-E241-B945-CE9100C8591E}"/>
              </a:ext>
              <a:ext uri="{C183D7F6-B498-43B3-948B-1728B52AA6E4}">
                <adec:decorative xmlns:adec="http://schemas.microsoft.com/office/drawing/2017/decorative" val="1"/>
              </a:ext>
            </a:extLst>
          </p:cNvPr>
          <p:cNvSpPr/>
          <p:nvPr userDrawn="1"/>
        </p:nvSpPr>
        <p:spPr>
          <a:xfrm>
            <a:off x="7678112" y="1971704"/>
            <a:ext cx="1388358" cy="1389915"/>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72" name="TextBox 71">
            <a:extLst>
              <a:ext uri="{FF2B5EF4-FFF2-40B4-BE49-F238E27FC236}">
                <a16:creationId xmlns:a16="http://schemas.microsoft.com/office/drawing/2014/main" id="{84242492-123C-1F48-A1D3-7A37A00F7797}"/>
              </a:ext>
              <a:ext uri="{C183D7F6-B498-43B3-948B-1728B52AA6E4}">
                <adec:decorative xmlns:adec="http://schemas.microsoft.com/office/drawing/2017/decorative" val="1"/>
              </a:ext>
            </a:extLst>
          </p:cNvPr>
          <p:cNvSpPr txBox="1"/>
          <p:nvPr userDrawn="1"/>
        </p:nvSpPr>
        <p:spPr>
          <a:xfrm>
            <a:off x="7770636" y="2865094"/>
            <a:ext cx="120331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Nunito Sans Light" pitchFamily="2" charset="77"/>
                <a:ea typeface="Roboto Medium" panose="02000000000000000000" pitchFamily="2" charset="0"/>
                <a:cs typeface="Roboto Medium" panose="02000000000000000000" pitchFamily="2" charset="0"/>
              </a:rPr>
              <a:t>Headshot</a:t>
            </a:r>
          </a:p>
        </p:txBody>
      </p:sp>
      <p:sp>
        <p:nvSpPr>
          <p:cNvPr id="73" name="Picture Placeholder 5">
            <a:extLst>
              <a:ext uri="{FF2B5EF4-FFF2-40B4-BE49-F238E27FC236}">
                <a16:creationId xmlns:a16="http://schemas.microsoft.com/office/drawing/2014/main" id="{6D896273-5900-2C44-BC1D-CF5886E6547B}"/>
              </a:ext>
              <a:ext uri="{C183D7F6-B498-43B3-948B-1728B52AA6E4}">
                <adec:decorative xmlns:adec="http://schemas.microsoft.com/office/drawing/2017/decorative" val="1"/>
              </a:ext>
            </a:extLst>
          </p:cNvPr>
          <p:cNvSpPr>
            <a:spLocks noGrp="1"/>
          </p:cNvSpPr>
          <p:nvPr>
            <p:ph type="pic" sz="quarter" idx="41" hasCustomPrompt="1"/>
          </p:nvPr>
        </p:nvSpPr>
        <p:spPr>
          <a:xfrm>
            <a:off x="7678130" y="1971704"/>
            <a:ext cx="1388340" cy="1389915"/>
          </a:xfrm>
        </p:spPr>
        <p:txBody>
          <a:bodyPr tIns="274320">
            <a:normAutofit/>
          </a:bodyPr>
          <a:lstStyle>
            <a:lvl1pPr algn="l">
              <a:buNone/>
              <a:defRPr sz="1600" b="0" i="0"/>
            </a:lvl1pPr>
          </a:lstStyle>
          <a:p>
            <a:r>
              <a:rPr lang="en-US"/>
              <a:t>Click icon to insert image</a:t>
            </a:r>
          </a:p>
        </p:txBody>
      </p:sp>
      <p:sp>
        <p:nvSpPr>
          <p:cNvPr id="74" name="Rectangle 73">
            <a:extLst>
              <a:ext uri="{FF2B5EF4-FFF2-40B4-BE49-F238E27FC236}">
                <a16:creationId xmlns:a16="http://schemas.microsoft.com/office/drawing/2014/main" id="{840C5FB2-7EB5-E34F-8322-AAB139C495A4}"/>
              </a:ext>
              <a:ext uri="{C183D7F6-B498-43B3-948B-1728B52AA6E4}">
                <adec:decorative xmlns:adec="http://schemas.microsoft.com/office/drawing/2017/decorative" val="1"/>
              </a:ext>
            </a:extLst>
          </p:cNvPr>
          <p:cNvSpPr/>
          <p:nvPr userDrawn="1"/>
        </p:nvSpPr>
        <p:spPr>
          <a:xfrm>
            <a:off x="9818593" y="1971704"/>
            <a:ext cx="1438401" cy="1389915"/>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75" name="Rectangle 74">
            <a:extLst>
              <a:ext uri="{FF2B5EF4-FFF2-40B4-BE49-F238E27FC236}">
                <a16:creationId xmlns:a16="http://schemas.microsoft.com/office/drawing/2014/main" id="{1EF815E3-8C8B-FE4F-A317-C952479DDE03}"/>
              </a:ext>
              <a:ext uri="{C183D7F6-B498-43B3-948B-1728B52AA6E4}">
                <adec:decorative xmlns:adec="http://schemas.microsoft.com/office/drawing/2017/decorative" val="1"/>
              </a:ext>
            </a:extLst>
          </p:cNvPr>
          <p:cNvSpPr/>
          <p:nvPr userDrawn="1"/>
        </p:nvSpPr>
        <p:spPr>
          <a:xfrm>
            <a:off x="9909131" y="1971704"/>
            <a:ext cx="1388358" cy="1389915"/>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76" name="TextBox 75">
            <a:extLst>
              <a:ext uri="{FF2B5EF4-FFF2-40B4-BE49-F238E27FC236}">
                <a16:creationId xmlns:a16="http://schemas.microsoft.com/office/drawing/2014/main" id="{07753AE5-B0F4-C248-A857-CA8A9C6035F3}"/>
              </a:ext>
              <a:ext uri="{C183D7F6-B498-43B3-948B-1728B52AA6E4}">
                <adec:decorative xmlns:adec="http://schemas.microsoft.com/office/drawing/2017/decorative" val="1"/>
              </a:ext>
            </a:extLst>
          </p:cNvPr>
          <p:cNvSpPr txBox="1"/>
          <p:nvPr userDrawn="1"/>
        </p:nvSpPr>
        <p:spPr>
          <a:xfrm>
            <a:off x="10001655" y="2865094"/>
            <a:ext cx="120331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Nunito Sans Light" pitchFamily="2" charset="77"/>
                <a:ea typeface="Roboto Medium" panose="02000000000000000000" pitchFamily="2" charset="0"/>
                <a:cs typeface="Roboto Medium" panose="02000000000000000000" pitchFamily="2" charset="0"/>
              </a:rPr>
              <a:t>Headshot</a:t>
            </a:r>
          </a:p>
        </p:txBody>
      </p:sp>
      <p:sp>
        <p:nvSpPr>
          <p:cNvPr id="77" name="Picture Placeholder 5">
            <a:extLst>
              <a:ext uri="{FF2B5EF4-FFF2-40B4-BE49-F238E27FC236}">
                <a16:creationId xmlns:a16="http://schemas.microsoft.com/office/drawing/2014/main" id="{5F9D3E25-4DFC-AD4B-B853-A29B192AC4D0}"/>
              </a:ext>
              <a:ext uri="{C183D7F6-B498-43B3-948B-1728B52AA6E4}">
                <adec:decorative xmlns:adec="http://schemas.microsoft.com/office/drawing/2017/decorative" val="1"/>
              </a:ext>
            </a:extLst>
          </p:cNvPr>
          <p:cNvSpPr>
            <a:spLocks noGrp="1"/>
          </p:cNvSpPr>
          <p:nvPr>
            <p:ph type="pic" sz="quarter" idx="42" hasCustomPrompt="1"/>
          </p:nvPr>
        </p:nvSpPr>
        <p:spPr>
          <a:xfrm>
            <a:off x="9909149" y="1971704"/>
            <a:ext cx="1388340" cy="1389915"/>
          </a:xfrm>
        </p:spPr>
        <p:txBody>
          <a:bodyPr tIns="274320">
            <a:normAutofit/>
          </a:bodyPr>
          <a:lstStyle>
            <a:lvl1pPr algn="l">
              <a:buNone/>
              <a:defRPr sz="1600" b="0" i="0"/>
            </a:lvl1pPr>
          </a:lstStyle>
          <a:p>
            <a:r>
              <a:rPr lang="en-US"/>
              <a:t>Click icon to insert image</a:t>
            </a:r>
          </a:p>
        </p:txBody>
      </p:sp>
      <p:sp>
        <p:nvSpPr>
          <p:cNvPr id="2" name="Date Placeholder 1" hidden="1">
            <a:extLst>
              <a:ext uri="{FF2B5EF4-FFF2-40B4-BE49-F238E27FC236}">
                <a16:creationId xmlns:a16="http://schemas.microsoft.com/office/drawing/2014/main" id="{BEC7E80B-BEA4-402F-83AA-50D9834C817E}"/>
              </a:ext>
            </a:extLst>
          </p:cNvPr>
          <p:cNvSpPr>
            <a:spLocks noGrp="1"/>
          </p:cNvSpPr>
          <p:nvPr>
            <p:ph type="dt" sz="half" idx="30"/>
          </p:nvPr>
        </p:nvSpPr>
        <p:spPr/>
        <p:txBody>
          <a:bodyPr/>
          <a:lstStyle/>
          <a:p>
            <a:fld id="{77AA6E6C-BB3E-E94D-B480-811E6A5390FE}" type="datetime1">
              <a:rPr lang="en-US"/>
              <a:pPr/>
              <a:t>5/10/2023</a:t>
            </a:fld>
            <a:endParaRPr lang="en-US"/>
          </a:p>
        </p:txBody>
      </p:sp>
      <p:sp>
        <p:nvSpPr>
          <p:cNvPr id="6" name="Footer Placeholder 5" hidden="1">
            <a:extLst>
              <a:ext uri="{FF2B5EF4-FFF2-40B4-BE49-F238E27FC236}">
                <a16:creationId xmlns:a16="http://schemas.microsoft.com/office/drawing/2014/main" id="{65FAC813-B34C-46E5-BA68-FE76BFC664A6}"/>
              </a:ext>
            </a:extLst>
          </p:cNvPr>
          <p:cNvSpPr>
            <a:spLocks noGrp="1"/>
          </p:cNvSpPr>
          <p:nvPr>
            <p:ph type="ftr" sz="quarter" idx="31"/>
          </p:nvPr>
        </p:nvSpPr>
        <p:spPr/>
        <p:txBody>
          <a:bodyPr/>
          <a:lstStyle/>
          <a:p>
            <a:pPr algn="r"/>
            <a:endParaRPr lang="en-US"/>
          </a:p>
        </p:txBody>
      </p:sp>
      <p:sp>
        <p:nvSpPr>
          <p:cNvPr id="35" name="Logo protection area" hidden="1">
            <a:extLst>
              <a:ext uri="{FF2B5EF4-FFF2-40B4-BE49-F238E27FC236}">
                <a16:creationId xmlns:a16="http://schemas.microsoft.com/office/drawing/2014/main" id="{564446E9-E40E-2342-B36D-036BB73F7018}"/>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36" name="Layout protection area" hidden="1">
            <a:extLst>
              <a:ext uri="{FF2B5EF4-FFF2-40B4-BE49-F238E27FC236}">
                <a16:creationId xmlns:a16="http://schemas.microsoft.com/office/drawing/2014/main" id="{48F1E829-16A3-E245-8124-E76284D8D30F}"/>
              </a:ext>
            </a:extLst>
          </p:cNvPr>
          <p:cNvSpPr/>
          <p:nvPr userDrawn="1">
            <p:custDataLst>
              <p:tags r:id="rId2"/>
            </p:custDataLst>
          </p:nvPr>
        </p:nvSpPr>
        <p:spPr>
          <a:xfrm>
            <a:off x="0" y="0"/>
            <a:ext cx="12176098" cy="604361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7" name="Slide Number Placeholder 6">
            <a:extLst>
              <a:ext uri="{FF2B5EF4-FFF2-40B4-BE49-F238E27FC236}">
                <a16:creationId xmlns:a16="http://schemas.microsoft.com/office/drawing/2014/main" id="{7F380CA8-A72A-4D2A-9CC8-3A5723A3AB1D}"/>
              </a:ext>
            </a:extLst>
          </p:cNvPr>
          <p:cNvSpPr>
            <a:spLocks noGrp="1"/>
          </p:cNvSpPr>
          <p:nvPr>
            <p:ph type="sldNum" sz="quarter" idx="32"/>
          </p:nvPr>
        </p:nvSpPr>
        <p:spPr/>
        <p:txBody>
          <a:bodyPr/>
          <a:lstStyle/>
          <a:p>
            <a:fld id="{7F9396FD-A8D2-5548-97AD-44EE9AACF15F}" type="slidenum">
              <a:rPr lang="en-US"/>
              <a:pPr/>
              <a:t>‹#›</a:t>
            </a:fld>
            <a:endParaRPr lang="en-US"/>
          </a:p>
        </p:txBody>
      </p:sp>
    </p:spTree>
    <p:extLst>
      <p:ext uri="{BB962C8B-B14F-4D97-AF65-F5344CB8AC3E}">
        <p14:creationId xmlns:p14="http://schemas.microsoft.com/office/powerpoint/2010/main" val="2922503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a:extLst>
              <a:ext uri="{FF2B5EF4-FFF2-40B4-BE49-F238E27FC236}">
                <a16:creationId xmlns:a16="http://schemas.microsoft.com/office/drawing/2014/main" id="{ED2910EC-9F5C-4391-8AF2-F9CFC39F7A79}"/>
              </a:ext>
            </a:extLst>
          </p:cNvPr>
          <p:cNvSpPr>
            <a:spLocks noGrp="1"/>
          </p:cNvSpPr>
          <p:nvPr>
            <p:ph type="title"/>
          </p:nvPr>
        </p:nvSpPr>
        <p:spPr>
          <a:xfrm>
            <a:off x="685800" y="636102"/>
            <a:ext cx="4590670" cy="3926373"/>
          </a:xfrm>
        </p:spPr>
        <p:txBody>
          <a:bodyPr anchor="b"/>
          <a:lstStyle>
            <a:lvl1pPr>
              <a:defRPr sz="6000">
                <a:solidFill>
                  <a:schemeClr val="tx1"/>
                </a:solidFill>
              </a:defRPr>
            </a:lvl1pPr>
          </a:lstStyle>
          <a:p>
            <a:pPr lvl="0"/>
            <a:r>
              <a:rPr lang="en-US"/>
              <a:t>Click to edit Master title style</a:t>
            </a:r>
          </a:p>
        </p:txBody>
      </p:sp>
      <p:sp>
        <p:nvSpPr>
          <p:cNvPr id="3" name="Text Placeholder 2">
            <a:extLst>
              <a:ext uri="{FF2B5EF4-FFF2-40B4-BE49-F238E27FC236}">
                <a16:creationId xmlns:a16="http://schemas.microsoft.com/office/drawing/2014/main" id="{6801CC04-9736-42B5-8D68-0F4B7C75D9F4}"/>
              </a:ext>
            </a:extLst>
          </p:cNvPr>
          <p:cNvSpPr>
            <a:spLocks noGrp="1"/>
          </p:cNvSpPr>
          <p:nvPr>
            <p:ph type="body" idx="1"/>
          </p:nvPr>
        </p:nvSpPr>
        <p:spPr>
          <a:xfrm>
            <a:off x="685800" y="4589464"/>
            <a:ext cx="4590670" cy="1454150"/>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C63720C0-1F73-44CA-BE18-3F269E368D3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5" name="Footer Placeholder 4">
            <a:extLst>
              <a:ext uri="{FF2B5EF4-FFF2-40B4-BE49-F238E27FC236}">
                <a16:creationId xmlns:a16="http://schemas.microsoft.com/office/drawing/2014/main" id="{2290D883-CF02-40E7-B98E-B7F4961A174C}"/>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6" name="Slide Number Placeholder 5">
            <a:extLst>
              <a:ext uri="{FF2B5EF4-FFF2-40B4-BE49-F238E27FC236}">
                <a16:creationId xmlns:a16="http://schemas.microsoft.com/office/drawing/2014/main" id="{44AEC3E9-BA5F-4CAB-B661-E2C8B499156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D34398-B1E2-43C1-9165-889316B49F6D}"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
        <p:nvSpPr>
          <p:cNvPr id="7" name="Logo protection area" hidden="1">
            <a:extLst>
              <a:ext uri="{FF2B5EF4-FFF2-40B4-BE49-F238E27FC236}">
                <a16:creationId xmlns:a16="http://schemas.microsoft.com/office/drawing/2014/main" id="{B31CC57A-16B9-43FE-974C-2D6A76D0B102}"/>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8" name="Layout Protection area" hidden="1">
            <a:extLst>
              <a:ext uri="{FF2B5EF4-FFF2-40B4-BE49-F238E27FC236}">
                <a16:creationId xmlns:a16="http://schemas.microsoft.com/office/drawing/2014/main" id="{39FC89FB-37B2-4530-A451-F07AE033AC19}"/>
              </a:ext>
            </a:extLst>
          </p:cNvPr>
          <p:cNvSpPr/>
          <p:nvPr userDrawn="1">
            <p:custDataLst>
              <p:tags r:id="rId2"/>
            </p:custDataLst>
          </p:nvPr>
        </p:nvSpPr>
        <p:spPr>
          <a:xfrm>
            <a:off x="0" y="-2"/>
            <a:ext cx="12192000" cy="6186278"/>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Tree>
    <p:extLst>
      <p:ext uri="{BB962C8B-B14F-4D97-AF65-F5344CB8AC3E}">
        <p14:creationId xmlns:p14="http://schemas.microsoft.com/office/powerpoint/2010/main" val="9700823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ck Divider Blue Highligh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29219DD1-D40F-414F-AF9C-5D3427538FDB}"/>
              </a:ext>
              <a:ext uri="{C183D7F6-B498-43B3-948B-1728B52AA6E4}">
                <adec:decorative xmlns:adec="http://schemas.microsoft.com/office/drawing/2017/decorative" val="1"/>
              </a:ext>
            </a:extLst>
          </p:cNvPr>
          <p:cNvSpPr/>
          <p:nvPr userDrawn="1"/>
        </p:nvSpPr>
        <p:spPr>
          <a:xfrm>
            <a:off x="0" y="0"/>
            <a:ext cx="12192000" cy="6299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9" name="Rectangle 8">
            <a:extLst>
              <a:ext uri="{FF2B5EF4-FFF2-40B4-BE49-F238E27FC236}">
                <a16:creationId xmlns:a16="http://schemas.microsoft.com/office/drawing/2014/main" id="{A56CEC44-29CF-E94A-894E-8191AE05FED3}"/>
              </a:ext>
              <a:ext uri="{C183D7F6-B498-43B3-948B-1728B52AA6E4}">
                <adec:decorative xmlns:adec="http://schemas.microsoft.com/office/drawing/2017/decorative" val="1"/>
              </a:ext>
            </a:extLst>
          </p:cNvPr>
          <p:cNvSpPr/>
          <p:nvPr userDrawn="1"/>
        </p:nvSpPr>
        <p:spPr>
          <a:xfrm>
            <a:off x="10192624" y="2905981"/>
            <a:ext cx="1999376" cy="15223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pic>
        <p:nvPicPr>
          <p:cNvPr id="10" name="Picture 9">
            <a:extLst>
              <a:ext uri="{FF2B5EF4-FFF2-40B4-BE49-F238E27FC236}">
                <a16:creationId xmlns:a16="http://schemas.microsoft.com/office/drawing/2014/main" id="{859EC9B6-308D-2840-83E7-0CB7E91EC201}"/>
              </a:ext>
              <a:ext uri="{C183D7F6-B498-43B3-948B-1728B52AA6E4}">
                <adec:decorative xmlns:adec="http://schemas.microsoft.com/office/drawing/2017/decorative" val="1"/>
              </a:ext>
            </a:extLst>
          </p:cNvPr>
          <p:cNvPicPr>
            <a:picLocks noChangeAspect="1"/>
          </p:cNvPicPr>
          <p:nvPr userDrawn="1"/>
        </p:nvPicPr>
        <p:blipFill>
          <a:blip r:embed="rId4" cstate="email">
            <a:alphaModFix amt="8000"/>
            <a:extLst>
              <a:ext uri="{28A0092B-C50C-407E-A947-70E740481C1C}">
                <a14:useLocalDpi xmlns:a14="http://schemas.microsoft.com/office/drawing/2010/main"/>
              </a:ext>
            </a:extLst>
          </a:blip>
          <a:stretch>
            <a:fillRect/>
          </a:stretch>
        </p:blipFill>
        <p:spPr>
          <a:xfrm>
            <a:off x="441297" y="2881705"/>
            <a:ext cx="5847522" cy="4201758"/>
          </a:xfrm>
          <a:prstGeom prst="rect">
            <a:avLst/>
          </a:prstGeom>
        </p:spPr>
      </p:pic>
      <p:sp>
        <p:nvSpPr>
          <p:cNvPr id="2" name="Title">
            <a:extLst>
              <a:ext uri="{FF2B5EF4-FFF2-40B4-BE49-F238E27FC236}">
                <a16:creationId xmlns:a16="http://schemas.microsoft.com/office/drawing/2014/main" id="{50B669FE-D86B-5B42-AFCA-FA1600DBAF10}"/>
              </a:ext>
            </a:extLst>
          </p:cNvPr>
          <p:cNvSpPr>
            <a:spLocks noGrp="1"/>
          </p:cNvSpPr>
          <p:nvPr>
            <p:ph type="ctrTitle"/>
            <p:custDataLst>
              <p:tags r:id="rId1"/>
            </p:custDataLst>
          </p:nvPr>
        </p:nvSpPr>
        <p:spPr>
          <a:xfrm>
            <a:off x="2118360" y="2324399"/>
            <a:ext cx="7955280" cy="1329595"/>
          </a:xfrm>
          <a:noFill/>
        </p:spPr>
        <p:txBody>
          <a:bodyPr wrap="square" anchor="ctr" anchorCtr="0">
            <a:spAutoFit/>
          </a:bodyPr>
          <a:lstStyle>
            <a:lvl1pPr algn="r">
              <a:defRPr sz="4800">
                <a:solidFill>
                  <a:schemeClr val="bg1"/>
                </a:solidFill>
              </a:defRPr>
            </a:lvl1pPr>
          </a:lstStyle>
          <a:p>
            <a:r>
              <a:rPr lang="en-US"/>
              <a:t>Click to edit Master title style</a:t>
            </a:r>
          </a:p>
        </p:txBody>
      </p:sp>
      <p:sp>
        <p:nvSpPr>
          <p:cNvPr id="6" name="Date Placeholder 5" hidden="1">
            <a:extLst>
              <a:ext uri="{FF2B5EF4-FFF2-40B4-BE49-F238E27FC236}">
                <a16:creationId xmlns:a16="http://schemas.microsoft.com/office/drawing/2014/main" id="{F5B98E85-B5DD-4AF2-9115-EB970F907BA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8" name="Footer Placeholder 7" hidden="1">
            <a:extLst>
              <a:ext uri="{FF2B5EF4-FFF2-40B4-BE49-F238E27FC236}">
                <a16:creationId xmlns:a16="http://schemas.microsoft.com/office/drawing/2014/main" id="{1C11B3FE-F4DF-4A04-96AE-A05A0CFD3977}"/>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2" name="Logo protection area" hidden="1">
            <a:extLst>
              <a:ext uri="{FF2B5EF4-FFF2-40B4-BE49-F238E27FC236}">
                <a16:creationId xmlns:a16="http://schemas.microsoft.com/office/drawing/2014/main" id="{A02CA92F-C143-49B2-A33A-82387C73781D}"/>
              </a:ext>
            </a:extLst>
          </p:cNvPr>
          <p:cNvSpPr/>
          <p:nvPr userDrawn="1">
            <p:custDataLst>
              <p:tags r:id="rId2"/>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1" name="Slide Number Placeholder 10">
            <a:extLst>
              <a:ext uri="{FF2B5EF4-FFF2-40B4-BE49-F238E27FC236}">
                <a16:creationId xmlns:a16="http://schemas.microsoft.com/office/drawing/2014/main" id="{50C89285-9DE7-4B05-903E-2FEC11D2CD1F}"/>
              </a:ext>
            </a:extLst>
          </p:cNvPr>
          <p:cNvSpPr>
            <a:spLocks noGrp="1"/>
          </p:cNvSpPr>
          <p:nvPr>
            <p:ph type="sldNum" sz="quarter" idx="12"/>
          </p:nvPr>
        </p:nvSpPr>
        <p:spPr/>
        <p:txBody>
          <a:bodyPr/>
          <a:lstStyle>
            <a:lvl1pPr>
              <a:defRPr>
                <a:solidFill>
                  <a:schemeClr val="bg1"/>
                </a:solidFill>
              </a:defRPr>
            </a:lvl1pPr>
          </a:lstStyle>
          <a:p>
            <a:fld id="{7F9396FD-A8D2-5548-97AD-44EE9AACF15F}" type="slidenum">
              <a:rPr lang="en-US"/>
              <a:pPr/>
              <a:t>‹#›</a:t>
            </a:fld>
            <a:endParaRPr lang="en-US"/>
          </a:p>
        </p:txBody>
      </p:sp>
    </p:spTree>
    <p:extLst>
      <p:ext uri="{BB962C8B-B14F-4D97-AF65-F5344CB8AC3E}">
        <p14:creationId xmlns:p14="http://schemas.microsoft.com/office/powerpoint/2010/main" val="213627656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Black Divider Green Highligh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398377FC-E0FA-4045-A0EF-E07EA3826FD3}"/>
              </a:ext>
              <a:ext uri="{C183D7F6-B498-43B3-948B-1728B52AA6E4}">
                <adec:decorative xmlns:adec="http://schemas.microsoft.com/office/drawing/2017/decorative" val="1"/>
              </a:ext>
            </a:extLst>
          </p:cNvPr>
          <p:cNvSpPr/>
          <p:nvPr userDrawn="1"/>
        </p:nvSpPr>
        <p:spPr>
          <a:xfrm>
            <a:off x="0" y="0"/>
            <a:ext cx="12192000" cy="6299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9" name="Rectangle 8">
            <a:extLst>
              <a:ext uri="{FF2B5EF4-FFF2-40B4-BE49-F238E27FC236}">
                <a16:creationId xmlns:a16="http://schemas.microsoft.com/office/drawing/2014/main" id="{A56CEC44-29CF-E94A-894E-8191AE05FED3}"/>
              </a:ext>
              <a:ext uri="{C183D7F6-B498-43B3-948B-1728B52AA6E4}">
                <adec:decorative xmlns:adec="http://schemas.microsoft.com/office/drawing/2017/decorative" val="1"/>
              </a:ext>
            </a:extLst>
          </p:cNvPr>
          <p:cNvSpPr/>
          <p:nvPr userDrawn="1"/>
        </p:nvSpPr>
        <p:spPr>
          <a:xfrm>
            <a:off x="10192624" y="2905981"/>
            <a:ext cx="1999376" cy="15223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pic>
        <p:nvPicPr>
          <p:cNvPr id="10" name="Picture 9">
            <a:extLst>
              <a:ext uri="{FF2B5EF4-FFF2-40B4-BE49-F238E27FC236}">
                <a16:creationId xmlns:a16="http://schemas.microsoft.com/office/drawing/2014/main" id="{859EC9B6-308D-2840-83E7-0CB7E91EC201}"/>
              </a:ext>
              <a:ext uri="{C183D7F6-B498-43B3-948B-1728B52AA6E4}">
                <adec:decorative xmlns:adec="http://schemas.microsoft.com/office/drawing/2017/decorative" val="1"/>
              </a:ext>
            </a:extLst>
          </p:cNvPr>
          <p:cNvPicPr>
            <a:picLocks noChangeAspect="1"/>
          </p:cNvPicPr>
          <p:nvPr userDrawn="1"/>
        </p:nvPicPr>
        <p:blipFill>
          <a:blip r:embed="rId4" cstate="email">
            <a:alphaModFix amt="8000"/>
            <a:extLst>
              <a:ext uri="{28A0092B-C50C-407E-A947-70E740481C1C}">
                <a14:useLocalDpi xmlns:a14="http://schemas.microsoft.com/office/drawing/2010/main"/>
              </a:ext>
            </a:extLst>
          </a:blip>
          <a:stretch>
            <a:fillRect/>
          </a:stretch>
        </p:blipFill>
        <p:spPr>
          <a:xfrm>
            <a:off x="441297" y="2881705"/>
            <a:ext cx="5847522" cy="4201758"/>
          </a:xfrm>
          <a:prstGeom prst="rect">
            <a:avLst/>
          </a:prstGeom>
        </p:spPr>
      </p:pic>
      <p:sp>
        <p:nvSpPr>
          <p:cNvPr id="2" name="Title">
            <a:extLst>
              <a:ext uri="{FF2B5EF4-FFF2-40B4-BE49-F238E27FC236}">
                <a16:creationId xmlns:a16="http://schemas.microsoft.com/office/drawing/2014/main" id="{50B669FE-D86B-5B42-AFCA-FA1600DBAF10}"/>
              </a:ext>
            </a:extLst>
          </p:cNvPr>
          <p:cNvSpPr>
            <a:spLocks noGrp="1"/>
          </p:cNvSpPr>
          <p:nvPr>
            <p:ph type="ctrTitle"/>
            <p:custDataLst>
              <p:tags r:id="rId1"/>
            </p:custDataLst>
          </p:nvPr>
        </p:nvSpPr>
        <p:spPr>
          <a:xfrm>
            <a:off x="2118360" y="2324399"/>
            <a:ext cx="7955280" cy="1329595"/>
          </a:xfrm>
          <a:noFill/>
        </p:spPr>
        <p:txBody>
          <a:bodyPr wrap="square" anchor="ctr" anchorCtr="0">
            <a:spAutoFit/>
          </a:bodyPr>
          <a:lstStyle>
            <a:lvl1pPr algn="r">
              <a:defRPr sz="4800">
                <a:solidFill>
                  <a:schemeClr val="bg1"/>
                </a:solidFill>
              </a:defRPr>
            </a:lvl1pPr>
          </a:lstStyle>
          <a:p>
            <a:r>
              <a:rPr lang="en-US"/>
              <a:t>Click to edit Master title style</a:t>
            </a:r>
          </a:p>
        </p:txBody>
      </p:sp>
      <p:sp>
        <p:nvSpPr>
          <p:cNvPr id="6" name="Date Placeholder 5" hidden="1">
            <a:extLst>
              <a:ext uri="{FF2B5EF4-FFF2-40B4-BE49-F238E27FC236}">
                <a16:creationId xmlns:a16="http://schemas.microsoft.com/office/drawing/2014/main" id="{F5B98E85-B5DD-4AF2-9115-EB970F907BA0}"/>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8" name="Footer Placeholder 7" hidden="1">
            <a:extLst>
              <a:ext uri="{FF2B5EF4-FFF2-40B4-BE49-F238E27FC236}">
                <a16:creationId xmlns:a16="http://schemas.microsoft.com/office/drawing/2014/main" id="{1C11B3FE-F4DF-4A04-96AE-A05A0CFD3977}"/>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2" name="Logo protection area" hidden="1">
            <a:extLst>
              <a:ext uri="{FF2B5EF4-FFF2-40B4-BE49-F238E27FC236}">
                <a16:creationId xmlns:a16="http://schemas.microsoft.com/office/drawing/2014/main" id="{A02CA92F-C143-49B2-A33A-82387C73781D}"/>
              </a:ext>
            </a:extLst>
          </p:cNvPr>
          <p:cNvSpPr/>
          <p:nvPr userDrawn="1">
            <p:custDataLst>
              <p:tags r:id="rId2"/>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1" name="Slide Number Placeholder 10">
            <a:extLst>
              <a:ext uri="{FF2B5EF4-FFF2-40B4-BE49-F238E27FC236}">
                <a16:creationId xmlns:a16="http://schemas.microsoft.com/office/drawing/2014/main" id="{50C89285-9DE7-4B05-903E-2FEC11D2CD1F}"/>
              </a:ext>
            </a:extLst>
          </p:cNvPr>
          <p:cNvSpPr>
            <a:spLocks noGrp="1"/>
          </p:cNvSpPr>
          <p:nvPr>
            <p:ph type="sldNum" sz="quarter" idx="12"/>
          </p:nvPr>
        </p:nvSpPr>
        <p:spPr/>
        <p:txBody>
          <a:bodyPr/>
          <a:lstStyle>
            <a:lvl1pPr>
              <a:defRPr>
                <a:solidFill>
                  <a:schemeClr val="bg1"/>
                </a:solidFill>
              </a:defRPr>
            </a:lvl1pPr>
          </a:lstStyle>
          <a:p>
            <a:fld id="{7F9396FD-A8D2-5548-97AD-44EE9AACF15F}" type="slidenum">
              <a:rPr lang="en-US"/>
              <a:pPr/>
              <a:t>‹#›</a:t>
            </a:fld>
            <a:endParaRPr lang="en-US"/>
          </a:p>
        </p:txBody>
      </p:sp>
    </p:spTree>
    <p:extLst>
      <p:ext uri="{BB962C8B-B14F-4D97-AF65-F5344CB8AC3E}">
        <p14:creationId xmlns:p14="http://schemas.microsoft.com/office/powerpoint/2010/main" val="26778991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Divider Yellow Highligh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C46FE37-9C2F-154C-B25C-11CDD3ECCBC9}"/>
              </a:ext>
              <a:ext uri="{C183D7F6-B498-43B3-948B-1728B52AA6E4}">
                <adec:decorative xmlns:adec="http://schemas.microsoft.com/office/drawing/2017/decorative" val="1"/>
              </a:ext>
            </a:extLst>
          </p:cNvPr>
          <p:cNvSpPr/>
          <p:nvPr userDrawn="1"/>
        </p:nvSpPr>
        <p:spPr>
          <a:xfrm>
            <a:off x="0" y="0"/>
            <a:ext cx="12192000" cy="6299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9" name="Rectangle 8">
            <a:extLst>
              <a:ext uri="{FF2B5EF4-FFF2-40B4-BE49-F238E27FC236}">
                <a16:creationId xmlns:a16="http://schemas.microsoft.com/office/drawing/2014/main" id="{A56CEC44-29CF-E94A-894E-8191AE05FED3}"/>
              </a:ext>
              <a:ext uri="{C183D7F6-B498-43B3-948B-1728B52AA6E4}">
                <adec:decorative xmlns:adec="http://schemas.microsoft.com/office/drawing/2017/decorative" val="1"/>
              </a:ext>
            </a:extLst>
          </p:cNvPr>
          <p:cNvSpPr/>
          <p:nvPr userDrawn="1"/>
        </p:nvSpPr>
        <p:spPr>
          <a:xfrm>
            <a:off x="10192624" y="2905981"/>
            <a:ext cx="1999376" cy="15223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pic>
        <p:nvPicPr>
          <p:cNvPr id="10" name="Picture 9">
            <a:extLst>
              <a:ext uri="{FF2B5EF4-FFF2-40B4-BE49-F238E27FC236}">
                <a16:creationId xmlns:a16="http://schemas.microsoft.com/office/drawing/2014/main" id="{859EC9B6-308D-2840-83E7-0CB7E91EC201}"/>
              </a:ext>
              <a:ext uri="{C183D7F6-B498-43B3-948B-1728B52AA6E4}">
                <adec:decorative xmlns:adec="http://schemas.microsoft.com/office/drawing/2017/decorative" val="1"/>
              </a:ext>
            </a:extLst>
          </p:cNvPr>
          <p:cNvPicPr>
            <a:picLocks noChangeAspect="1"/>
          </p:cNvPicPr>
          <p:nvPr userDrawn="1"/>
        </p:nvPicPr>
        <p:blipFill>
          <a:blip r:embed="rId4" cstate="email">
            <a:alphaModFix amt="8000"/>
            <a:extLst>
              <a:ext uri="{28A0092B-C50C-407E-A947-70E740481C1C}">
                <a14:useLocalDpi xmlns:a14="http://schemas.microsoft.com/office/drawing/2010/main"/>
              </a:ext>
            </a:extLst>
          </a:blip>
          <a:stretch>
            <a:fillRect/>
          </a:stretch>
        </p:blipFill>
        <p:spPr>
          <a:xfrm>
            <a:off x="441297" y="2881705"/>
            <a:ext cx="5847522" cy="4201758"/>
          </a:xfrm>
          <a:prstGeom prst="rect">
            <a:avLst/>
          </a:prstGeom>
        </p:spPr>
      </p:pic>
      <p:sp>
        <p:nvSpPr>
          <p:cNvPr id="2" name="Title">
            <a:extLst>
              <a:ext uri="{FF2B5EF4-FFF2-40B4-BE49-F238E27FC236}">
                <a16:creationId xmlns:a16="http://schemas.microsoft.com/office/drawing/2014/main" id="{50B669FE-D86B-5B42-AFCA-FA1600DBAF10}"/>
              </a:ext>
            </a:extLst>
          </p:cNvPr>
          <p:cNvSpPr>
            <a:spLocks noGrp="1"/>
          </p:cNvSpPr>
          <p:nvPr>
            <p:ph type="ctrTitle"/>
            <p:custDataLst>
              <p:tags r:id="rId1"/>
            </p:custDataLst>
          </p:nvPr>
        </p:nvSpPr>
        <p:spPr>
          <a:xfrm>
            <a:off x="2118360" y="2324399"/>
            <a:ext cx="7955280" cy="1329595"/>
          </a:xfrm>
          <a:noFill/>
        </p:spPr>
        <p:txBody>
          <a:bodyPr wrap="square" anchor="ctr" anchorCtr="0">
            <a:spAutoFit/>
          </a:bodyPr>
          <a:lstStyle>
            <a:lvl1pPr algn="r">
              <a:defRPr sz="4800">
                <a:solidFill>
                  <a:schemeClr val="bg1"/>
                </a:solidFill>
              </a:defRPr>
            </a:lvl1pPr>
          </a:lstStyle>
          <a:p>
            <a:r>
              <a:rPr lang="en-US"/>
              <a:t>Click to edit Master title style</a:t>
            </a:r>
          </a:p>
        </p:txBody>
      </p:sp>
      <p:sp>
        <p:nvSpPr>
          <p:cNvPr id="8" name="Logo protection area" hidden="1">
            <a:extLst>
              <a:ext uri="{FF2B5EF4-FFF2-40B4-BE49-F238E27FC236}">
                <a16:creationId xmlns:a16="http://schemas.microsoft.com/office/drawing/2014/main" id="{5127A373-E9E9-4C21-B20A-01D9D5EBE232}"/>
              </a:ext>
            </a:extLst>
          </p:cNvPr>
          <p:cNvSpPr/>
          <p:nvPr userDrawn="1">
            <p:custDataLst>
              <p:tags r:id="rId2"/>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6" name="Date Placeholder 5" hidden="1">
            <a:extLst>
              <a:ext uri="{FF2B5EF4-FFF2-40B4-BE49-F238E27FC236}">
                <a16:creationId xmlns:a16="http://schemas.microsoft.com/office/drawing/2014/main" id="{1DA3FD5B-8CA2-44FB-A756-6D41C6820A4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1" name="Footer Placeholder 10" hidden="1">
            <a:extLst>
              <a:ext uri="{FF2B5EF4-FFF2-40B4-BE49-F238E27FC236}">
                <a16:creationId xmlns:a16="http://schemas.microsoft.com/office/drawing/2014/main" id="{DF71704C-C265-4917-BEB8-2AE543A111A8}"/>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2" name="Slide Number Placeholder 11">
            <a:extLst>
              <a:ext uri="{FF2B5EF4-FFF2-40B4-BE49-F238E27FC236}">
                <a16:creationId xmlns:a16="http://schemas.microsoft.com/office/drawing/2014/main" id="{40F74DCD-BE86-4CB4-BC81-5B482325B6AD}"/>
              </a:ext>
            </a:extLst>
          </p:cNvPr>
          <p:cNvSpPr>
            <a:spLocks noGrp="1"/>
          </p:cNvSpPr>
          <p:nvPr>
            <p:ph type="sldNum" sz="quarter" idx="12"/>
          </p:nvPr>
        </p:nvSpPr>
        <p:spPr/>
        <p:txBody>
          <a:bodyPr/>
          <a:lstStyle>
            <a:lvl1pPr>
              <a:defRPr>
                <a:solidFill>
                  <a:schemeClr val="bg1"/>
                </a:solidFill>
              </a:defRPr>
            </a:lvl1pPr>
          </a:lstStyle>
          <a:p>
            <a:fld id="{7F9396FD-A8D2-5548-97AD-44EE9AACF15F}" type="slidenum">
              <a:rPr lang="en-US"/>
              <a:pPr/>
              <a:t>‹#›</a:t>
            </a:fld>
            <a:endParaRPr lang="en-US"/>
          </a:p>
        </p:txBody>
      </p:sp>
    </p:spTree>
    <p:extLst>
      <p:ext uri="{BB962C8B-B14F-4D97-AF65-F5344CB8AC3E}">
        <p14:creationId xmlns:p14="http://schemas.microsoft.com/office/powerpoint/2010/main" val="37309236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Divider Orange Highligh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92EA22C3-1DDD-524E-9023-6CA5370B3B6E}"/>
              </a:ext>
              <a:ext uri="{C183D7F6-B498-43B3-948B-1728B52AA6E4}">
                <adec:decorative xmlns:adec="http://schemas.microsoft.com/office/drawing/2017/decorative" val="1"/>
              </a:ext>
            </a:extLst>
          </p:cNvPr>
          <p:cNvSpPr/>
          <p:nvPr userDrawn="1"/>
        </p:nvSpPr>
        <p:spPr>
          <a:xfrm>
            <a:off x="0" y="0"/>
            <a:ext cx="12192000" cy="6299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9" name="Rectangle 8">
            <a:extLst>
              <a:ext uri="{FF2B5EF4-FFF2-40B4-BE49-F238E27FC236}">
                <a16:creationId xmlns:a16="http://schemas.microsoft.com/office/drawing/2014/main" id="{A56CEC44-29CF-E94A-894E-8191AE05FED3}"/>
              </a:ext>
              <a:ext uri="{C183D7F6-B498-43B3-948B-1728B52AA6E4}">
                <adec:decorative xmlns:adec="http://schemas.microsoft.com/office/drawing/2017/decorative" val="1"/>
              </a:ext>
            </a:extLst>
          </p:cNvPr>
          <p:cNvSpPr/>
          <p:nvPr userDrawn="1"/>
        </p:nvSpPr>
        <p:spPr>
          <a:xfrm>
            <a:off x="10192624" y="2905981"/>
            <a:ext cx="1999376" cy="15223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pic>
        <p:nvPicPr>
          <p:cNvPr id="10" name="Picture 9">
            <a:extLst>
              <a:ext uri="{FF2B5EF4-FFF2-40B4-BE49-F238E27FC236}">
                <a16:creationId xmlns:a16="http://schemas.microsoft.com/office/drawing/2014/main" id="{859EC9B6-308D-2840-83E7-0CB7E91EC201}"/>
              </a:ext>
              <a:ext uri="{C183D7F6-B498-43B3-948B-1728B52AA6E4}">
                <adec:decorative xmlns:adec="http://schemas.microsoft.com/office/drawing/2017/decorative" val="1"/>
              </a:ext>
            </a:extLst>
          </p:cNvPr>
          <p:cNvPicPr>
            <a:picLocks noChangeAspect="1"/>
          </p:cNvPicPr>
          <p:nvPr userDrawn="1"/>
        </p:nvPicPr>
        <p:blipFill>
          <a:blip r:embed="rId4" cstate="email">
            <a:alphaModFix amt="8000"/>
            <a:extLst>
              <a:ext uri="{28A0092B-C50C-407E-A947-70E740481C1C}">
                <a14:useLocalDpi xmlns:a14="http://schemas.microsoft.com/office/drawing/2010/main"/>
              </a:ext>
            </a:extLst>
          </a:blip>
          <a:stretch>
            <a:fillRect/>
          </a:stretch>
        </p:blipFill>
        <p:spPr>
          <a:xfrm>
            <a:off x="441297" y="2881705"/>
            <a:ext cx="5847522" cy="4201758"/>
          </a:xfrm>
          <a:prstGeom prst="rect">
            <a:avLst/>
          </a:prstGeom>
        </p:spPr>
      </p:pic>
      <p:sp>
        <p:nvSpPr>
          <p:cNvPr id="2" name="Title">
            <a:extLst>
              <a:ext uri="{FF2B5EF4-FFF2-40B4-BE49-F238E27FC236}">
                <a16:creationId xmlns:a16="http://schemas.microsoft.com/office/drawing/2014/main" id="{50B669FE-D86B-5B42-AFCA-FA1600DBAF10}"/>
              </a:ext>
            </a:extLst>
          </p:cNvPr>
          <p:cNvSpPr>
            <a:spLocks noGrp="1"/>
          </p:cNvSpPr>
          <p:nvPr>
            <p:ph type="ctrTitle"/>
            <p:custDataLst>
              <p:tags r:id="rId1"/>
            </p:custDataLst>
          </p:nvPr>
        </p:nvSpPr>
        <p:spPr>
          <a:xfrm>
            <a:off x="2118360" y="2324399"/>
            <a:ext cx="7955280" cy="1329595"/>
          </a:xfrm>
          <a:noFill/>
        </p:spPr>
        <p:txBody>
          <a:bodyPr wrap="square" anchor="ctr" anchorCtr="0">
            <a:spAutoFit/>
          </a:bodyPr>
          <a:lstStyle>
            <a:lvl1pPr algn="r">
              <a:defRPr sz="4800">
                <a:solidFill>
                  <a:schemeClr val="bg1"/>
                </a:solidFill>
              </a:defRPr>
            </a:lvl1pPr>
          </a:lstStyle>
          <a:p>
            <a:r>
              <a:rPr lang="en-US"/>
              <a:t>Click to edit Master title style</a:t>
            </a:r>
          </a:p>
        </p:txBody>
      </p:sp>
      <p:sp>
        <p:nvSpPr>
          <p:cNvPr id="8" name="Logo protection area" hidden="1">
            <a:extLst>
              <a:ext uri="{FF2B5EF4-FFF2-40B4-BE49-F238E27FC236}">
                <a16:creationId xmlns:a16="http://schemas.microsoft.com/office/drawing/2014/main" id="{7DAC4091-26C0-4E8D-A4E2-684D1CEB5488}"/>
              </a:ext>
            </a:extLst>
          </p:cNvPr>
          <p:cNvSpPr/>
          <p:nvPr userDrawn="1">
            <p:custDataLst>
              <p:tags r:id="rId2"/>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6" name="Date Placeholder 5" hidden="1">
            <a:extLst>
              <a:ext uri="{FF2B5EF4-FFF2-40B4-BE49-F238E27FC236}">
                <a16:creationId xmlns:a16="http://schemas.microsoft.com/office/drawing/2014/main" id="{6641054D-3596-4B09-834E-B84C3D0EAE5D}"/>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1" name="Footer Placeholder 10" hidden="1">
            <a:extLst>
              <a:ext uri="{FF2B5EF4-FFF2-40B4-BE49-F238E27FC236}">
                <a16:creationId xmlns:a16="http://schemas.microsoft.com/office/drawing/2014/main" id="{3713ECAB-2226-4D41-B682-5BCDC8609236}"/>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2" name="Slide Number Placeholder 11">
            <a:extLst>
              <a:ext uri="{FF2B5EF4-FFF2-40B4-BE49-F238E27FC236}">
                <a16:creationId xmlns:a16="http://schemas.microsoft.com/office/drawing/2014/main" id="{7181EAE3-9304-4407-910E-8A1BD4B05472}"/>
              </a:ext>
            </a:extLst>
          </p:cNvPr>
          <p:cNvSpPr>
            <a:spLocks noGrp="1"/>
          </p:cNvSpPr>
          <p:nvPr>
            <p:ph type="sldNum" sz="quarter" idx="12"/>
          </p:nvPr>
        </p:nvSpPr>
        <p:spPr/>
        <p:txBody>
          <a:bodyPr/>
          <a:lstStyle>
            <a:lvl1pPr>
              <a:defRPr>
                <a:solidFill>
                  <a:schemeClr val="bg1"/>
                </a:solidFill>
              </a:defRPr>
            </a:lvl1pPr>
          </a:lstStyle>
          <a:p>
            <a:fld id="{7F9396FD-A8D2-5548-97AD-44EE9AACF15F}" type="slidenum">
              <a:rPr lang="en-US"/>
              <a:pPr/>
              <a:t>‹#›</a:t>
            </a:fld>
            <a:endParaRPr lang="en-US"/>
          </a:p>
        </p:txBody>
      </p:sp>
    </p:spTree>
    <p:extLst>
      <p:ext uri="{BB962C8B-B14F-4D97-AF65-F5344CB8AC3E}">
        <p14:creationId xmlns:p14="http://schemas.microsoft.com/office/powerpoint/2010/main" val="338531977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lack Divider Purple Highlight">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53914218-0063-9E47-9442-372F97D7F015}"/>
              </a:ext>
              <a:ext uri="{C183D7F6-B498-43B3-948B-1728B52AA6E4}">
                <adec:decorative xmlns:adec="http://schemas.microsoft.com/office/drawing/2017/decorative" val="1"/>
              </a:ext>
            </a:extLst>
          </p:cNvPr>
          <p:cNvSpPr/>
          <p:nvPr userDrawn="1"/>
        </p:nvSpPr>
        <p:spPr>
          <a:xfrm>
            <a:off x="0" y="0"/>
            <a:ext cx="12192000" cy="6299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9" name="Rectangle 8">
            <a:extLst>
              <a:ext uri="{FF2B5EF4-FFF2-40B4-BE49-F238E27FC236}">
                <a16:creationId xmlns:a16="http://schemas.microsoft.com/office/drawing/2014/main" id="{A56CEC44-29CF-E94A-894E-8191AE05FED3}"/>
              </a:ext>
              <a:ext uri="{C183D7F6-B498-43B3-948B-1728B52AA6E4}">
                <adec:decorative xmlns:adec="http://schemas.microsoft.com/office/drawing/2017/decorative" val="1"/>
              </a:ext>
            </a:extLst>
          </p:cNvPr>
          <p:cNvSpPr/>
          <p:nvPr userDrawn="1"/>
        </p:nvSpPr>
        <p:spPr>
          <a:xfrm>
            <a:off x="10192624" y="2905981"/>
            <a:ext cx="1999376" cy="15223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pic>
        <p:nvPicPr>
          <p:cNvPr id="10" name="Picture 9">
            <a:extLst>
              <a:ext uri="{FF2B5EF4-FFF2-40B4-BE49-F238E27FC236}">
                <a16:creationId xmlns:a16="http://schemas.microsoft.com/office/drawing/2014/main" id="{859EC9B6-308D-2840-83E7-0CB7E91EC201}"/>
              </a:ext>
              <a:ext uri="{C183D7F6-B498-43B3-948B-1728B52AA6E4}">
                <adec:decorative xmlns:adec="http://schemas.microsoft.com/office/drawing/2017/decorative" val="1"/>
              </a:ext>
            </a:extLst>
          </p:cNvPr>
          <p:cNvPicPr>
            <a:picLocks noChangeAspect="1"/>
          </p:cNvPicPr>
          <p:nvPr userDrawn="1"/>
        </p:nvPicPr>
        <p:blipFill>
          <a:blip r:embed="rId4" cstate="email">
            <a:alphaModFix amt="8000"/>
            <a:extLst>
              <a:ext uri="{28A0092B-C50C-407E-A947-70E740481C1C}">
                <a14:useLocalDpi xmlns:a14="http://schemas.microsoft.com/office/drawing/2010/main"/>
              </a:ext>
            </a:extLst>
          </a:blip>
          <a:stretch>
            <a:fillRect/>
          </a:stretch>
        </p:blipFill>
        <p:spPr>
          <a:xfrm>
            <a:off x="441297" y="2881705"/>
            <a:ext cx="5847522" cy="4201758"/>
          </a:xfrm>
          <a:prstGeom prst="rect">
            <a:avLst/>
          </a:prstGeom>
        </p:spPr>
      </p:pic>
      <p:sp>
        <p:nvSpPr>
          <p:cNvPr id="2" name="Title">
            <a:extLst>
              <a:ext uri="{FF2B5EF4-FFF2-40B4-BE49-F238E27FC236}">
                <a16:creationId xmlns:a16="http://schemas.microsoft.com/office/drawing/2014/main" id="{50B669FE-D86B-5B42-AFCA-FA1600DBAF10}"/>
              </a:ext>
            </a:extLst>
          </p:cNvPr>
          <p:cNvSpPr>
            <a:spLocks noGrp="1"/>
          </p:cNvSpPr>
          <p:nvPr>
            <p:ph type="ctrTitle"/>
            <p:custDataLst>
              <p:tags r:id="rId1"/>
            </p:custDataLst>
          </p:nvPr>
        </p:nvSpPr>
        <p:spPr>
          <a:xfrm>
            <a:off x="2118360" y="2324399"/>
            <a:ext cx="7955280" cy="1329595"/>
          </a:xfrm>
          <a:noFill/>
        </p:spPr>
        <p:txBody>
          <a:bodyPr wrap="square" anchor="ctr" anchorCtr="0">
            <a:spAutoFit/>
          </a:bodyPr>
          <a:lstStyle>
            <a:lvl1pPr algn="r">
              <a:defRPr sz="4800">
                <a:solidFill>
                  <a:schemeClr val="bg1"/>
                </a:solidFill>
              </a:defRPr>
            </a:lvl1pPr>
          </a:lstStyle>
          <a:p>
            <a:r>
              <a:rPr lang="en-US"/>
              <a:t>Click to edit Master title style</a:t>
            </a:r>
          </a:p>
        </p:txBody>
      </p:sp>
      <p:sp>
        <p:nvSpPr>
          <p:cNvPr id="6" name="Date Placeholder 5" hidden="1">
            <a:extLst>
              <a:ext uri="{FF2B5EF4-FFF2-40B4-BE49-F238E27FC236}">
                <a16:creationId xmlns:a16="http://schemas.microsoft.com/office/drawing/2014/main" id="{90FF8D0E-BDEE-430B-A779-3771BFA99B23}"/>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8" name="Footer Placeholder 7" hidden="1">
            <a:extLst>
              <a:ext uri="{FF2B5EF4-FFF2-40B4-BE49-F238E27FC236}">
                <a16:creationId xmlns:a16="http://schemas.microsoft.com/office/drawing/2014/main" id="{DAF87E00-9FF7-4DCB-8F5D-ADCE3C2187DE}"/>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2" name="Logo protection area" hidden="1">
            <a:extLst>
              <a:ext uri="{FF2B5EF4-FFF2-40B4-BE49-F238E27FC236}">
                <a16:creationId xmlns:a16="http://schemas.microsoft.com/office/drawing/2014/main" id="{00B7AD9C-5EE6-4A02-BF6F-15CBE7A2E283}"/>
              </a:ext>
            </a:extLst>
          </p:cNvPr>
          <p:cNvSpPr/>
          <p:nvPr userDrawn="1">
            <p:custDataLst>
              <p:tags r:id="rId2"/>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1" name="Slide Number Placeholder 10">
            <a:extLst>
              <a:ext uri="{FF2B5EF4-FFF2-40B4-BE49-F238E27FC236}">
                <a16:creationId xmlns:a16="http://schemas.microsoft.com/office/drawing/2014/main" id="{13F5C21B-4274-4D19-883D-CC1E6FFDBDFF}"/>
              </a:ext>
            </a:extLst>
          </p:cNvPr>
          <p:cNvSpPr>
            <a:spLocks noGrp="1"/>
          </p:cNvSpPr>
          <p:nvPr>
            <p:ph type="sldNum" sz="quarter" idx="12"/>
          </p:nvPr>
        </p:nvSpPr>
        <p:spPr/>
        <p:txBody>
          <a:bodyPr/>
          <a:lstStyle>
            <a:lvl1pPr>
              <a:defRPr>
                <a:solidFill>
                  <a:schemeClr val="bg1"/>
                </a:solidFill>
              </a:defRPr>
            </a:lvl1pPr>
          </a:lstStyle>
          <a:p>
            <a:fld id="{7F9396FD-A8D2-5548-97AD-44EE9AACF15F}" type="slidenum">
              <a:rPr lang="en-US"/>
              <a:pPr/>
              <a:t>‹#›</a:t>
            </a:fld>
            <a:endParaRPr lang="en-US"/>
          </a:p>
        </p:txBody>
      </p:sp>
    </p:spTree>
    <p:extLst>
      <p:ext uri="{BB962C8B-B14F-4D97-AF65-F5344CB8AC3E}">
        <p14:creationId xmlns:p14="http://schemas.microsoft.com/office/powerpoint/2010/main" val="31142239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 ">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6BD8B30-570A-41BC-B76C-CEA2703D3972}"/>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1200" cap="none" spc="0" normalizeH="0" baseline="0" noProof="0">
                <a:ln>
                  <a:noFill/>
                </a:ln>
                <a:solidFill>
                  <a:srgbClr val="FFFFFF"/>
                </a:solidFill>
                <a:effectLst/>
                <a:uLnTx/>
                <a:uFillTx/>
                <a:latin typeface="Tiempos Headline Bold"/>
                <a:ea typeface="+mn-ea"/>
                <a:cs typeface="+mn-cs"/>
              </a:rPr>
              <a:t>Tit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1200" cap="none" spc="0" normalizeH="0" baseline="0" noProof="0">
                <a:ln>
                  <a:noFill/>
                </a:ln>
                <a:solidFill>
                  <a:srgbClr val="FFFFFF"/>
                </a:solidFill>
                <a:effectLst/>
                <a:uLnTx/>
                <a:uFillTx/>
                <a:latin typeface="Tiempos Headline Bold"/>
                <a:ea typeface="+mn-ea"/>
                <a:cs typeface="+mn-cs"/>
              </a:rPr>
              <a:t> Layouts</a:t>
            </a:r>
          </a:p>
        </p:txBody>
      </p:sp>
    </p:spTree>
    <p:extLst>
      <p:ext uri="{BB962C8B-B14F-4D97-AF65-F5344CB8AC3E}">
        <p14:creationId xmlns:p14="http://schemas.microsoft.com/office/powerpoint/2010/main" val="23874060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B669FE-D86B-5B42-AFCA-FA1600DBAF10}"/>
              </a:ext>
            </a:extLst>
          </p:cNvPr>
          <p:cNvSpPr>
            <a:spLocks noGrp="1"/>
          </p:cNvSpPr>
          <p:nvPr>
            <p:ph type="ctrTitle"/>
          </p:nvPr>
        </p:nvSpPr>
        <p:spPr>
          <a:xfrm>
            <a:off x="1524000" y="3228109"/>
            <a:ext cx="9144000" cy="1690254"/>
          </a:xfrm>
        </p:spPr>
        <p:txBody>
          <a:bodyPr anchor="b">
            <a:normAutofit/>
          </a:bodyPr>
          <a:lstStyle>
            <a:lvl1pPr algn="ctr">
              <a:defRPr sz="4800"/>
            </a:lvl1pPr>
          </a:lstStyle>
          <a:p>
            <a:r>
              <a:rPr lang="en-US"/>
              <a:t>Click to edit Master title style</a:t>
            </a:r>
          </a:p>
        </p:txBody>
      </p:sp>
      <p:sp>
        <p:nvSpPr>
          <p:cNvPr id="3" name="Subtitle 2">
            <a:extLst>
              <a:ext uri="{FF2B5EF4-FFF2-40B4-BE49-F238E27FC236}">
                <a16:creationId xmlns:a16="http://schemas.microsoft.com/office/drawing/2014/main" id="{F0FA503F-5D72-DA4B-B04B-A6E010228005}"/>
              </a:ext>
            </a:extLst>
          </p:cNvPr>
          <p:cNvSpPr>
            <a:spLocks noGrp="1"/>
          </p:cNvSpPr>
          <p:nvPr>
            <p:ph type="subTitle" idx="1"/>
          </p:nvPr>
        </p:nvSpPr>
        <p:spPr>
          <a:xfrm>
            <a:off x="1524000" y="4994564"/>
            <a:ext cx="9144000" cy="1046160"/>
          </a:xfrm>
        </p:spPr>
        <p:txBody>
          <a:bodyPr/>
          <a:lstStyle>
            <a:lvl1pPr marL="0" indent="0" algn="ctr">
              <a:buNone/>
              <a:defRPr sz="2400" b="0" i="0">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0" name="Picture 9" descr="Anthology Logo">
            <a:extLst>
              <a:ext uri="{FF2B5EF4-FFF2-40B4-BE49-F238E27FC236}">
                <a16:creationId xmlns:a16="http://schemas.microsoft.com/office/drawing/2014/main" id="{BE13A13F-2BC3-40F0-91E5-513B5F14DA83}"/>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4806813" y="1406105"/>
            <a:ext cx="2578374" cy="1511214"/>
          </a:xfrm>
          <a:prstGeom prst="rect">
            <a:avLst/>
          </a:prstGeom>
        </p:spPr>
      </p:pic>
      <p:sp>
        <p:nvSpPr>
          <p:cNvPr id="11" name="Layout Protection area" hidden="1">
            <a:extLst>
              <a:ext uri="{FF2B5EF4-FFF2-40B4-BE49-F238E27FC236}">
                <a16:creationId xmlns:a16="http://schemas.microsoft.com/office/drawing/2014/main" id="{E3C166E0-9EBC-42F9-AAC9-61DFFFE13FA0}"/>
              </a:ext>
            </a:extLst>
          </p:cNvPr>
          <p:cNvSpPr/>
          <p:nvPr userDrawn="1">
            <p:custDataLst>
              <p:tags r:id="rId1"/>
            </p:custDataLst>
          </p:nvPr>
        </p:nvSpPr>
        <p:spPr>
          <a:xfrm>
            <a:off x="-1" y="2953172"/>
            <a:ext cx="12192001" cy="390482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6" name="Logo protection area" hidden="1">
            <a:extLst>
              <a:ext uri="{FF2B5EF4-FFF2-40B4-BE49-F238E27FC236}">
                <a16:creationId xmlns:a16="http://schemas.microsoft.com/office/drawing/2014/main" id="{543444F6-2A81-411F-9E00-EE2A90314875}"/>
              </a:ext>
            </a:extLst>
          </p:cNvPr>
          <p:cNvSpPr/>
          <p:nvPr userDrawn="1">
            <p:custDataLst>
              <p:tags r:id="rId2"/>
            </p:custDataLst>
          </p:nvPr>
        </p:nvSpPr>
        <p:spPr>
          <a:xfrm>
            <a:off x="4673600" y="1329903"/>
            <a:ext cx="2858347" cy="1587415"/>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Tree>
    <p:extLst>
      <p:ext uri="{BB962C8B-B14F-4D97-AF65-F5344CB8AC3E}">
        <p14:creationId xmlns:p14="http://schemas.microsoft.com/office/powerpoint/2010/main" val="412511517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Title Slid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72523A-D20D-2442-AD18-77F96D0B810B}"/>
              </a:ext>
            </a:extLst>
          </p:cNvPr>
          <p:cNvSpPr>
            <a:spLocks noGrp="1"/>
          </p:cNvSpPr>
          <p:nvPr>
            <p:ph type="title"/>
          </p:nvPr>
        </p:nvSpPr>
        <p:spPr>
          <a:xfrm>
            <a:off x="685800" y="4416964"/>
            <a:ext cx="7931150" cy="2286000"/>
          </a:xfrm>
        </p:spPr>
        <p:txBody>
          <a:bodyPr anchor="ctr" anchorCtr="0"/>
          <a:lstStyle>
            <a:lvl1pPr>
              <a:defRPr sz="4400"/>
            </a:lvl1pPr>
          </a:lstStyle>
          <a:p>
            <a:r>
              <a:rPr lang="en-US"/>
              <a:t>Click to edit Master title style</a:t>
            </a:r>
          </a:p>
        </p:txBody>
      </p:sp>
      <p:pic>
        <p:nvPicPr>
          <p:cNvPr id="9" name="Picture 8" descr="Students studying together">
            <a:extLst>
              <a:ext uri="{FF2B5EF4-FFF2-40B4-BE49-F238E27FC236}">
                <a16:creationId xmlns:a16="http://schemas.microsoft.com/office/drawing/2014/main" id="{144AB48D-28F3-524B-8390-708DDF5B5E03}"/>
              </a:ext>
            </a:extLst>
          </p:cNvPr>
          <p:cNvPicPr>
            <a:picLocks noChangeAspect="1"/>
          </p:cNvPicPr>
          <p:nvPr userDrawn="1"/>
        </p:nvPicPr>
        <p:blipFill>
          <a:blip r:embed="rId4" cstate="email">
            <a:extLst>
              <a:ext uri="{28A0092B-C50C-407E-A947-70E740481C1C}">
                <a14:useLocalDpi xmlns:a14="http://schemas.microsoft.com/office/drawing/2010/main"/>
              </a:ext>
            </a:extLst>
          </a:blip>
          <a:srcRect/>
          <a:stretch/>
        </p:blipFill>
        <p:spPr>
          <a:xfrm>
            <a:off x="0" y="0"/>
            <a:ext cx="12198350" cy="4279481"/>
          </a:xfrm>
          <a:prstGeom prst="rect">
            <a:avLst/>
          </a:prstGeom>
        </p:spPr>
      </p:pic>
      <p:pic>
        <p:nvPicPr>
          <p:cNvPr id="8" name="Picture 7">
            <a:extLst>
              <a:ext uri="{FF2B5EF4-FFF2-40B4-BE49-F238E27FC236}">
                <a16:creationId xmlns:a16="http://schemas.microsoft.com/office/drawing/2014/main" id="{CB38A26C-B945-214B-B456-ED5F3648FBFA}"/>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180529" y="4715977"/>
            <a:ext cx="2573106" cy="1508126"/>
          </a:xfrm>
          <a:prstGeom prst="rect">
            <a:avLst/>
          </a:prstGeom>
        </p:spPr>
      </p:pic>
      <p:sp>
        <p:nvSpPr>
          <p:cNvPr id="10" name="Logo protection area" hidden="1">
            <a:extLst>
              <a:ext uri="{FF2B5EF4-FFF2-40B4-BE49-F238E27FC236}">
                <a16:creationId xmlns:a16="http://schemas.microsoft.com/office/drawing/2014/main" id="{BB7166C1-A22B-491F-AE5A-B74FFF60E62B}"/>
              </a:ext>
            </a:extLst>
          </p:cNvPr>
          <p:cNvSpPr/>
          <p:nvPr userDrawn="1">
            <p:custDataLst>
              <p:tags r:id="rId1"/>
            </p:custDataLst>
          </p:nvPr>
        </p:nvSpPr>
        <p:spPr>
          <a:xfrm>
            <a:off x="8854550" y="4279481"/>
            <a:ext cx="3337450" cy="2578519"/>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1" name="Layout Protection area" hidden="1">
            <a:extLst>
              <a:ext uri="{FF2B5EF4-FFF2-40B4-BE49-F238E27FC236}">
                <a16:creationId xmlns:a16="http://schemas.microsoft.com/office/drawing/2014/main" id="{DF9AD7A8-D406-441C-927E-775709CFB735}"/>
              </a:ext>
            </a:extLst>
          </p:cNvPr>
          <p:cNvSpPr/>
          <p:nvPr userDrawn="1">
            <p:custDataLst>
              <p:tags r:id="rId2"/>
            </p:custDataLst>
          </p:nvPr>
        </p:nvSpPr>
        <p:spPr>
          <a:xfrm>
            <a:off x="-1" y="4279480"/>
            <a:ext cx="8865831" cy="257851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Tree>
    <p:extLst>
      <p:ext uri="{BB962C8B-B14F-4D97-AF65-F5344CB8AC3E}">
        <p14:creationId xmlns:p14="http://schemas.microsoft.com/office/powerpoint/2010/main" val="377681488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0F3D94A3-E36E-B64B-BB2B-7F3471803740}"/>
              </a:ext>
            </a:extLst>
          </p:cNvPr>
          <p:cNvSpPr>
            <a:spLocks noGrp="1"/>
          </p:cNvSpPr>
          <p:nvPr>
            <p:ph type="title"/>
          </p:nvPr>
        </p:nvSpPr>
        <p:spPr>
          <a:xfrm>
            <a:off x="685800" y="4416964"/>
            <a:ext cx="7931150" cy="2286000"/>
          </a:xfrm>
        </p:spPr>
        <p:txBody>
          <a:bodyPr anchor="ctr" anchorCtr="0"/>
          <a:lstStyle>
            <a:lvl1pPr>
              <a:defRPr sz="4400"/>
            </a:lvl1pPr>
          </a:lstStyle>
          <a:p>
            <a:r>
              <a:rPr lang="en-US"/>
              <a:t>Click to edit Master title style</a:t>
            </a:r>
          </a:p>
        </p:txBody>
      </p:sp>
      <p:pic>
        <p:nvPicPr>
          <p:cNvPr id="3" name="Picture 2" descr="Group of people sitting around table in board meeting.">
            <a:extLst>
              <a:ext uri="{FF2B5EF4-FFF2-40B4-BE49-F238E27FC236}">
                <a16:creationId xmlns:a16="http://schemas.microsoft.com/office/drawing/2014/main" id="{2E8F207B-0316-CB4B-B821-D6C928EEAB27}"/>
              </a:ext>
            </a:extLst>
          </p:cNvPr>
          <p:cNvPicPr>
            <a:picLocks noChangeAspect="1"/>
          </p:cNvPicPr>
          <p:nvPr userDrawn="1"/>
        </p:nvPicPr>
        <p:blipFill rotWithShape="1">
          <a:blip r:embed="rId4" cstate="hqprint">
            <a:alphaModFix/>
            <a:extLst>
              <a:ext uri="{28A0092B-C50C-407E-A947-70E740481C1C}">
                <a14:useLocalDpi xmlns:a14="http://schemas.microsoft.com/office/drawing/2010/main"/>
              </a:ext>
            </a:extLst>
          </a:blip>
          <a:srcRect l="-38"/>
          <a:stretch/>
        </p:blipFill>
        <p:spPr>
          <a:xfrm>
            <a:off x="0" y="0"/>
            <a:ext cx="12198350" cy="4279481"/>
          </a:xfrm>
          <a:prstGeom prst="rect">
            <a:avLst/>
          </a:prstGeom>
        </p:spPr>
      </p:pic>
      <p:pic>
        <p:nvPicPr>
          <p:cNvPr id="8" name="Picture 7">
            <a:extLst>
              <a:ext uri="{FF2B5EF4-FFF2-40B4-BE49-F238E27FC236}">
                <a16:creationId xmlns:a16="http://schemas.microsoft.com/office/drawing/2014/main" id="{CB38A26C-B945-214B-B456-ED5F3648FBFA}"/>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180529" y="4715977"/>
            <a:ext cx="2573106" cy="1508126"/>
          </a:xfrm>
          <a:prstGeom prst="rect">
            <a:avLst/>
          </a:prstGeom>
        </p:spPr>
      </p:pic>
      <p:sp>
        <p:nvSpPr>
          <p:cNvPr id="9" name="Logo protection area" hidden="1">
            <a:extLst>
              <a:ext uri="{FF2B5EF4-FFF2-40B4-BE49-F238E27FC236}">
                <a16:creationId xmlns:a16="http://schemas.microsoft.com/office/drawing/2014/main" id="{3650304B-097F-4A76-99CA-C2F81E8F02F6}"/>
              </a:ext>
            </a:extLst>
          </p:cNvPr>
          <p:cNvSpPr/>
          <p:nvPr userDrawn="1">
            <p:custDataLst>
              <p:tags r:id="rId1"/>
            </p:custDataLst>
          </p:nvPr>
        </p:nvSpPr>
        <p:spPr>
          <a:xfrm>
            <a:off x="8854550" y="4279481"/>
            <a:ext cx="3337450" cy="2578519"/>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0" name="Layout Protection area" hidden="1">
            <a:extLst>
              <a:ext uri="{FF2B5EF4-FFF2-40B4-BE49-F238E27FC236}">
                <a16:creationId xmlns:a16="http://schemas.microsoft.com/office/drawing/2014/main" id="{DA254E04-6C59-4E89-B42F-650D108F8BF3}"/>
              </a:ext>
            </a:extLst>
          </p:cNvPr>
          <p:cNvSpPr/>
          <p:nvPr userDrawn="1">
            <p:custDataLst>
              <p:tags r:id="rId2"/>
            </p:custDataLst>
          </p:nvPr>
        </p:nvSpPr>
        <p:spPr>
          <a:xfrm>
            <a:off x="-1" y="4279480"/>
            <a:ext cx="8865831" cy="257851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Tree>
    <p:extLst>
      <p:ext uri="{BB962C8B-B14F-4D97-AF65-F5344CB8AC3E}">
        <p14:creationId xmlns:p14="http://schemas.microsoft.com/office/powerpoint/2010/main" val="62310129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 CX rep slide">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C6F0F82D-DAB4-F442-A1EF-4FFF90321E59}"/>
              </a:ext>
              <a:ext uri="{C183D7F6-B498-43B3-948B-1728B52AA6E4}">
                <adec:decorative xmlns:adec="http://schemas.microsoft.com/office/drawing/2017/decorative" val="1"/>
              </a:ext>
            </a:extLst>
          </p:cNvPr>
          <p:cNvSpPr/>
          <p:nvPr userDrawn="1"/>
        </p:nvSpPr>
        <p:spPr>
          <a:xfrm>
            <a:off x="0" y="0"/>
            <a:ext cx="5462649" cy="617696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29" name="Rectangle 28">
            <a:extLst>
              <a:ext uri="{FF2B5EF4-FFF2-40B4-BE49-F238E27FC236}">
                <a16:creationId xmlns:a16="http://schemas.microsoft.com/office/drawing/2014/main" id="{E3AD3F1B-6514-1946-9D1A-5523E60EB659}"/>
              </a:ext>
              <a:ext uri="{C183D7F6-B498-43B3-948B-1728B52AA6E4}">
                <adec:decorative xmlns:adec="http://schemas.microsoft.com/office/drawing/2017/decorative" val="1"/>
              </a:ext>
            </a:extLst>
          </p:cNvPr>
          <p:cNvSpPr/>
          <p:nvPr userDrawn="1"/>
        </p:nvSpPr>
        <p:spPr>
          <a:xfrm>
            <a:off x="2256182" y="2096646"/>
            <a:ext cx="2602319" cy="25146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sp>
        <p:nvSpPr>
          <p:cNvPr id="30" name="Rectangle 29">
            <a:extLst>
              <a:ext uri="{FF2B5EF4-FFF2-40B4-BE49-F238E27FC236}">
                <a16:creationId xmlns:a16="http://schemas.microsoft.com/office/drawing/2014/main" id="{B7245169-8F76-8C4A-BCB7-A88BE50181AA}"/>
              </a:ext>
              <a:ext uri="{C183D7F6-B498-43B3-948B-1728B52AA6E4}">
                <adec:decorative xmlns:adec="http://schemas.microsoft.com/office/drawing/2017/decorative" val="1"/>
              </a:ext>
            </a:extLst>
          </p:cNvPr>
          <p:cNvSpPr/>
          <p:nvPr userDrawn="1"/>
        </p:nvSpPr>
        <p:spPr>
          <a:xfrm>
            <a:off x="2346719" y="2096646"/>
            <a:ext cx="2511783" cy="2514600"/>
          </a:xfrm>
          <a:prstGeom prst="rect">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rPr>
              <a:t>  </a:t>
            </a:r>
          </a:p>
        </p:txBody>
      </p:sp>
      <p:sp>
        <p:nvSpPr>
          <p:cNvPr id="31" name="TextBox 30">
            <a:extLst>
              <a:ext uri="{FF2B5EF4-FFF2-40B4-BE49-F238E27FC236}">
                <a16:creationId xmlns:a16="http://schemas.microsoft.com/office/drawing/2014/main" id="{38DBF907-AC21-9141-8503-A925D9043E04}"/>
              </a:ext>
            </a:extLst>
          </p:cNvPr>
          <p:cNvSpPr txBox="1"/>
          <p:nvPr userDrawn="1"/>
        </p:nvSpPr>
        <p:spPr>
          <a:xfrm>
            <a:off x="2954294" y="3169280"/>
            <a:ext cx="129663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Nunito Sans Light" pitchFamily="2" charset="77"/>
                <a:ea typeface="Roboto Medium" panose="02000000000000000000" pitchFamily="2" charset="0"/>
                <a:cs typeface="Roboto Medium" panose="02000000000000000000" pitchFamily="2" charset="0"/>
              </a:rPr>
              <a:t>Headshot</a:t>
            </a:r>
          </a:p>
        </p:txBody>
      </p:sp>
      <p:sp>
        <p:nvSpPr>
          <p:cNvPr id="32" name="Name">
            <a:extLst>
              <a:ext uri="{FF2B5EF4-FFF2-40B4-BE49-F238E27FC236}">
                <a16:creationId xmlns:a16="http://schemas.microsoft.com/office/drawing/2014/main" id="{8F289818-772D-A140-AA34-CF35FE3184CE}"/>
              </a:ext>
            </a:extLst>
          </p:cNvPr>
          <p:cNvSpPr>
            <a:spLocks noGrp="1"/>
          </p:cNvSpPr>
          <p:nvPr>
            <p:ph type="body" sz="quarter" idx="17" hasCustomPrompt="1"/>
          </p:nvPr>
        </p:nvSpPr>
        <p:spPr>
          <a:xfrm>
            <a:off x="6095999" y="2090727"/>
            <a:ext cx="5005136" cy="430781"/>
          </a:xfrm>
        </p:spPr>
        <p:txBody>
          <a:bodyPr anchor="b" anchorCtr="0"/>
          <a:lstStyle>
            <a:lvl1pPr marL="0" indent="0" algn="l">
              <a:buClr>
                <a:schemeClr val="accent4"/>
              </a:buClr>
              <a:buFontTx/>
              <a:buNone/>
              <a:defRPr sz="2000" b="0" i="0" spc="0">
                <a:latin typeface="+mj-lt"/>
                <a:ea typeface="Roboto Medium" panose="02000000000000000000" pitchFamily="2" charset="0"/>
                <a:cs typeface="Roboto Medium" panose="02000000000000000000" pitchFamily="2" charset="0"/>
              </a:defRPr>
            </a:lvl1pPr>
          </a:lstStyle>
          <a:p>
            <a:pPr lvl="0"/>
            <a:r>
              <a:rPr lang="en-US"/>
              <a:t>CX rep name</a:t>
            </a:r>
          </a:p>
        </p:txBody>
      </p:sp>
      <p:sp>
        <p:nvSpPr>
          <p:cNvPr id="33" name="Title">
            <a:extLst>
              <a:ext uri="{FF2B5EF4-FFF2-40B4-BE49-F238E27FC236}">
                <a16:creationId xmlns:a16="http://schemas.microsoft.com/office/drawing/2014/main" id="{B4C7420B-45DC-474D-99FE-866DCAFF6544}"/>
              </a:ext>
            </a:extLst>
          </p:cNvPr>
          <p:cNvSpPr>
            <a:spLocks noGrp="1"/>
          </p:cNvSpPr>
          <p:nvPr>
            <p:ph type="body" sz="quarter" idx="18" hasCustomPrompt="1"/>
          </p:nvPr>
        </p:nvSpPr>
        <p:spPr>
          <a:xfrm>
            <a:off x="6095999" y="2678319"/>
            <a:ext cx="5005136" cy="301547"/>
          </a:xfrm>
        </p:spPr>
        <p:txBody>
          <a:bodyPr anchor="b" anchorCtr="0"/>
          <a:lstStyle>
            <a:lvl1pPr marL="0" indent="0" algn="l">
              <a:buFontTx/>
              <a:buNone/>
              <a:defRPr sz="2000" b="0" i="0">
                <a:latin typeface="+mn-lt"/>
              </a:defRPr>
            </a:lvl1pPr>
          </a:lstStyle>
          <a:p>
            <a:pPr lvl="0"/>
            <a:r>
              <a:rPr lang="en-US"/>
              <a:t>Title</a:t>
            </a:r>
          </a:p>
        </p:txBody>
      </p:sp>
      <p:sp>
        <p:nvSpPr>
          <p:cNvPr id="48" name="Title">
            <a:extLst>
              <a:ext uri="{FF2B5EF4-FFF2-40B4-BE49-F238E27FC236}">
                <a16:creationId xmlns:a16="http://schemas.microsoft.com/office/drawing/2014/main" id="{F5C5D172-A280-E343-A9FF-76539997ADDC}"/>
              </a:ext>
            </a:extLst>
          </p:cNvPr>
          <p:cNvSpPr>
            <a:spLocks noGrp="1"/>
          </p:cNvSpPr>
          <p:nvPr>
            <p:ph type="body" sz="quarter" idx="22" hasCustomPrompt="1"/>
          </p:nvPr>
        </p:nvSpPr>
        <p:spPr>
          <a:xfrm>
            <a:off x="6095999" y="3136677"/>
            <a:ext cx="5005136" cy="301547"/>
          </a:xfrm>
        </p:spPr>
        <p:txBody>
          <a:bodyPr anchor="b" anchorCtr="0"/>
          <a:lstStyle>
            <a:lvl1pPr marL="0" indent="0" algn="l">
              <a:buFontTx/>
              <a:buNone/>
              <a:defRPr sz="2000" b="0" i="0">
                <a:latin typeface="+mn-lt"/>
              </a:defRPr>
            </a:lvl1pPr>
          </a:lstStyle>
          <a:p>
            <a:pPr lvl="0"/>
            <a:r>
              <a:rPr lang="en-US"/>
              <a:t>Supervisor</a:t>
            </a:r>
          </a:p>
        </p:txBody>
      </p:sp>
      <p:sp>
        <p:nvSpPr>
          <p:cNvPr id="36" name="Picture Placeholder 5">
            <a:extLst>
              <a:ext uri="{FF2B5EF4-FFF2-40B4-BE49-F238E27FC236}">
                <a16:creationId xmlns:a16="http://schemas.microsoft.com/office/drawing/2014/main" id="{951E437E-C5AA-3740-8222-BE69F3897B3F}"/>
              </a:ext>
            </a:extLst>
          </p:cNvPr>
          <p:cNvSpPr>
            <a:spLocks noGrp="1"/>
          </p:cNvSpPr>
          <p:nvPr>
            <p:ph type="pic" sz="quarter" idx="28" hasCustomPrompt="1"/>
          </p:nvPr>
        </p:nvSpPr>
        <p:spPr>
          <a:xfrm>
            <a:off x="2346752" y="2096646"/>
            <a:ext cx="2511750" cy="2514600"/>
          </a:xfrm>
        </p:spPr>
        <p:txBody>
          <a:bodyPr tIns="274320"/>
          <a:lstStyle>
            <a:lvl1pPr algn="ctr">
              <a:buNone/>
              <a:defRPr b="0" i="0"/>
            </a:lvl1pPr>
          </a:lstStyle>
          <a:p>
            <a:r>
              <a:rPr lang="en-US"/>
              <a:t>Click icon to insert image</a:t>
            </a:r>
          </a:p>
        </p:txBody>
      </p:sp>
      <p:sp>
        <p:nvSpPr>
          <p:cNvPr id="40" name="Contact Info">
            <a:extLst>
              <a:ext uri="{FF2B5EF4-FFF2-40B4-BE49-F238E27FC236}">
                <a16:creationId xmlns:a16="http://schemas.microsoft.com/office/drawing/2014/main" id="{6F4BB36E-4DA6-BD40-87B9-AC4AAB97D171}"/>
              </a:ext>
            </a:extLst>
          </p:cNvPr>
          <p:cNvSpPr>
            <a:spLocks noGrp="1"/>
          </p:cNvSpPr>
          <p:nvPr>
            <p:ph type="body" sz="quarter" idx="29" hasCustomPrompt="1"/>
          </p:nvPr>
        </p:nvSpPr>
        <p:spPr>
          <a:xfrm>
            <a:off x="6095999" y="3595035"/>
            <a:ext cx="5005137" cy="1828526"/>
          </a:xfrm>
        </p:spPr>
        <p:txBody>
          <a:bodyPr anchor="t" anchorCtr="0">
            <a:normAutofit/>
          </a:bodyPr>
          <a:lstStyle>
            <a:lvl1pPr marL="0" indent="0" algn="l">
              <a:buFontTx/>
              <a:buNone/>
              <a:defRPr sz="1800" b="0" i="0">
                <a:latin typeface="+mn-lt"/>
              </a:defRPr>
            </a:lvl1pPr>
          </a:lstStyle>
          <a:p>
            <a:pPr lvl="0"/>
            <a:r>
              <a:rPr lang="en-US"/>
              <a:t>Brief bio and description of region</a:t>
            </a:r>
          </a:p>
        </p:txBody>
      </p:sp>
      <p:sp>
        <p:nvSpPr>
          <p:cNvPr id="2" name="Date Placeholder 1">
            <a:extLst>
              <a:ext uri="{FF2B5EF4-FFF2-40B4-BE49-F238E27FC236}">
                <a16:creationId xmlns:a16="http://schemas.microsoft.com/office/drawing/2014/main" id="{BEC7E80B-BEA4-402F-83AA-50D9834C817E}"/>
              </a:ext>
            </a:extLst>
          </p:cNvPr>
          <p:cNvSpPr>
            <a:spLocks noGrp="1"/>
          </p:cNvSpPr>
          <p:nvPr>
            <p:ph type="dt" sz="half" idx="3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6" name="Footer Placeholder 5">
            <a:extLst>
              <a:ext uri="{FF2B5EF4-FFF2-40B4-BE49-F238E27FC236}">
                <a16:creationId xmlns:a16="http://schemas.microsoft.com/office/drawing/2014/main" id="{65FAC813-B34C-46E5-BA68-FE76BFC664A6}"/>
              </a:ext>
            </a:extLst>
          </p:cNvPr>
          <p:cNvSpPr>
            <a:spLocks noGrp="1"/>
          </p:cNvSpPr>
          <p:nvPr>
            <p:ph type="ftr" sz="quarter" idx="3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7" name="Slide Number Placeholder 6">
            <a:extLst>
              <a:ext uri="{FF2B5EF4-FFF2-40B4-BE49-F238E27FC236}">
                <a16:creationId xmlns:a16="http://schemas.microsoft.com/office/drawing/2014/main" id="{7F380CA8-A72A-4D2A-9CC8-3A5723A3AB1D}"/>
              </a:ext>
            </a:extLst>
          </p:cNvPr>
          <p:cNvSpPr>
            <a:spLocks noGrp="1"/>
          </p:cNvSpPr>
          <p:nvPr>
            <p:ph type="sldNum" sz="quarter" idx="3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
        <p:nvSpPr>
          <p:cNvPr id="3" name="Logo protection area" hidden="1">
            <a:extLst>
              <a:ext uri="{FF2B5EF4-FFF2-40B4-BE49-F238E27FC236}">
                <a16:creationId xmlns:a16="http://schemas.microsoft.com/office/drawing/2014/main" id="{AB64CC43-6CA7-47D5-9DD9-C2EDD9A77B01}"/>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4" name="Layout protection area" hidden="1">
            <a:extLst>
              <a:ext uri="{FF2B5EF4-FFF2-40B4-BE49-F238E27FC236}">
                <a16:creationId xmlns:a16="http://schemas.microsoft.com/office/drawing/2014/main" id="{6D2EF5E1-D905-4BE3-B616-3494E88FD74B}"/>
              </a:ext>
            </a:extLst>
          </p:cNvPr>
          <p:cNvSpPr/>
          <p:nvPr userDrawn="1">
            <p:custDataLst>
              <p:tags r:id="rId2"/>
            </p:custDataLst>
          </p:nvPr>
        </p:nvSpPr>
        <p:spPr>
          <a:xfrm>
            <a:off x="0" y="0"/>
            <a:ext cx="12176098" cy="604361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Tree>
    <p:extLst>
      <p:ext uri="{BB962C8B-B14F-4D97-AF65-F5344CB8AC3E}">
        <p14:creationId xmlns:p14="http://schemas.microsoft.com/office/powerpoint/2010/main" val="8609540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8865F3A0-7C5E-CB49-ADD8-E331607E0EBE}"/>
              </a:ext>
            </a:extLst>
          </p:cNvPr>
          <p:cNvSpPr>
            <a:spLocks noGrp="1"/>
          </p:cNvSpPr>
          <p:nvPr>
            <p:ph type="title"/>
          </p:nvPr>
        </p:nvSpPr>
        <p:spPr>
          <a:xfrm>
            <a:off x="685800" y="4416964"/>
            <a:ext cx="7931150" cy="2286000"/>
          </a:xfrm>
        </p:spPr>
        <p:txBody>
          <a:bodyPr anchor="ctr" anchorCtr="0"/>
          <a:lstStyle>
            <a:lvl1pPr>
              <a:defRPr sz="4400"/>
            </a:lvl1pPr>
          </a:lstStyle>
          <a:p>
            <a:r>
              <a:rPr lang="en-US"/>
              <a:t>Click to edit Master title style</a:t>
            </a:r>
          </a:p>
        </p:txBody>
      </p:sp>
      <p:pic>
        <p:nvPicPr>
          <p:cNvPr id="8" name="Picture 7">
            <a:extLst>
              <a:ext uri="{FF2B5EF4-FFF2-40B4-BE49-F238E27FC236}">
                <a16:creationId xmlns:a16="http://schemas.microsoft.com/office/drawing/2014/main" id="{CB38A26C-B945-214B-B456-ED5F3648FBFA}"/>
              </a:ext>
              <a:ext uri="{C183D7F6-B498-43B3-948B-1728B52AA6E4}">
                <adec:decorative xmlns:adec="http://schemas.microsoft.com/office/drawing/2017/decorative" val="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180529" y="4715977"/>
            <a:ext cx="2573106" cy="1508126"/>
          </a:xfrm>
          <a:prstGeom prst="rect">
            <a:avLst/>
          </a:prstGeom>
        </p:spPr>
      </p:pic>
      <p:pic>
        <p:nvPicPr>
          <p:cNvPr id="3" name="Picture 2" descr="Higher ed administration in meeting">
            <a:extLst>
              <a:ext uri="{FF2B5EF4-FFF2-40B4-BE49-F238E27FC236}">
                <a16:creationId xmlns:a16="http://schemas.microsoft.com/office/drawing/2014/main" id="{E0AEBD10-FB45-DD4A-8544-D779E64D1EC7}"/>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a:xfrm>
            <a:off x="0" y="0"/>
            <a:ext cx="12198350" cy="4279481"/>
          </a:xfrm>
          <a:prstGeom prst="rect">
            <a:avLst/>
          </a:prstGeom>
        </p:spPr>
      </p:pic>
      <p:sp>
        <p:nvSpPr>
          <p:cNvPr id="10" name="Logo protection area" hidden="1">
            <a:extLst>
              <a:ext uri="{FF2B5EF4-FFF2-40B4-BE49-F238E27FC236}">
                <a16:creationId xmlns:a16="http://schemas.microsoft.com/office/drawing/2014/main" id="{1EDF98ED-358F-4FCF-8879-2DE4151B65F4}"/>
              </a:ext>
            </a:extLst>
          </p:cNvPr>
          <p:cNvSpPr/>
          <p:nvPr userDrawn="1">
            <p:custDataLst>
              <p:tags r:id="rId1"/>
            </p:custDataLst>
          </p:nvPr>
        </p:nvSpPr>
        <p:spPr>
          <a:xfrm>
            <a:off x="8854550" y="4279481"/>
            <a:ext cx="3337450" cy="2578519"/>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1" name="Layout Protection area" hidden="1">
            <a:extLst>
              <a:ext uri="{FF2B5EF4-FFF2-40B4-BE49-F238E27FC236}">
                <a16:creationId xmlns:a16="http://schemas.microsoft.com/office/drawing/2014/main" id="{51A19E14-678B-467C-A280-9A644973BC50}"/>
              </a:ext>
            </a:extLst>
          </p:cNvPr>
          <p:cNvSpPr/>
          <p:nvPr userDrawn="1">
            <p:custDataLst>
              <p:tags r:id="rId2"/>
            </p:custDataLst>
          </p:nvPr>
        </p:nvSpPr>
        <p:spPr>
          <a:xfrm>
            <a:off x="-1" y="4279480"/>
            <a:ext cx="8865831" cy="257851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Tree>
    <p:extLst>
      <p:ext uri="{BB962C8B-B14F-4D97-AF65-F5344CB8AC3E}">
        <p14:creationId xmlns:p14="http://schemas.microsoft.com/office/powerpoint/2010/main" val="20150559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6A756FB-7CB7-8141-8802-BD2CD474D36C}"/>
              </a:ext>
            </a:extLst>
          </p:cNvPr>
          <p:cNvSpPr>
            <a:spLocks noGrp="1"/>
          </p:cNvSpPr>
          <p:nvPr>
            <p:ph type="title"/>
          </p:nvPr>
        </p:nvSpPr>
        <p:spPr>
          <a:xfrm>
            <a:off x="685800" y="4416964"/>
            <a:ext cx="7931150" cy="2286000"/>
          </a:xfrm>
        </p:spPr>
        <p:txBody>
          <a:bodyPr anchor="ctr" anchorCtr="0"/>
          <a:lstStyle>
            <a:lvl1pPr>
              <a:defRPr sz="4400"/>
            </a:lvl1pPr>
          </a:lstStyle>
          <a:p>
            <a:r>
              <a:rPr lang="en-US"/>
              <a:t>Click to edit Master title style</a:t>
            </a:r>
          </a:p>
        </p:txBody>
      </p:sp>
      <p:pic>
        <p:nvPicPr>
          <p:cNvPr id="3" name="Picture 2" descr="Woman on tablet in server room">
            <a:extLst>
              <a:ext uri="{FF2B5EF4-FFF2-40B4-BE49-F238E27FC236}">
                <a16:creationId xmlns:a16="http://schemas.microsoft.com/office/drawing/2014/main" id="{C479EB8B-66A3-6C47-AC15-24CFF917C107}"/>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a:stretch/>
        </p:blipFill>
        <p:spPr>
          <a:xfrm>
            <a:off x="0" y="-1"/>
            <a:ext cx="12192000" cy="4279482"/>
          </a:xfrm>
          <a:prstGeom prst="rect">
            <a:avLst/>
          </a:prstGeom>
        </p:spPr>
      </p:pic>
      <p:pic>
        <p:nvPicPr>
          <p:cNvPr id="8" name="Picture 7">
            <a:extLst>
              <a:ext uri="{FF2B5EF4-FFF2-40B4-BE49-F238E27FC236}">
                <a16:creationId xmlns:a16="http://schemas.microsoft.com/office/drawing/2014/main" id="{CB38A26C-B945-214B-B456-ED5F3648FBFA}"/>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180529" y="4715977"/>
            <a:ext cx="2573106" cy="1508126"/>
          </a:xfrm>
          <a:prstGeom prst="rect">
            <a:avLst/>
          </a:prstGeom>
        </p:spPr>
      </p:pic>
      <p:sp>
        <p:nvSpPr>
          <p:cNvPr id="9" name="Logo protection area" hidden="1">
            <a:extLst>
              <a:ext uri="{FF2B5EF4-FFF2-40B4-BE49-F238E27FC236}">
                <a16:creationId xmlns:a16="http://schemas.microsoft.com/office/drawing/2014/main" id="{591ED2EF-BE7D-4EF5-9C10-8808E957FC45}"/>
              </a:ext>
            </a:extLst>
          </p:cNvPr>
          <p:cNvSpPr/>
          <p:nvPr userDrawn="1">
            <p:custDataLst>
              <p:tags r:id="rId1"/>
            </p:custDataLst>
          </p:nvPr>
        </p:nvSpPr>
        <p:spPr>
          <a:xfrm>
            <a:off x="8854550" y="4279481"/>
            <a:ext cx="3337450" cy="2578519"/>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0" name="Layout Protection area" hidden="1">
            <a:extLst>
              <a:ext uri="{FF2B5EF4-FFF2-40B4-BE49-F238E27FC236}">
                <a16:creationId xmlns:a16="http://schemas.microsoft.com/office/drawing/2014/main" id="{88C079A8-D641-42F9-A7C8-6042BBB5CCF7}"/>
              </a:ext>
            </a:extLst>
          </p:cNvPr>
          <p:cNvSpPr/>
          <p:nvPr userDrawn="1">
            <p:custDataLst>
              <p:tags r:id="rId2"/>
            </p:custDataLst>
          </p:nvPr>
        </p:nvSpPr>
        <p:spPr>
          <a:xfrm>
            <a:off x="-1" y="4279480"/>
            <a:ext cx="8865831" cy="257851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Tree>
    <p:extLst>
      <p:ext uri="{BB962C8B-B14F-4D97-AF65-F5344CB8AC3E}">
        <p14:creationId xmlns:p14="http://schemas.microsoft.com/office/powerpoint/2010/main" val="3407870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le Slide 5">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6848AFF4-CEDF-894E-84EC-AF565C5F9D31}"/>
              </a:ext>
            </a:extLst>
          </p:cNvPr>
          <p:cNvSpPr>
            <a:spLocks noGrp="1"/>
          </p:cNvSpPr>
          <p:nvPr>
            <p:ph type="title"/>
          </p:nvPr>
        </p:nvSpPr>
        <p:spPr>
          <a:xfrm>
            <a:off x="685800" y="4416964"/>
            <a:ext cx="7931150" cy="2286000"/>
          </a:xfrm>
        </p:spPr>
        <p:txBody>
          <a:bodyPr anchor="ctr" anchorCtr="0"/>
          <a:lstStyle>
            <a:lvl1pPr>
              <a:defRPr sz="4400"/>
            </a:lvl1pPr>
          </a:lstStyle>
          <a:p>
            <a:r>
              <a:rPr lang="en-US"/>
              <a:t>Click to edit Master title style</a:t>
            </a:r>
          </a:p>
        </p:txBody>
      </p:sp>
      <p:pic>
        <p:nvPicPr>
          <p:cNvPr id="3" name="Picture 2" descr="Young woman looking at lines of code on monitor.">
            <a:extLst>
              <a:ext uri="{FF2B5EF4-FFF2-40B4-BE49-F238E27FC236}">
                <a16:creationId xmlns:a16="http://schemas.microsoft.com/office/drawing/2014/main" id="{6A722FF3-F82C-984A-B14E-F8B88A16A395}"/>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a:stretch/>
        </p:blipFill>
        <p:spPr>
          <a:xfrm>
            <a:off x="-6351" y="-20915"/>
            <a:ext cx="12198351" cy="4300398"/>
          </a:xfrm>
          <a:prstGeom prst="rect">
            <a:avLst/>
          </a:prstGeom>
        </p:spPr>
      </p:pic>
      <p:pic>
        <p:nvPicPr>
          <p:cNvPr id="8" name="Picture 7">
            <a:extLst>
              <a:ext uri="{FF2B5EF4-FFF2-40B4-BE49-F238E27FC236}">
                <a16:creationId xmlns:a16="http://schemas.microsoft.com/office/drawing/2014/main" id="{CB38A26C-B945-214B-B456-ED5F3648FBFA}"/>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180529" y="4715977"/>
            <a:ext cx="2573106" cy="1508126"/>
          </a:xfrm>
          <a:prstGeom prst="rect">
            <a:avLst/>
          </a:prstGeom>
        </p:spPr>
      </p:pic>
      <p:sp>
        <p:nvSpPr>
          <p:cNvPr id="9" name="Logo protection area" hidden="1">
            <a:extLst>
              <a:ext uri="{FF2B5EF4-FFF2-40B4-BE49-F238E27FC236}">
                <a16:creationId xmlns:a16="http://schemas.microsoft.com/office/drawing/2014/main" id="{2C5CC1E6-EF3C-4067-BF3E-C92590BD9CE0}"/>
              </a:ext>
            </a:extLst>
          </p:cNvPr>
          <p:cNvSpPr/>
          <p:nvPr userDrawn="1">
            <p:custDataLst>
              <p:tags r:id="rId1"/>
            </p:custDataLst>
          </p:nvPr>
        </p:nvSpPr>
        <p:spPr>
          <a:xfrm>
            <a:off x="8854550" y="4279481"/>
            <a:ext cx="3337450" cy="2578519"/>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0" name="Layout Protection area" hidden="1">
            <a:extLst>
              <a:ext uri="{FF2B5EF4-FFF2-40B4-BE49-F238E27FC236}">
                <a16:creationId xmlns:a16="http://schemas.microsoft.com/office/drawing/2014/main" id="{E5D5209C-ADD9-4838-B26A-E6B275854F24}"/>
              </a:ext>
            </a:extLst>
          </p:cNvPr>
          <p:cNvSpPr/>
          <p:nvPr userDrawn="1">
            <p:custDataLst>
              <p:tags r:id="rId2"/>
            </p:custDataLst>
          </p:nvPr>
        </p:nvSpPr>
        <p:spPr>
          <a:xfrm>
            <a:off x="-1" y="4279480"/>
            <a:ext cx="8865831" cy="257851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Tree>
    <p:extLst>
      <p:ext uri="{BB962C8B-B14F-4D97-AF65-F5344CB8AC3E}">
        <p14:creationId xmlns:p14="http://schemas.microsoft.com/office/powerpoint/2010/main" val="140321400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le Slide 6">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117A7840-A21A-AE43-ABD6-09D85CA5063B}"/>
              </a:ext>
            </a:extLst>
          </p:cNvPr>
          <p:cNvSpPr>
            <a:spLocks noGrp="1"/>
          </p:cNvSpPr>
          <p:nvPr>
            <p:ph type="title"/>
          </p:nvPr>
        </p:nvSpPr>
        <p:spPr>
          <a:xfrm>
            <a:off x="685800" y="4416964"/>
            <a:ext cx="7931150" cy="2286000"/>
          </a:xfrm>
        </p:spPr>
        <p:txBody>
          <a:bodyPr anchor="ctr" anchorCtr="0"/>
          <a:lstStyle>
            <a:lvl1pPr>
              <a:defRPr sz="4400"/>
            </a:lvl1pPr>
          </a:lstStyle>
          <a:p>
            <a:r>
              <a:rPr lang="en-US"/>
              <a:t>Click to edit Master title style</a:t>
            </a:r>
          </a:p>
        </p:txBody>
      </p:sp>
      <p:pic>
        <p:nvPicPr>
          <p:cNvPr id="3" name="Picture 2" descr="Young men looking at lines of code on monitor">
            <a:extLst>
              <a:ext uri="{FF2B5EF4-FFF2-40B4-BE49-F238E27FC236}">
                <a16:creationId xmlns:a16="http://schemas.microsoft.com/office/drawing/2014/main" id="{0404A7F3-6452-C04C-AADE-82E48E348ABC}"/>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a:stretch/>
        </p:blipFill>
        <p:spPr>
          <a:xfrm>
            <a:off x="-1137" y="0"/>
            <a:ext cx="12192000" cy="4279481"/>
          </a:xfrm>
          <a:prstGeom prst="rect">
            <a:avLst/>
          </a:prstGeom>
        </p:spPr>
      </p:pic>
      <p:pic>
        <p:nvPicPr>
          <p:cNvPr id="8" name="Picture 7">
            <a:extLst>
              <a:ext uri="{FF2B5EF4-FFF2-40B4-BE49-F238E27FC236}">
                <a16:creationId xmlns:a16="http://schemas.microsoft.com/office/drawing/2014/main" id="{CB38A26C-B945-214B-B456-ED5F3648FBFA}"/>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180529" y="4715977"/>
            <a:ext cx="2573106" cy="1508126"/>
          </a:xfrm>
          <a:prstGeom prst="rect">
            <a:avLst/>
          </a:prstGeom>
        </p:spPr>
      </p:pic>
      <p:sp>
        <p:nvSpPr>
          <p:cNvPr id="9" name="Logo protection area" hidden="1">
            <a:extLst>
              <a:ext uri="{FF2B5EF4-FFF2-40B4-BE49-F238E27FC236}">
                <a16:creationId xmlns:a16="http://schemas.microsoft.com/office/drawing/2014/main" id="{D30238A3-2B99-4062-AC93-6AC9D5F9DE09}"/>
              </a:ext>
            </a:extLst>
          </p:cNvPr>
          <p:cNvSpPr/>
          <p:nvPr userDrawn="1">
            <p:custDataLst>
              <p:tags r:id="rId1"/>
            </p:custDataLst>
          </p:nvPr>
        </p:nvSpPr>
        <p:spPr>
          <a:xfrm>
            <a:off x="8854550" y="4279481"/>
            <a:ext cx="3337450" cy="2578519"/>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0" name="Layout Protection area" hidden="1">
            <a:extLst>
              <a:ext uri="{FF2B5EF4-FFF2-40B4-BE49-F238E27FC236}">
                <a16:creationId xmlns:a16="http://schemas.microsoft.com/office/drawing/2014/main" id="{85633BF4-2973-467D-9A12-061BB16C8C86}"/>
              </a:ext>
            </a:extLst>
          </p:cNvPr>
          <p:cNvSpPr/>
          <p:nvPr userDrawn="1">
            <p:custDataLst>
              <p:tags r:id="rId2"/>
            </p:custDataLst>
          </p:nvPr>
        </p:nvSpPr>
        <p:spPr>
          <a:xfrm>
            <a:off x="-1" y="4279480"/>
            <a:ext cx="8865831" cy="257851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Tree>
    <p:extLst>
      <p:ext uri="{BB962C8B-B14F-4D97-AF65-F5344CB8AC3E}">
        <p14:creationId xmlns:p14="http://schemas.microsoft.com/office/powerpoint/2010/main" val="63992135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le Slide 7">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C5190BB4-6234-9641-A7E8-57A407618531}"/>
              </a:ext>
            </a:extLst>
          </p:cNvPr>
          <p:cNvSpPr>
            <a:spLocks noGrp="1"/>
          </p:cNvSpPr>
          <p:nvPr>
            <p:ph type="title"/>
          </p:nvPr>
        </p:nvSpPr>
        <p:spPr>
          <a:xfrm>
            <a:off x="685800" y="4416964"/>
            <a:ext cx="7931150" cy="2286000"/>
          </a:xfrm>
        </p:spPr>
        <p:txBody>
          <a:bodyPr anchor="ctr" anchorCtr="0"/>
          <a:lstStyle>
            <a:lvl1pPr>
              <a:defRPr sz="4400"/>
            </a:lvl1pPr>
          </a:lstStyle>
          <a:p>
            <a:r>
              <a:rPr lang="en-US"/>
              <a:t>Click to edit Master title style</a:t>
            </a:r>
          </a:p>
        </p:txBody>
      </p:sp>
      <p:pic>
        <p:nvPicPr>
          <p:cNvPr id="3" name="Picture 2" descr="Higher ed administrators looking at laptop">
            <a:extLst>
              <a:ext uri="{FF2B5EF4-FFF2-40B4-BE49-F238E27FC236}">
                <a16:creationId xmlns:a16="http://schemas.microsoft.com/office/drawing/2014/main" id="{EDF47490-7F9B-F74E-BF33-EEF87362EA45}"/>
              </a:ext>
            </a:extLst>
          </p:cNvPr>
          <p:cNvPicPr>
            <a:picLocks noChangeAspect="1"/>
          </p:cNvPicPr>
          <p:nvPr userDrawn="1"/>
        </p:nvPicPr>
        <p:blipFill rotWithShape="1">
          <a:blip r:embed="rId4" cstate="email">
            <a:alphaModFix/>
            <a:extLst>
              <a:ext uri="{28A0092B-C50C-407E-A947-70E740481C1C}">
                <a14:useLocalDpi xmlns:a14="http://schemas.microsoft.com/office/drawing/2010/main"/>
              </a:ext>
            </a:extLst>
          </a:blip>
          <a:srcRect/>
          <a:stretch/>
        </p:blipFill>
        <p:spPr>
          <a:xfrm>
            <a:off x="-8124" y="0"/>
            <a:ext cx="12200124" cy="4279482"/>
          </a:xfrm>
          <a:prstGeom prst="rect">
            <a:avLst/>
          </a:prstGeom>
        </p:spPr>
      </p:pic>
      <p:pic>
        <p:nvPicPr>
          <p:cNvPr id="8" name="Picture 7">
            <a:extLst>
              <a:ext uri="{FF2B5EF4-FFF2-40B4-BE49-F238E27FC236}">
                <a16:creationId xmlns:a16="http://schemas.microsoft.com/office/drawing/2014/main" id="{CB38A26C-B945-214B-B456-ED5F3648FBFA}"/>
              </a:ext>
              <a:ext uri="{C183D7F6-B498-43B3-948B-1728B52AA6E4}">
                <adec:decorative xmlns:adec="http://schemas.microsoft.com/office/drawing/2017/decorative" val="1"/>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180529" y="4715977"/>
            <a:ext cx="2573106" cy="1508126"/>
          </a:xfrm>
          <a:prstGeom prst="rect">
            <a:avLst/>
          </a:prstGeom>
        </p:spPr>
      </p:pic>
      <p:sp>
        <p:nvSpPr>
          <p:cNvPr id="9" name="Logo protection area" hidden="1">
            <a:extLst>
              <a:ext uri="{FF2B5EF4-FFF2-40B4-BE49-F238E27FC236}">
                <a16:creationId xmlns:a16="http://schemas.microsoft.com/office/drawing/2014/main" id="{BEEAE2DC-F661-48D6-BF90-AA3FBE823952}"/>
              </a:ext>
            </a:extLst>
          </p:cNvPr>
          <p:cNvSpPr/>
          <p:nvPr userDrawn="1">
            <p:custDataLst>
              <p:tags r:id="rId1"/>
            </p:custDataLst>
          </p:nvPr>
        </p:nvSpPr>
        <p:spPr>
          <a:xfrm>
            <a:off x="8854550" y="4279481"/>
            <a:ext cx="3337450" cy="2578519"/>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0" name="Layout Protection area" hidden="1">
            <a:extLst>
              <a:ext uri="{FF2B5EF4-FFF2-40B4-BE49-F238E27FC236}">
                <a16:creationId xmlns:a16="http://schemas.microsoft.com/office/drawing/2014/main" id="{F1FDA01A-183E-4F93-9C1D-26A55FB0491A}"/>
              </a:ext>
            </a:extLst>
          </p:cNvPr>
          <p:cNvSpPr/>
          <p:nvPr userDrawn="1">
            <p:custDataLst>
              <p:tags r:id="rId2"/>
            </p:custDataLst>
          </p:nvPr>
        </p:nvSpPr>
        <p:spPr>
          <a:xfrm>
            <a:off x="-1" y="4279480"/>
            <a:ext cx="8865831" cy="257851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Tree>
    <p:extLst>
      <p:ext uri="{BB962C8B-B14F-4D97-AF65-F5344CB8AC3E}">
        <p14:creationId xmlns:p14="http://schemas.microsoft.com/office/powerpoint/2010/main" val="27806788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 Image">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59E7F91-7781-B14D-943A-157DD7737E1A}"/>
              </a:ext>
            </a:extLst>
          </p:cNvPr>
          <p:cNvSpPr>
            <a:spLocks noGrp="1"/>
          </p:cNvSpPr>
          <p:nvPr>
            <p:ph type="title"/>
          </p:nvPr>
        </p:nvSpPr>
        <p:spPr>
          <a:xfrm>
            <a:off x="685800" y="4416964"/>
            <a:ext cx="7931150" cy="2286000"/>
          </a:xfrm>
        </p:spPr>
        <p:txBody>
          <a:bodyPr anchor="ctr" anchorCtr="0"/>
          <a:lstStyle>
            <a:lvl1pPr>
              <a:defRPr sz="4400"/>
            </a:lvl1pPr>
          </a:lstStyle>
          <a:p>
            <a:r>
              <a:rPr lang="en-US"/>
              <a:t>Click to edit Master title style</a:t>
            </a:r>
          </a:p>
        </p:txBody>
      </p:sp>
      <p:sp>
        <p:nvSpPr>
          <p:cNvPr id="7" name="Picture Placeholder 6">
            <a:extLst>
              <a:ext uri="{FF2B5EF4-FFF2-40B4-BE49-F238E27FC236}">
                <a16:creationId xmlns:a16="http://schemas.microsoft.com/office/drawing/2014/main" id="{7D82F5F3-A32A-434D-9667-F63FCE93B67D}"/>
              </a:ext>
            </a:extLst>
          </p:cNvPr>
          <p:cNvSpPr>
            <a:spLocks noGrp="1"/>
          </p:cNvSpPr>
          <p:nvPr>
            <p:ph type="pic" sz="quarter" idx="14"/>
          </p:nvPr>
        </p:nvSpPr>
        <p:spPr>
          <a:xfrm>
            <a:off x="0" y="0"/>
            <a:ext cx="12199938" cy="4279900"/>
          </a:xfrm>
        </p:spPr>
        <p:txBody>
          <a:bodyPr anchor="ctr"/>
          <a:lstStyle>
            <a:lvl1pPr algn="ctr">
              <a:buNone/>
              <a:defRPr/>
            </a:lvl1pPr>
          </a:lstStyle>
          <a:p>
            <a:r>
              <a:rPr lang="en-US"/>
              <a:t>Click icon to add picture</a:t>
            </a:r>
          </a:p>
        </p:txBody>
      </p:sp>
      <p:pic>
        <p:nvPicPr>
          <p:cNvPr id="8" name="Picture 7">
            <a:extLst>
              <a:ext uri="{FF2B5EF4-FFF2-40B4-BE49-F238E27FC236}">
                <a16:creationId xmlns:a16="http://schemas.microsoft.com/office/drawing/2014/main" id="{CB38A26C-B945-214B-B456-ED5F3648FBFA}"/>
              </a:ext>
              <a:ext uri="{C183D7F6-B498-43B3-948B-1728B52AA6E4}">
                <adec:decorative xmlns:adec="http://schemas.microsoft.com/office/drawing/2017/decorative" val="1"/>
              </a:ext>
            </a:extLst>
          </p:cNvPr>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180529" y="4715977"/>
            <a:ext cx="2573106" cy="1508126"/>
          </a:xfrm>
          <a:prstGeom prst="rect">
            <a:avLst/>
          </a:prstGeom>
        </p:spPr>
      </p:pic>
      <p:sp>
        <p:nvSpPr>
          <p:cNvPr id="9" name="Logo protection area" hidden="1">
            <a:extLst>
              <a:ext uri="{FF2B5EF4-FFF2-40B4-BE49-F238E27FC236}">
                <a16:creationId xmlns:a16="http://schemas.microsoft.com/office/drawing/2014/main" id="{115919A3-082B-4C20-934F-4C8424954A25}"/>
              </a:ext>
            </a:extLst>
          </p:cNvPr>
          <p:cNvSpPr/>
          <p:nvPr userDrawn="1">
            <p:custDataLst>
              <p:tags r:id="rId1"/>
            </p:custDataLst>
          </p:nvPr>
        </p:nvSpPr>
        <p:spPr>
          <a:xfrm>
            <a:off x="8854550" y="4335177"/>
            <a:ext cx="3337450" cy="2522823"/>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0" name="Layout Protection area" hidden="1">
            <a:extLst>
              <a:ext uri="{FF2B5EF4-FFF2-40B4-BE49-F238E27FC236}">
                <a16:creationId xmlns:a16="http://schemas.microsoft.com/office/drawing/2014/main" id="{F950F768-4E54-4847-BC5A-F10E87C1DC8B}"/>
              </a:ext>
            </a:extLst>
          </p:cNvPr>
          <p:cNvSpPr/>
          <p:nvPr userDrawn="1">
            <p:custDataLst>
              <p:tags r:id="rId2"/>
            </p:custDataLst>
          </p:nvPr>
        </p:nvSpPr>
        <p:spPr>
          <a:xfrm>
            <a:off x="-1" y="4279480"/>
            <a:ext cx="8865831" cy="257851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Tree>
    <p:extLst>
      <p:ext uri="{BB962C8B-B14F-4D97-AF65-F5344CB8AC3E}">
        <p14:creationId xmlns:p14="http://schemas.microsoft.com/office/powerpoint/2010/main" val="169834123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  ">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6BD8B30-570A-41BC-B76C-CEA2703D3972}"/>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1200" cap="none" spc="0" normalizeH="0" baseline="0" noProof="0">
                <a:ln>
                  <a:noFill/>
                </a:ln>
                <a:solidFill>
                  <a:srgbClr val="FFFFFF"/>
                </a:solidFill>
                <a:effectLst/>
                <a:uLnTx/>
                <a:uFillTx/>
                <a:latin typeface="Tiempos Headline Bold"/>
                <a:ea typeface="+mn-ea"/>
                <a:cs typeface="+mn-cs"/>
              </a:rPr>
              <a:t>Log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3800" b="0" i="0" u="none" strike="noStrike" kern="1200" cap="none" spc="0" normalizeH="0" baseline="0" noProof="0">
                <a:ln>
                  <a:noFill/>
                </a:ln>
                <a:solidFill>
                  <a:srgbClr val="FFFFFF"/>
                </a:solidFill>
                <a:effectLst/>
                <a:uLnTx/>
                <a:uFillTx/>
                <a:latin typeface="Tiempos Headline Bold"/>
                <a:ea typeface="+mn-ea"/>
                <a:cs typeface="+mn-cs"/>
              </a:rPr>
              <a:t> Layout</a:t>
            </a:r>
          </a:p>
        </p:txBody>
      </p:sp>
    </p:spTree>
    <p:extLst>
      <p:ext uri="{BB962C8B-B14F-4D97-AF65-F5344CB8AC3E}">
        <p14:creationId xmlns:p14="http://schemas.microsoft.com/office/powerpoint/2010/main" val="176689542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blank" preserve="1">
  <p:cSld name="Anthology Logo Intro">
    <p:spTree>
      <p:nvGrpSpPr>
        <p:cNvPr id="1" name=""/>
        <p:cNvGrpSpPr/>
        <p:nvPr/>
      </p:nvGrpSpPr>
      <p:grpSpPr>
        <a:xfrm>
          <a:off x="0" y="0"/>
          <a:ext cx="0" cy="0"/>
          <a:chOff x="0" y="0"/>
          <a:chExt cx="0" cy="0"/>
        </a:xfrm>
      </p:grpSpPr>
      <p:pic>
        <p:nvPicPr>
          <p:cNvPr id="9" name="Picture 8" descr="Anthology logo">
            <a:extLst>
              <a:ext uri="{FF2B5EF4-FFF2-40B4-BE49-F238E27FC236}">
                <a16:creationId xmlns:a16="http://schemas.microsoft.com/office/drawing/2014/main" id="{16A7D450-E098-EC48-B53F-BC26827E3F3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t="52633"/>
          <a:stretch/>
        </p:blipFill>
        <p:spPr>
          <a:xfrm>
            <a:off x="3841426" y="3004456"/>
            <a:ext cx="4509148" cy="1251857"/>
          </a:xfrm>
          <a:prstGeom prst="rect">
            <a:avLst/>
          </a:prstGeom>
        </p:spPr>
      </p:pic>
      <p:pic>
        <p:nvPicPr>
          <p:cNvPr id="10" name="Picture 9">
            <a:extLst>
              <a:ext uri="{FF2B5EF4-FFF2-40B4-BE49-F238E27FC236}">
                <a16:creationId xmlns:a16="http://schemas.microsoft.com/office/drawing/2014/main" id="{87FFBD67-5089-6441-9B9C-EDAB86D1FF29}"/>
              </a:ext>
              <a:ext uri="{C183D7F6-B498-43B3-948B-1728B52AA6E4}">
                <adec:decorative xmlns:adec="http://schemas.microsoft.com/office/drawing/2017/decorative" val="1"/>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47367"/>
          <a:stretch/>
        </p:blipFill>
        <p:spPr>
          <a:xfrm>
            <a:off x="3841426" y="1613452"/>
            <a:ext cx="4509148" cy="1391005"/>
          </a:xfrm>
          <a:prstGeom prst="rect">
            <a:avLst/>
          </a:prstGeom>
        </p:spPr>
      </p:pic>
      <p:sp>
        <p:nvSpPr>
          <p:cNvPr id="6" name="Layout Protection area" hidden="1">
            <a:extLst>
              <a:ext uri="{FF2B5EF4-FFF2-40B4-BE49-F238E27FC236}">
                <a16:creationId xmlns:a16="http://schemas.microsoft.com/office/drawing/2014/main" id="{7F434C8B-15FC-4FFB-9309-BA7C564C26C9}"/>
              </a:ext>
            </a:extLst>
          </p:cNvPr>
          <p:cNvSpPr/>
          <p:nvPr userDrawn="1">
            <p:custDataLst>
              <p:tags r:id="rId1"/>
            </p:custDataLst>
          </p:nvPr>
        </p:nvSpPr>
        <p:spPr>
          <a:xfrm>
            <a:off x="-1" y="4436076"/>
            <a:ext cx="12192001" cy="2421923"/>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Tree>
    <p:extLst>
      <p:ext uri="{BB962C8B-B14F-4D97-AF65-F5344CB8AC3E}">
        <p14:creationId xmlns:p14="http://schemas.microsoft.com/office/powerpoint/2010/main" val="23618484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50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1500"/>
                                        <p:tgtEl>
                                          <p:spTgt spid="10"/>
                                        </p:tgtEl>
                                      </p:cBhvr>
                                    </p:animEffect>
                                  </p:childTnLst>
                                </p:cTn>
                              </p:par>
                              <p:par>
                                <p:cTn id="8" presetID="10" presetClass="entr" presetSubtype="0" fill="hold" nodeType="withEffect">
                                  <p:stCondLst>
                                    <p:cond delay="150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1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    ">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6BD8B30-570A-41BC-B76C-CEA2703D3972}"/>
              </a:ext>
            </a:extLst>
          </p:cNvPr>
          <p:cNvSpPr/>
          <p:nvPr userDrawn="1"/>
        </p:nvSpPr>
        <p:spPr>
          <a:xfrm>
            <a:off x="0" y="0"/>
            <a:ext cx="12192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3800" b="0" i="0" u="none" strike="noStrike" kern="1200" cap="none" spc="0" normalizeH="0" baseline="0" noProof="0">
                <a:ln>
                  <a:noFill/>
                </a:ln>
                <a:solidFill>
                  <a:srgbClr val="FFFFFF"/>
                </a:solidFill>
                <a:effectLst/>
                <a:uLnTx/>
                <a:uFillTx/>
                <a:latin typeface="Tiempos Headline Bold"/>
                <a:ea typeface="+mn-ea"/>
                <a:cs typeface="+mn-cs"/>
              </a:rPr>
              <a:t>Do not use slide layouts after this</a:t>
            </a:r>
          </a:p>
        </p:txBody>
      </p:sp>
    </p:spTree>
    <p:extLst>
      <p:ext uri="{BB962C8B-B14F-4D97-AF65-F5344CB8AC3E}">
        <p14:creationId xmlns:p14="http://schemas.microsoft.com/office/powerpoint/2010/main" val="94145259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Title and Content- Non Bulle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11" name="Footer Placeholder 10" hidden="1">
            <a:extLst>
              <a:ext uri="{FF2B5EF4-FFF2-40B4-BE49-F238E27FC236}">
                <a16:creationId xmlns:a16="http://schemas.microsoft.com/office/drawing/2014/main" id="{9A6C3015-1CAE-4290-82A3-4033831889C0}"/>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9" name="Layout Protection area" hidden="1">
            <a:extLst>
              <a:ext uri="{FF2B5EF4-FFF2-40B4-BE49-F238E27FC236}">
                <a16:creationId xmlns:a16="http://schemas.microsoft.com/office/drawing/2014/main" id="{591B233F-3F23-4C8F-BC23-D8E55EF116DE}"/>
              </a:ext>
            </a:extLst>
          </p:cNvPr>
          <p:cNvSpPr/>
          <p:nvPr userDrawn="1">
            <p:custDataLst>
              <p:tags r:id="rId1"/>
            </p:custDataLst>
          </p:nvPr>
        </p:nvSpPr>
        <p:spPr>
          <a:xfrm>
            <a:off x="266700" y="1219200"/>
            <a:ext cx="11658600" cy="5372100"/>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2" name="Slide Number Placeholder 11">
            <a:extLst>
              <a:ext uri="{FF2B5EF4-FFF2-40B4-BE49-F238E27FC236}">
                <a16:creationId xmlns:a16="http://schemas.microsoft.com/office/drawing/2014/main" id="{B3F4153E-D7F9-4B09-B749-558008B57C9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
        <p:nvSpPr>
          <p:cNvPr id="4" name="Picture Placeholder 3">
            <a:extLst>
              <a:ext uri="{FF2B5EF4-FFF2-40B4-BE49-F238E27FC236}">
                <a16:creationId xmlns:a16="http://schemas.microsoft.com/office/drawing/2014/main" id="{9920D1D3-067F-4D61-AFF8-D483CFA44041}"/>
              </a:ext>
            </a:extLst>
          </p:cNvPr>
          <p:cNvSpPr>
            <a:spLocks noGrp="1"/>
          </p:cNvSpPr>
          <p:nvPr>
            <p:ph type="pic" sz="quarter" idx="13" hasCustomPrompt="1"/>
          </p:nvPr>
        </p:nvSpPr>
        <p:spPr>
          <a:xfrm>
            <a:off x="266700" y="1219200"/>
            <a:ext cx="11658599" cy="5372100"/>
          </a:xfrm>
          <a:prstGeom prst="rect">
            <a:avLst/>
          </a:prstGeom>
        </p:spPr>
        <p:txBody>
          <a:bodyPr/>
          <a:lstStyle>
            <a:lvl1pPr marL="0" indent="0">
              <a:buFontTx/>
              <a:buNone/>
              <a:defRPr/>
            </a:lvl1pPr>
          </a:lstStyle>
          <a:p>
            <a:r>
              <a:rPr lang="en-US"/>
              <a:t> </a:t>
            </a:r>
          </a:p>
        </p:txBody>
      </p:sp>
    </p:spTree>
    <p:extLst>
      <p:ext uri="{BB962C8B-B14F-4D97-AF65-F5344CB8AC3E}">
        <p14:creationId xmlns:p14="http://schemas.microsoft.com/office/powerpoint/2010/main" val="1612991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Non Bulle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685800" y="1600200"/>
            <a:ext cx="10789920" cy="4434840"/>
          </a:xfrm>
        </p:spPr>
        <p:txBody>
          <a:bodyPr lIns="0" tIns="0" rIns="0" bIns="0"/>
          <a:lstStyle>
            <a:lvl1pPr marL="0" indent="0">
              <a:lnSpc>
                <a:spcPct val="110000"/>
              </a:lnSpc>
              <a:spcBef>
                <a:spcPts val="1000"/>
              </a:spcBef>
              <a:buClr>
                <a:schemeClr val="accent4"/>
              </a:buClr>
              <a:buFont typeface="Nunito Sans Light" panose="00000400000000000000" pitchFamily="2" charset="0"/>
              <a:buChar char="​"/>
              <a:defRPr b="0" i="0">
                <a:latin typeface="+mn-lt"/>
              </a:defRPr>
            </a:lvl1pPr>
            <a:lvl2pPr indent="-228600">
              <a:lnSpc>
                <a:spcPct val="110000"/>
              </a:lnSpc>
              <a:spcBef>
                <a:spcPts val="500"/>
              </a:spcBef>
              <a:defRPr b="0" i="0">
                <a:latin typeface="+mn-lt"/>
              </a:defRPr>
            </a:lvl2pPr>
            <a:lvl3pPr indent="-228600">
              <a:lnSpc>
                <a:spcPct val="110000"/>
              </a:lnSpc>
              <a:spcBef>
                <a:spcPts val="500"/>
              </a:spcBef>
              <a:defRPr b="0" i="0">
                <a:latin typeface="+mn-lt"/>
              </a:defRPr>
            </a:lvl3pPr>
            <a:lvl4pPr indent="-228600">
              <a:lnSpc>
                <a:spcPct val="110000"/>
              </a:lnSpc>
              <a:spcBef>
                <a:spcPts val="500"/>
              </a:spcBef>
              <a:defRPr b="0" i="0">
                <a:latin typeface="+mn-lt"/>
              </a:defRPr>
            </a:lvl4pPr>
            <a:lvl5pPr indent="-228600">
              <a:lnSpc>
                <a:spcPct val="110000"/>
              </a:lnSpc>
              <a:spcBef>
                <a:spcPts val="500"/>
              </a:spcBef>
              <a:defRPr b="0" i="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Date Placeholder 9">
            <a:extLst>
              <a:ext uri="{FF2B5EF4-FFF2-40B4-BE49-F238E27FC236}">
                <a16:creationId xmlns:a16="http://schemas.microsoft.com/office/drawing/2014/main" id="{398E1AFB-3C62-4F20-A5EF-D17A9D02EBB1}"/>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1" name="Footer Placeholder 10" hidden="1">
            <a:extLst>
              <a:ext uri="{FF2B5EF4-FFF2-40B4-BE49-F238E27FC236}">
                <a16:creationId xmlns:a16="http://schemas.microsoft.com/office/drawing/2014/main" id="{9A6C3015-1CAE-4290-82A3-4033831889C0}"/>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7" name="Logo protection area" hidden="1">
            <a:extLst>
              <a:ext uri="{FF2B5EF4-FFF2-40B4-BE49-F238E27FC236}">
                <a16:creationId xmlns:a16="http://schemas.microsoft.com/office/drawing/2014/main" id="{4986A9EF-557A-4CBE-995E-3069D63BBEDC}"/>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9" name="Layout Protection area" hidden="1">
            <a:extLst>
              <a:ext uri="{FF2B5EF4-FFF2-40B4-BE49-F238E27FC236}">
                <a16:creationId xmlns:a16="http://schemas.microsoft.com/office/drawing/2014/main" id="{591B233F-3F23-4C8F-BC23-D8E55EF116DE}"/>
              </a:ext>
            </a:extLst>
          </p:cNvPr>
          <p:cNvSpPr/>
          <p:nvPr userDrawn="1">
            <p:custDataLst>
              <p:tags r:id="rId2"/>
            </p:custDataLst>
          </p:nvPr>
        </p:nvSpPr>
        <p:spPr>
          <a:xfrm>
            <a:off x="664420" y="1572242"/>
            <a:ext cx="10841780" cy="449963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2" name="Slide Number Placeholder 11">
            <a:extLst>
              <a:ext uri="{FF2B5EF4-FFF2-40B4-BE49-F238E27FC236}">
                <a16:creationId xmlns:a16="http://schemas.microsoft.com/office/drawing/2014/main" id="{B3F4153E-D7F9-4B09-B749-558008B57C92}"/>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325824130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Title Slide 8">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C0E6A34F-1386-8E4C-A50B-F353C453C08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Picture 9">
            <a:extLst>
              <a:ext uri="{FF2B5EF4-FFF2-40B4-BE49-F238E27FC236}">
                <a16:creationId xmlns:a16="http://schemas.microsoft.com/office/drawing/2014/main" id="{CD7CB53D-DEED-AE46-B326-75970DF2B668}"/>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94944" y="5614530"/>
            <a:ext cx="2544417" cy="634649"/>
          </a:xfrm>
          <a:prstGeom prst="rect">
            <a:avLst/>
          </a:prstGeom>
        </p:spPr>
      </p:pic>
      <p:sp>
        <p:nvSpPr>
          <p:cNvPr id="11" name="Rectangle 10">
            <a:extLst>
              <a:ext uri="{FF2B5EF4-FFF2-40B4-BE49-F238E27FC236}">
                <a16:creationId xmlns:a16="http://schemas.microsoft.com/office/drawing/2014/main" id="{3157EF13-C5CB-6047-AF00-C0947671AB5A}"/>
              </a:ext>
            </a:extLst>
          </p:cNvPr>
          <p:cNvSpPr/>
          <p:nvPr userDrawn="1"/>
        </p:nvSpPr>
        <p:spPr>
          <a:xfrm>
            <a:off x="7064188" y="3531210"/>
            <a:ext cx="5127812" cy="271796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Slide Number Placeholder 5">
            <a:extLst>
              <a:ext uri="{FF2B5EF4-FFF2-40B4-BE49-F238E27FC236}">
                <a16:creationId xmlns:a16="http://schemas.microsoft.com/office/drawing/2014/main" id="{3FA4AFC9-E1DA-5F44-84A4-322E2FD9A773}"/>
              </a:ext>
            </a:extLst>
          </p:cNvPr>
          <p:cNvSpPr>
            <a:spLocks noGrp="1"/>
          </p:cNvSpPr>
          <p:nvPr>
            <p:ph type="sldNum" sz="quarter" idx="12"/>
          </p:nvPr>
        </p:nvSpPr>
        <p:spPr/>
        <p:txBody>
          <a:bodyPr/>
          <a:lstStyle/>
          <a:p>
            <a:fld id="{7F9396FD-A8D2-5548-97AD-44EE9AACF15F}" type="slidenum">
              <a:rPr lang="en-US"/>
              <a:t>‹#›</a:t>
            </a:fld>
            <a:endParaRPr lang="en-US"/>
          </a:p>
        </p:txBody>
      </p:sp>
      <p:sp>
        <p:nvSpPr>
          <p:cNvPr id="4" name="Date Placeholder 3">
            <a:extLst>
              <a:ext uri="{FF2B5EF4-FFF2-40B4-BE49-F238E27FC236}">
                <a16:creationId xmlns:a16="http://schemas.microsoft.com/office/drawing/2014/main" id="{56924D0E-3C6F-2647-974C-982C16616C07}"/>
              </a:ext>
            </a:extLst>
          </p:cNvPr>
          <p:cNvSpPr>
            <a:spLocks noGrp="1"/>
          </p:cNvSpPr>
          <p:nvPr>
            <p:ph type="dt" sz="half" idx="10"/>
          </p:nvPr>
        </p:nvSpPr>
        <p:spPr/>
        <p:txBody>
          <a:bodyPr/>
          <a:lstStyle/>
          <a:p>
            <a:fld id="{41711DDA-5FB3-A640-8423-1B209CA26241}" type="datetime1">
              <a:rPr lang="en-US"/>
              <a:t>5/10/2023</a:t>
            </a:fld>
            <a:endParaRPr lang="en-US"/>
          </a:p>
        </p:txBody>
      </p:sp>
      <p:sp>
        <p:nvSpPr>
          <p:cNvPr id="5" name="Footer Placeholder 4">
            <a:extLst>
              <a:ext uri="{FF2B5EF4-FFF2-40B4-BE49-F238E27FC236}">
                <a16:creationId xmlns:a16="http://schemas.microsoft.com/office/drawing/2014/main" id="{1D25BA0D-1D8A-284D-A920-F41FECA7B07E}"/>
              </a:ext>
            </a:extLst>
          </p:cNvPr>
          <p:cNvSpPr>
            <a:spLocks noGrp="1"/>
          </p:cNvSpPr>
          <p:nvPr>
            <p:ph type="ftr" sz="quarter" idx="11"/>
          </p:nvPr>
        </p:nvSpPr>
        <p:spPr/>
        <p:txBody>
          <a:bodyPr/>
          <a:lstStyle/>
          <a:p>
            <a:endParaRPr lang="en-US"/>
          </a:p>
        </p:txBody>
      </p:sp>
      <p:sp>
        <p:nvSpPr>
          <p:cNvPr id="14" name="Text Placeholder 13">
            <a:extLst>
              <a:ext uri="{FF2B5EF4-FFF2-40B4-BE49-F238E27FC236}">
                <a16:creationId xmlns:a16="http://schemas.microsoft.com/office/drawing/2014/main" id="{AA1EFF29-0E02-914A-BECC-F55754ACA032}"/>
              </a:ext>
            </a:extLst>
          </p:cNvPr>
          <p:cNvSpPr>
            <a:spLocks noGrp="1"/>
          </p:cNvSpPr>
          <p:nvPr>
            <p:ph type="body" sz="quarter" idx="13"/>
          </p:nvPr>
        </p:nvSpPr>
        <p:spPr>
          <a:xfrm>
            <a:off x="694944" y="640080"/>
            <a:ext cx="5874026" cy="3945835"/>
          </a:xfrm>
        </p:spPr>
        <p:txBody>
          <a:bodyPr lIns="0" tIns="0" rIns="0" bIns="0" anchor="ctr" anchorCtr="0">
            <a:normAutofit/>
          </a:bodyPr>
          <a:lstStyle>
            <a:lvl1pPr marL="0" indent="0">
              <a:lnSpc>
                <a:spcPct val="100000"/>
              </a:lnSpc>
              <a:spcBef>
                <a:spcPts val="0"/>
              </a:spcBef>
              <a:buFontTx/>
              <a:buNone/>
              <a:defRPr sz="6600" b="0" i="0">
                <a:solidFill>
                  <a:schemeClr val="bg1"/>
                </a:solidFill>
                <a:latin typeface="+mj-lt"/>
                <a:ea typeface="Roboto Slab Light" pitchFamily="2" charset="0"/>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7" name="Text Placeholder 6">
            <a:extLst>
              <a:ext uri="{FF2B5EF4-FFF2-40B4-BE49-F238E27FC236}">
                <a16:creationId xmlns:a16="http://schemas.microsoft.com/office/drawing/2014/main" id="{5C0A89D7-4D24-0747-B5BD-92CC9681FFC6}"/>
              </a:ext>
            </a:extLst>
          </p:cNvPr>
          <p:cNvSpPr>
            <a:spLocks noGrp="1"/>
          </p:cNvSpPr>
          <p:nvPr>
            <p:ph type="body" sz="quarter" idx="14"/>
          </p:nvPr>
        </p:nvSpPr>
        <p:spPr>
          <a:xfrm>
            <a:off x="7443788" y="3811933"/>
            <a:ext cx="4314825" cy="345747"/>
          </a:xfrm>
          <a:noFill/>
        </p:spPr>
        <p:txBody>
          <a:bodyPr/>
          <a:lstStyle>
            <a:lvl1pPr marL="0" indent="0">
              <a:buNone/>
              <a:defRPr b="1" i="0">
                <a:solidFill>
                  <a:schemeClr val="bg1"/>
                </a:solidFill>
                <a:latin typeface="+mn-lt"/>
              </a:defRPr>
            </a:lvl1pPr>
            <a:lvl2pPr marL="0" indent="0">
              <a:spcBef>
                <a:spcPts val="50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3" name="Text Placeholder 6">
            <a:extLst>
              <a:ext uri="{FF2B5EF4-FFF2-40B4-BE49-F238E27FC236}">
                <a16:creationId xmlns:a16="http://schemas.microsoft.com/office/drawing/2014/main" id="{7514AC55-CCE4-CC4A-B2D5-37A308296AE3}"/>
              </a:ext>
            </a:extLst>
          </p:cNvPr>
          <p:cNvSpPr>
            <a:spLocks noGrp="1"/>
          </p:cNvSpPr>
          <p:nvPr>
            <p:ph type="body" sz="quarter" idx="15"/>
          </p:nvPr>
        </p:nvSpPr>
        <p:spPr>
          <a:xfrm>
            <a:off x="7443788" y="4229377"/>
            <a:ext cx="4314825" cy="1654589"/>
          </a:xfrm>
          <a:noFill/>
        </p:spPr>
        <p:txBody>
          <a:bodyPr>
            <a:normAutofit/>
          </a:bodyPr>
          <a:lstStyle>
            <a:lvl1pPr marL="0" indent="0">
              <a:buNone/>
              <a:defRPr sz="1800" b="0" i="0">
                <a:solidFill>
                  <a:schemeClr val="bg1"/>
                </a:solidFill>
                <a:latin typeface="+mn-lt"/>
              </a:defRPr>
            </a:lvl1pPr>
            <a:lvl2pPr marL="0" indent="0">
              <a:spcBef>
                <a:spcPts val="50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69541649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7" name="Date Placeholder 6">
            <a:extLst>
              <a:ext uri="{FF2B5EF4-FFF2-40B4-BE49-F238E27FC236}">
                <a16:creationId xmlns:a16="http://schemas.microsoft.com/office/drawing/2014/main" id="{18EBD4CF-CE82-4130-BEB0-EEB8FAF1E9EC}"/>
              </a:ext>
            </a:extLst>
          </p:cNvPr>
          <p:cNvSpPr>
            <a:spLocks noGrp="1"/>
          </p:cNvSpPr>
          <p:nvPr>
            <p:ph type="dt" sz="half" idx="10"/>
          </p:nvPr>
        </p:nvSpPr>
        <p:spPr/>
        <p:txBody>
          <a:bodyPr/>
          <a:lstStyle/>
          <a:p>
            <a:fld id="{77AA6E6C-BB3E-E94D-B480-811E6A5390FE}" type="datetime1">
              <a:rPr lang="en-US"/>
              <a:pPr/>
              <a:t>5/10/2023</a:t>
            </a:fld>
            <a:endParaRPr lang="en-US"/>
          </a:p>
        </p:txBody>
      </p:sp>
      <p:sp>
        <p:nvSpPr>
          <p:cNvPr id="8" name="Footer Placeholder 7">
            <a:extLst>
              <a:ext uri="{FF2B5EF4-FFF2-40B4-BE49-F238E27FC236}">
                <a16:creationId xmlns:a16="http://schemas.microsoft.com/office/drawing/2014/main" id="{FCFA34DC-8AF1-4B60-BC27-55ABD7BC86F9}"/>
              </a:ext>
            </a:extLst>
          </p:cNvPr>
          <p:cNvSpPr>
            <a:spLocks noGrp="1"/>
          </p:cNvSpPr>
          <p:nvPr>
            <p:ph type="ftr" sz="quarter" idx="11"/>
          </p:nvPr>
        </p:nvSpPr>
        <p:spPr/>
        <p:txBody>
          <a:bodyPr/>
          <a:lstStyle/>
          <a:p>
            <a:pPr algn="r"/>
            <a:endParaRPr lang="en-US"/>
          </a:p>
        </p:txBody>
      </p:sp>
      <p:sp>
        <p:nvSpPr>
          <p:cNvPr id="9" name="Slide Number Placeholder 8">
            <a:extLst>
              <a:ext uri="{FF2B5EF4-FFF2-40B4-BE49-F238E27FC236}">
                <a16:creationId xmlns:a16="http://schemas.microsoft.com/office/drawing/2014/main" id="{D43A7786-5548-4E73-B3F7-9EBCB349067F}"/>
              </a:ext>
            </a:extLst>
          </p:cNvPr>
          <p:cNvSpPr>
            <a:spLocks noGrp="1"/>
          </p:cNvSpPr>
          <p:nvPr>
            <p:ph type="sldNum" sz="quarter" idx="12"/>
          </p:nvPr>
        </p:nvSpPr>
        <p:spPr/>
        <p:txBody>
          <a:bodyPr/>
          <a:lstStyle/>
          <a:p>
            <a:fld id="{7F9396FD-A8D2-5548-97AD-44EE9AACF15F}" type="slidenum">
              <a:rPr lang="en-US"/>
              <a:pPr/>
              <a:t>‹#›</a:t>
            </a:fld>
            <a:endParaRPr lang="en-US"/>
          </a:p>
        </p:txBody>
      </p:sp>
      <p:pic>
        <p:nvPicPr>
          <p:cNvPr id="10" name="Picture 9">
            <a:extLst>
              <a:ext uri="{FF2B5EF4-FFF2-40B4-BE49-F238E27FC236}">
                <a16:creationId xmlns:a16="http://schemas.microsoft.com/office/drawing/2014/main" id="{BE13A13F-2BC3-40F0-91E5-513B5F14DA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3156792" y="1706297"/>
            <a:ext cx="5878415" cy="3445405"/>
          </a:xfrm>
          <a:prstGeom prst="rect">
            <a:avLst/>
          </a:prstGeom>
        </p:spPr>
      </p:pic>
    </p:spTree>
    <p:extLst>
      <p:ext uri="{BB962C8B-B14F-4D97-AF65-F5344CB8AC3E}">
        <p14:creationId xmlns:p14="http://schemas.microsoft.com/office/powerpoint/2010/main" val="177877877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 photo">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tIns="0" bIns="0"/>
          <a:lstStyle>
            <a:lvl1pPr>
              <a:defRPr>
                <a:solidFill>
                  <a:schemeClr val="tx1"/>
                </a:solidFill>
              </a:defRPr>
            </a:lvl1pPr>
          </a:lstStyle>
          <a:p>
            <a:r>
              <a:rPr lang="en-US"/>
              <a:t>Click to Edit Master Title Style</a:t>
            </a:r>
          </a:p>
        </p:txBody>
      </p:sp>
      <p:sp>
        <p:nvSpPr>
          <p:cNvPr id="6" name="Picture Placeholder 5"/>
          <p:cNvSpPr>
            <a:spLocks noGrp="1"/>
          </p:cNvSpPr>
          <p:nvPr>
            <p:ph type="pic" sz="quarter" idx="10" hasCustomPrompt="1"/>
          </p:nvPr>
        </p:nvSpPr>
        <p:spPr>
          <a:xfrm>
            <a:off x="0" y="1544640"/>
            <a:ext cx="12192029" cy="5313360"/>
          </a:xfrm>
          <a:noFill/>
        </p:spPr>
        <p:txBody>
          <a:bodyPr anchor="ctr"/>
          <a:lstStyle>
            <a:lvl1pPr marL="0" indent="0" algn="ctr">
              <a:buFontTx/>
              <a:buNone/>
              <a:defRPr/>
            </a:lvl1pPr>
          </a:lstStyle>
          <a:p>
            <a:r>
              <a:rPr lang="en-US"/>
              <a:t>Click to Add Photo</a:t>
            </a:r>
          </a:p>
        </p:txBody>
      </p:sp>
    </p:spTree>
    <p:extLst>
      <p:ext uri="{BB962C8B-B14F-4D97-AF65-F5344CB8AC3E}">
        <p14:creationId xmlns:p14="http://schemas.microsoft.com/office/powerpoint/2010/main" val="17277093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Title + three columns + fill">
    <p:spTree>
      <p:nvGrpSpPr>
        <p:cNvPr id="1" name=""/>
        <p:cNvGrpSpPr/>
        <p:nvPr/>
      </p:nvGrpSpPr>
      <p:grpSpPr>
        <a:xfrm>
          <a:off x="0" y="0"/>
          <a:ext cx="0" cy="0"/>
          <a:chOff x="0" y="0"/>
          <a:chExt cx="0" cy="0"/>
        </a:xfrm>
      </p:grpSpPr>
      <p:sp>
        <p:nvSpPr>
          <p:cNvPr id="8" name="Rectangle 7"/>
          <p:cNvSpPr/>
          <p:nvPr userDrawn="1"/>
        </p:nvSpPr>
        <p:spPr>
          <a:xfrm>
            <a:off x="416984" y="-1"/>
            <a:ext cx="11360149" cy="1236664"/>
          </a:xfrm>
          <a:prstGeom prst="rect">
            <a:avLst/>
          </a:prstGeom>
          <a:solidFill>
            <a:schemeClr val="accent1"/>
          </a:solidFill>
          <a:ln w="6350" cap="sq">
            <a:solidFill>
              <a:schemeClr val="accent1"/>
            </a:solid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320040" tIns="1371600" rIns="274320" bIns="274320" numCol="1" spcCol="0" rtlCol="0" fromWordArt="0" anchor="t" anchorCtr="0" forceAA="0" compatLnSpc="1">
            <a:prstTxWarp prst="textNoShape">
              <a:avLst/>
            </a:prstTxWarp>
            <a:noAutofit/>
          </a:bodyPr>
          <a:lstStyle/>
          <a:p>
            <a:pPr defTabSz="457178">
              <a:spcAft>
                <a:spcPts val="1200"/>
              </a:spcAft>
            </a:pPr>
            <a:endParaRPr lang="en-US" sz="3200">
              <a:solidFill>
                <a:prstClr val="white"/>
              </a:solidFill>
            </a:endParaRPr>
          </a:p>
        </p:txBody>
      </p:sp>
      <p:sp>
        <p:nvSpPr>
          <p:cNvPr id="3" name="Content Placeholder 2"/>
          <p:cNvSpPr>
            <a:spLocks noGrp="1"/>
          </p:cNvSpPr>
          <p:nvPr>
            <p:ph idx="1"/>
          </p:nvPr>
        </p:nvSpPr>
        <p:spPr>
          <a:xfrm>
            <a:off x="416984" y="1544637"/>
            <a:ext cx="3542171" cy="4678363"/>
          </a:xfrm>
          <a:ln w="6350">
            <a:noFill/>
          </a:ln>
        </p:spPr>
        <p:txBody>
          <a:bodyPr lIns="137160" tIns="137160" rIns="137160" bIns="137160"/>
          <a:lstStyle>
            <a:lvl1pPr marL="0" indent="0">
              <a:buFontTx/>
              <a:buNone/>
              <a:defRPr sz="2200" b="0">
                <a:solidFill>
                  <a:schemeClr val="accent1"/>
                </a:solidFill>
                <a:latin typeface="+mj-lt"/>
              </a:defRPr>
            </a:lvl1pPr>
            <a:lvl2pPr marL="342882" indent="-238113">
              <a:buFont typeface="Arial" panose="020B0604020202020204" pitchFamily="34" charset="0"/>
              <a:buChar char="•"/>
              <a:defRPr sz="2200"/>
            </a:lvl2pPr>
            <a:lvl3pPr marL="579410" indent="-225414">
              <a:buFont typeface="Calibri" panose="020F0502020204030204" pitchFamily="34" charset="0"/>
              <a:buChar char="–"/>
              <a:defRPr sz="2200"/>
            </a:lvl3pPr>
            <a:lvl4pPr marL="804823" indent="-225414">
              <a:buFont typeface="Arial" panose="020B0604020202020204" pitchFamily="34" charset="0"/>
              <a:buChar char="•"/>
              <a:defRPr sz="2200"/>
            </a:lvl4pPr>
            <a:lvl5pPr marL="1030237" indent="-225414">
              <a:buFont typeface="Calibri" panose="020F0502020204030204" pitchFamily="34" charset="0"/>
              <a:buChar cha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659099" y="284409"/>
            <a:ext cx="10873803" cy="770671"/>
          </a:xfrm>
        </p:spPr>
        <p:txBody>
          <a:bodyPr tIns="0" bIns="0"/>
          <a:lstStyle>
            <a:lvl1pPr>
              <a:defRPr sz="3200" b="1">
                <a:solidFill>
                  <a:schemeClr val="bg1"/>
                </a:solidFill>
                <a:latin typeface="+mj-lt"/>
              </a:defRPr>
            </a:lvl1pPr>
          </a:lstStyle>
          <a:p>
            <a:r>
              <a:rPr lang="en-US"/>
              <a:t>Click to edit Master title style</a:t>
            </a:r>
          </a:p>
        </p:txBody>
      </p:sp>
      <p:sp>
        <p:nvSpPr>
          <p:cNvPr id="11" name="Content Placeholder 2"/>
          <p:cNvSpPr>
            <a:spLocks noGrp="1"/>
          </p:cNvSpPr>
          <p:nvPr>
            <p:ph idx="10"/>
          </p:nvPr>
        </p:nvSpPr>
        <p:spPr>
          <a:xfrm>
            <a:off x="4324920" y="1544637"/>
            <a:ext cx="3542169" cy="4678363"/>
          </a:xfrm>
          <a:ln w="6350">
            <a:noFill/>
          </a:ln>
        </p:spPr>
        <p:txBody>
          <a:bodyPr lIns="137160" tIns="137160" rIns="137160" bIns="137160"/>
          <a:lstStyle>
            <a:lvl1pPr marL="0" indent="0">
              <a:buFontTx/>
              <a:buNone/>
              <a:defRPr sz="2200" b="0">
                <a:solidFill>
                  <a:schemeClr val="accent1"/>
                </a:solidFill>
                <a:latin typeface="+mj-lt"/>
              </a:defRPr>
            </a:lvl1pPr>
            <a:lvl2pPr marL="342882" indent="-238113">
              <a:buFont typeface="Arial" panose="020B0604020202020204" pitchFamily="34" charset="0"/>
              <a:buChar char="•"/>
              <a:defRPr sz="2200"/>
            </a:lvl2pPr>
            <a:lvl3pPr marL="579410" indent="-225414">
              <a:buFont typeface="Calibri" panose="020F0502020204030204" pitchFamily="34" charset="0"/>
              <a:buChar char="–"/>
              <a:defRPr sz="2200"/>
            </a:lvl3pPr>
            <a:lvl4pPr marL="804823" indent="-225414">
              <a:buFont typeface="Arial" panose="020B0604020202020204" pitchFamily="34" charset="0"/>
              <a:buChar char="•"/>
              <a:defRPr sz="2200"/>
            </a:lvl4pPr>
            <a:lvl5pPr marL="1030237" indent="-225414">
              <a:buFont typeface="Calibri" panose="020F0502020204030204" pitchFamily="34" charset="0"/>
              <a:buChar cha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Content Placeholder 2"/>
          <p:cNvSpPr>
            <a:spLocks noGrp="1"/>
          </p:cNvSpPr>
          <p:nvPr>
            <p:ph idx="11" hasCustomPrompt="1"/>
          </p:nvPr>
        </p:nvSpPr>
        <p:spPr>
          <a:xfrm>
            <a:off x="8232846" y="1544637"/>
            <a:ext cx="3542169" cy="4678363"/>
          </a:xfrm>
          <a:ln w="6350">
            <a:noFill/>
          </a:ln>
        </p:spPr>
        <p:txBody>
          <a:bodyPr lIns="137160" tIns="137160" rIns="137160" bIns="137160"/>
          <a:lstStyle>
            <a:lvl1pPr marL="0" indent="0">
              <a:buFontTx/>
              <a:buNone/>
              <a:defRPr sz="2200" b="0">
                <a:solidFill>
                  <a:schemeClr val="accent1"/>
                </a:solidFill>
                <a:latin typeface="+mj-lt"/>
              </a:defRPr>
            </a:lvl1pPr>
            <a:lvl2pPr marL="342882" indent="-238113">
              <a:buFont typeface="Arial" panose="020B0604020202020204" pitchFamily="34" charset="0"/>
              <a:buChar char="•"/>
              <a:defRPr sz="2200"/>
            </a:lvl2pPr>
            <a:lvl3pPr marL="579410" indent="-225414">
              <a:buFont typeface="Calibri" panose="020F0502020204030204" pitchFamily="34" charset="0"/>
              <a:buChar char="–"/>
              <a:defRPr sz="2200"/>
            </a:lvl3pPr>
            <a:lvl4pPr marL="804823" indent="-225414">
              <a:buFont typeface="Arial" panose="020B0604020202020204" pitchFamily="34" charset="0"/>
              <a:buChar char="•"/>
              <a:defRPr sz="2200"/>
            </a:lvl4pPr>
            <a:lvl5pPr marL="1030237" indent="-225414">
              <a:buFont typeface="Calibri" panose="020F0502020204030204" pitchFamily="34" charset="0"/>
              <a:buChar char="–"/>
              <a:defRPr sz="22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a:xfrm>
            <a:off x="4142035" y="1544637"/>
            <a:ext cx="0" cy="4678363"/>
          </a:xfrm>
          <a:prstGeom prst="line">
            <a:avLst/>
          </a:prstGeom>
          <a:ln w="6350" cap="sq">
            <a:solidFill>
              <a:schemeClr val="bg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8049964" y="1544637"/>
            <a:ext cx="0" cy="4678363"/>
          </a:xfrm>
          <a:prstGeom prst="line">
            <a:avLst/>
          </a:prstGeom>
          <a:ln w="6350" cap="sq">
            <a:solidFill>
              <a:schemeClr val="bg2"/>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035771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Titl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tIns="0" bIns="0"/>
          <a:lstStyle>
            <a:lvl1pPr>
              <a:defRPr>
                <a:solidFill>
                  <a:schemeClr val="tx1"/>
                </a:solidFill>
              </a:defRPr>
            </a:lvl1pPr>
          </a:lstStyle>
          <a:p>
            <a:r>
              <a:rPr lang="en-US"/>
              <a:t>Click to Edit Master Title Style</a:t>
            </a:r>
          </a:p>
        </p:txBody>
      </p:sp>
      <p:sp>
        <p:nvSpPr>
          <p:cNvPr id="4" name="Text Placeholder 3">
            <a:extLst>
              <a:ext uri="{FF2B5EF4-FFF2-40B4-BE49-F238E27FC236}">
                <a16:creationId xmlns:a16="http://schemas.microsoft.com/office/drawing/2014/main" id="{BBC369CD-873E-4B23-8215-6D6726739AB3}"/>
              </a:ext>
            </a:extLst>
          </p:cNvPr>
          <p:cNvSpPr>
            <a:spLocks noGrp="1"/>
          </p:cNvSpPr>
          <p:nvPr>
            <p:ph type="body" sz="quarter" idx="10"/>
          </p:nvPr>
        </p:nvSpPr>
        <p:spPr>
          <a:xfrm>
            <a:off x="414868" y="1545857"/>
            <a:ext cx="11362267" cy="467139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27429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6823" y="284407"/>
            <a:ext cx="11358360" cy="770670"/>
          </a:xfrm>
        </p:spPr>
        <p:txBody>
          <a:bodyPr tIns="0" bIns="0"/>
          <a:lstStyle>
            <a:lvl1pPr>
              <a:defRPr>
                <a:solidFill>
                  <a:schemeClr val="tx1"/>
                </a:solidFill>
                <a:latin typeface="+mj-lt"/>
              </a:defRPr>
            </a:lvl1pPr>
          </a:lstStyle>
          <a:p>
            <a:r>
              <a:rPr lang="en-US"/>
              <a:t>Click to Edit Master Title Style</a:t>
            </a:r>
          </a:p>
        </p:txBody>
      </p:sp>
      <p:sp>
        <p:nvSpPr>
          <p:cNvPr id="6" name="Content Placeholder 2"/>
          <p:cNvSpPr>
            <a:spLocks noGrp="1"/>
          </p:cNvSpPr>
          <p:nvPr>
            <p:ph idx="10"/>
          </p:nvPr>
        </p:nvSpPr>
        <p:spPr>
          <a:xfrm>
            <a:off x="416820" y="1544640"/>
            <a:ext cx="3543040" cy="4678362"/>
          </a:xfrm>
          <a:ln w="6350">
            <a:noFill/>
          </a:ln>
        </p:spPr>
        <p:txBody>
          <a:bodyPr lIns="137160" tIns="137160" rIns="137160" bIns="137160">
            <a:noAutofit/>
          </a:bodyPr>
          <a:lstStyle>
            <a:lvl1pPr marL="0" indent="0">
              <a:spcAft>
                <a:spcPts val="799"/>
              </a:spcAft>
              <a:buFontTx/>
              <a:buNone/>
              <a:defRPr sz="2400" b="0">
                <a:solidFill>
                  <a:schemeClr val="tx1"/>
                </a:solidFill>
                <a:latin typeface="+mj-lt"/>
              </a:defRPr>
            </a:lvl1pPr>
            <a:lvl2pPr marL="306633" indent="-245306">
              <a:spcAft>
                <a:spcPts val="799"/>
              </a:spcAft>
              <a:buFont typeface="Arial" panose="020B0604020202020204" pitchFamily="34" charset="0"/>
              <a:buChar char="•"/>
              <a:defRPr sz="1800">
                <a:solidFill>
                  <a:schemeClr val="tx1"/>
                </a:solidFill>
              </a:defRPr>
            </a:lvl2pPr>
            <a:lvl3pPr marL="537136" indent="-230504">
              <a:spcAft>
                <a:spcPts val="799"/>
              </a:spcAft>
              <a:buFont typeface="Calibri" panose="020F0502020204030204" pitchFamily="34" charset="0"/>
              <a:buChar char="–"/>
              <a:defRPr sz="1800">
                <a:solidFill>
                  <a:schemeClr val="tx1"/>
                </a:solidFill>
              </a:defRPr>
            </a:lvl3pPr>
            <a:lvl4pPr marL="757064" indent="-219930">
              <a:spcAft>
                <a:spcPts val="799"/>
              </a:spcAft>
              <a:buFont typeface="Arial" panose="020B0604020202020204" pitchFamily="34" charset="0"/>
              <a:buChar char="•"/>
              <a:defRPr sz="1800">
                <a:solidFill>
                  <a:schemeClr val="tx1"/>
                </a:solidFill>
              </a:defRPr>
            </a:lvl4pPr>
            <a:lvl5pPr marL="987568" indent="-230504">
              <a:spcAft>
                <a:spcPts val="799"/>
              </a:spcAft>
              <a:buFont typeface="Calibri" panose="020F050202020403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p:cNvSpPr>
            <a:spLocks noGrp="1"/>
          </p:cNvSpPr>
          <p:nvPr>
            <p:ph idx="11"/>
          </p:nvPr>
        </p:nvSpPr>
        <p:spPr>
          <a:xfrm>
            <a:off x="4325624" y="1544640"/>
            <a:ext cx="3542876" cy="4678362"/>
          </a:xfrm>
          <a:ln w="6350">
            <a:noFill/>
          </a:ln>
        </p:spPr>
        <p:txBody>
          <a:bodyPr lIns="137160" tIns="137160" rIns="137160" bIns="137160">
            <a:noAutofit/>
          </a:bodyPr>
          <a:lstStyle>
            <a:lvl1pPr marL="0" indent="0">
              <a:spcAft>
                <a:spcPts val="799"/>
              </a:spcAft>
              <a:buFontTx/>
              <a:buNone/>
              <a:defRPr sz="2400" b="0">
                <a:solidFill>
                  <a:schemeClr val="tx1"/>
                </a:solidFill>
                <a:latin typeface="+mj-lt"/>
              </a:defRPr>
            </a:lvl1pPr>
            <a:lvl2pPr marL="306633" indent="-245306">
              <a:spcAft>
                <a:spcPts val="799"/>
              </a:spcAft>
              <a:buFont typeface="Arial" panose="020B0604020202020204" pitchFamily="34" charset="0"/>
              <a:buChar char="•"/>
              <a:defRPr sz="1800">
                <a:solidFill>
                  <a:schemeClr val="tx1"/>
                </a:solidFill>
              </a:defRPr>
            </a:lvl2pPr>
            <a:lvl3pPr marL="537136" indent="-230504">
              <a:spcAft>
                <a:spcPts val="799"/>
              </a:spcAft>
              <a:buFont typeface="Calibri" panose="020F0502020204030204" pitchFamily="34" charset="0"/>
              <a:buChar char="–"/>
              <a:defRPr sz="1800">
                <a:solidFill>
                  <a:schemeClr val="tx1"/>
                </a:solidFill>
              </a:defRPr>
            </a:lvl3pPr>
            <a:lvl4pPr marL="757064" indent="-219930">
              <a:spcAft>
                <a:spcPts val="799"/>
              </a:spcAft>
              <a:buFont typeface="Arial" panose="020B0604020202020204" pitchFamily="34" charset="0"/>
              <a:buChar char="•"/>
              <a:defRPr sz="1800">
                <a:solidFill>
                  <a:schemeClr val="tx1"/>
                </a:solidFill>
              </a:defRPr>
            </a:lvl4pPr>
            <a:lvl5pPr marL="987568" indent="-230504">
              <a:spcAft>
                <a:spcPts val="799"/>
              </a:spcAft>
              <a:buFont typeface="Calibri" panose="020F050202020403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p:cNvSpPr>
            <a:spLocks noGrp="1"/>
          </p:cNvSpPr>
          <p:nvPr>
            <p:ph idx="12"/>
          </p:nvPr>
        </p:nvSpPr>
        <p:spPr>
          <a:xfrm>
            <a:off x="8234257" y="1544640"/>
            <a:ext cx="3540923" cy="4678362"/>
          </a:xfrm>
          <a:ln w="6350">
            <a:noFill/>
          </a:ln>
        </p:spPr>
        <p:txBody>
          <a:bodyPr lIns="137160" tIns="137160" rIns="137160" bIns="137160">
            <a:noAutofit/>
          </a:bodyPr>
          <a:lstStyle>
            <a:lvl1pPr marL="0" indent="0">
              <a:spcAft>
                <a:spcPts val="799"/>
              </a:spcAft>
              <a:buFontTx/>
              <a:buNone/>
              <a:defRPr sz="2400" b="0">
                <a:solidFill>
                  <a:schemeClr val="tx1"/>
                </a:solidFill>
                <a:latin typeface="+mj-lt"/>
              </a:defRPr>
            </a:lvl1pPr>
            <a:lvl2pPr marL="306633" indent="-245306">
              <a:spcAft>
                <a:spcPts val="799"/>
              </a:spcAft>
              <a:buFont typeface="Arial" panose="020B0604020202020204" pitchFamily="34" charset="0"/>
              <a:buChar char="•"/>
              <a:defRPr sz="1800">
                <a:solidFill>
                  <a:schemeClr val="tx1"/>
                </a:solidFill>
              </a:defRPr>
            </a:lvl2pPr>
            <a:lvl3pPr marL="537136" indent="-230504">
              <a:spcAft>
                <a:spcPts val="799"/>
              </a:spcAft>
              <a:buFont typeface="Calibri" panose="020F0502020204030204" pitchFamily="34" charset="0"/>
              <a:buChar char="–"/>
              <a:defRPr sz="1800">
                <a:solidFill>
                  <a:schemeClr val="tx1"/>
                </a:solidFill>
              </a:defRPr>
            </a:lvl3pPr>
            <a:lvl4pPr marL="757064" indent="-219930">
              <a:spcAft>
                <a:spcPts val="799"/>
              </a:spcAft>
              <a:buFont typeface="Arial" panose="020B0604020202020204" pitchFamily="34" charset="0"/>
              <a:buChar char="•"/>
              <a:defRPr sz="1800">
                <a:solidFill>
                  <a:schemeClr val="tx1"/>
                </a:solidFill>
              </a:defRPr>
            </a:lvl4pPr>
            <a:lvl5pPr marL="987568" indent="-230504">
              <a:spcAft>
                <a:spcPts val="799"/>
              </a:spcAft>
              <a:buFont typeface="Calibri" panose="020F050202020403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3" name="Straight Connector 12"/>
          <p:cNvCxnSpPr/>
          <p:nvPr userDrawn="1"/>
        </p:nvCxnSpPr>
        <p:spPr>
          <a:xfrm>
            <a:off x="4142740" y="1545857"/>
            <a:ext cx="0" cy="4671390"/>
          </a:xfrm>
          <a:prstGeom prst="line">
            <a:avLst/>
          </a:prstGeom>
          <a:ln w="6350" cap="sq">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14" name="Straight Connector 13"/>
          <p:cNvCxnSpPr/>
          <p:nvPr userDrawn="1"/>
        </p:nvCxnSpPr>
        <p:spPr>
          <a:xfrm>
            <a:off x="8051376" y="1545857"/>
            <a:ext cx="0" cy="4671390"/>
          </a:xfrm>
          <a:prstGeom prst="line">
            <a:avLst/>
          </a:prstGeom>
          <a:ln w="6350" cap="sq">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91833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itle + two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16823" y="284407"/>
            <a:ext cx="11358360" cy="770670"/>
          </a:xfrm>
        </p:spPr>
        <p:txBody>
          <a:bodyPr tIns="0" bIns="0"/>
          <a:lstStyle>
            <a:lvl1pPr>
              <a:defRPr>
                <a:solidFill>
                  <a:schemeClr val="tx1"/>
                </a:solidFill>
                <a:latin typeface="+mj-lt"/>
              </a:defRPr>
            </a:lvl1pPr>
          </a:lstStyle>
          <a:p>
            <a:r>
              <a:rPr lang="en-US"/>
              <a:t>Click to Edit Master Title Style</a:t>
            </a:r>
          </a:p>
        </p:txBody>
      </p:sp>
      <p:sp>
        <p:nvSpPr>
          <p:cNvPr id="3" name="Content Placeholder 2"/>
          <p:cNvSpPr>
            <a:spLocks noGrp="1"/>
          </p:cNvSpPr>
          <p:nvPr>
            <p:ph idx="1"/>
          </p:nvPr>
        </p:nvSpPr>
        <p:spPr>
          <a:xfrm>
            <a:off x="416824" y="1544640"/>
            <a:ext cx="5496299" cy="4678362"/>
          </a:xfrm>
          <a:ln w="6350">
            <a:noFill/>
          </a:ln>
        </p:spPr>
        <p:txBody>
          <a:bodyPr lIns="137160" tIns="137160" rIns="137160" bIns="137160">
            <a:noAutofit/>
          </a:bodyPr>
          <a:lstStyle>
            <a:lvl1pPr marL="0" indent="0">
              <a:spcAft>
                <a:spcPts val="799"/>
              </a:spcAft>
              <a:buFontTx/>
              <a:buNone/>
              <a:defRPr sz="2400" b="0">
                <a:solidFill>
                  <a:schemeClr val="tx1"/>
                </a:solidFill>
                <a:latin typeface="+mj-lt"/>
              </a:defRPr>
            </a:lvl1pPr>
            <a:lvl2pPr marL="306633" indent="-245306">
              <a:spcAft>
                <a:spcPts val="799"/>
              </a:spcAft>
              <a:buFont typeface="Arial" panose="020B0604020202020204" pitchFamily="34" charset="0"/>
              <a:buChar char="•"/>
              <a:defRPr sz="1800">
                <a:solidFill>
                  <a:schemeClr val="tx1"/>
                </a:solidFill>
              </a:defRPr>
            </a:lvl2pPr>
            <a:lvl3pPr marL="537136" indent="-230504">
              <a:spcAft>
                <a:spcPts val="799"/>
              </a:spcAft>
              <a:buFont typeface="Calibri" panose="020F0502020204030204" pitchFamily="34" charset="0"/>
              <a:buChar char="–"/>
              <a:defRPr sz="1800">
                <a:solidFill>
                  <a:schemeClr val="tx1"/>
                </a:solidFill>
              </a:defRPr>
            </a:lvl3pPr>
            <a:lvl4pPr marL="757064" indent="-219930">
              <a:spcAft>
                <a:spcPts val="799"/>
              </a:spcAft>
              <a:buFont typeface="Arial" panose="020B0604020202020204" pitchFamily="34" charset="0"/>
              <a:buChar char="•"/>
              <a:defRPr sz="1800">
                <a:solidFill>
                  <a:schemeClr val="tx1"/>
                </a:solidFill>
              </a:defRPr>
            </a:lvl4pPr>
            <a:lvl5pPr marL="987568" indent="-230504">
              <a:spcAft>
                <a:spcPts val="799"/>
              </a:spcAft>
              <a:buFont typeface="Calibri" panose="020F050202020403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p:cNvSpPr>
            <a:spLocks noGrp="1"/>
          </p:cNvSpPr>
          <p:nvPr>
            <p:ph idx="10"/>
          </p:nvPr>
        </p:nvSpPr>
        <p:spPr>
          <a:xfrm>
            <a:off x="6278882" y="1544640"/>
            <a:ext cx="5496302" cy="4678362"/>
          </a:xfrm>
          <a:ln w="6350">
            <a:noFill/>
          </a:ln>
        </p:spPr>
        <p:txBody>
          <a:bodyPr lIns="137160" tIns="137160" rIns="137160" bIns="137160">
            <a:noAutofit/>
          </a:bodyPr>
          <a:lstStyle>
            <a:lvl1pPr marL="0" indent="0">
              <a:spcAft>
                <a:spcPts val="799"/>
              </a:spcAft>
              <a:buFontTx/>
              <a:buNone/>
              <a:defRPr sz="2400" b="0">
                <a:solidFill>
                  <a:schemeClr val="tx1"/>
                </a:solidFill>
                <a:latin typeface="+mj-lt"/>
              </a:defRPr>
            </a:lvl1pPr>
            <a:lvl2pPr marL="306633" indent="-245306">
              <a:spcAft>
                <a:spcPts val="799"/>
              </a:spcAft>
              <a:buFont typeface="Arial" panose="020B0604020202020204" pitchFamily="34" charset="0"/>
              <a:buChar char="•"/>
              <a:defRPr sz="1800">
                <a:solidFill>
                  <a:schemeClr val="tx1"/>
                </a:solidFill>
              </a:defRPr>
            </a:lvl2pPr>
            <a:lvl3pPr marL="537136" indent="-230504">
              <a:spcAft>
                <a:spcPts val="799"/>
              </a:spcAft>
              <a:buFont typeface="Calibri" panose="020F0502020204030204" pitchFamily="34" charset="0"/>
              <a:buChar char="–"/>
              <a:defRPr sz="1800">
                <a:solidFill>
                  <a:schemeClr val="tx1"/>
                </a:solidFill>
              </a:defRPr>
            </a:lvl3pPr>
            <a:lvl4pPr marL="757064" indent="-219930">
              <a:spcAft>
                <a:spcPts val="799"/>
              </a:spcAft>
              <a:buFont typeface="Arial" panose="020B0604020202020204" pitchFamily="34" charset="0"/>
              <a:buChar char="•"/>
              <a:defRPr sz="1800">
                <a:solidFill>
                  <a:schemeClr val="tx1"/>
                </a:solidFill>
              </a:defRPr>
            </a:lvl4pPr>
            <a:lvl5pPr marL="987568" indent="-230504">
              <a:spcAft>
                <a:spcPts val="799"/>
              </a:spcAft>
              <a:buFont typeface="Calibri" panose="020F0502020204030204" pitchFamily="34" charset="0"/>
              <a:buChar char="–"/>
              <a:defRPr sz="1800">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7" name="Straight Connector 6"/>
          <p:cNvCxnSpPr/>
          <p:nvPr userDrawn="1"/>
        </p:nvCxnSpPr>
        <p:spPr>
          <a:xfrm>
            <a:off x="6096000" y="1545857"/>
            <a:ext cx="0" cy="4671390"/>
          </a:xfrm>
          <a:prstGeom prst="line">
            <a:avLst/>
          </a:prstGeom>
          <a:ln w="6350" cap="sq">
            <a:solidFill>
              <a:schemeClr val="tx1"/>
            </a:solidFill>
            <a:miter lim="800000"/>
            <a:headEnd type="none" w="med" len="med"/>
            <a:tailEnd type="none" w="med"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59890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Right photo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a:xfrm>
            <a:off x="685801" y="291164"/>
            <a:ext cx="5067300" cy="763921"/>
          </a:xfrm>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1" y="1512889"/>
            <a:ext cx="50673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Picture Placeholder 3">
            <a:extLst>
              <a:ext uri="{FF2B5EF4-FFF2-40B4-BE49-F238E27FC236}">
                <a16:creationId xmlns:a16="http://schemas.microsoft.com/office/drawing/2014/main" id="{43889284-6B4C-AFE6-CE03-574B90555E0D}"/>
              </a:ext>
            </a:extLst>
          </p:cNvPr>
          <p:cNvSpPr>
            <a:spLocks noGrp="1"/>
          </p:cNvSpPr>
          <p:nvPr>
            <p:ph type="pic" sz="quarter" idx="14"/>
          </p:nvPr>
        </p:nvSpPr>
        <p:spPr>
          <a:xfrm>
            <a:off x="6438901" y="0"/>
            <a:ext cx="5067300" cy="6172200"/>
          </a:xfrm>
        </p:spPr>
        <p:txBody>
          <a:bodyPr anchor="ctr"/>
          <a:lstStyle>
            <a:lvl1pPr marL="0" indent="0" algn="ctr">
              <a:buFontTx/>
              <a:buNone/>
              <a:defRPr/>
            </a:lvl1pPr>
          </a:lstStyle>
          <a:p>
            <a:r>
              <a:rPr lang="en-US"/>
              <a:t>Click icon to add picture</a:t>
            </a:r>
          </a:p>
        </p:txBody>
      </p:sp>
      <p:pic>
        <p:nvPicPr>
          <p:cNvPr id="2" name="Picture 1">
            <a:extLst>
              <a:ext uri="{FF2B5EF4-FFF2-40B4-BE49-F238E27FC236}">
                <a16:creationId xmlns:a16="http://schemas.microsoft.com/office/drawing/2014/main" id="{53F2805F-F170-780D-C0D4-69155B34D59A}"/>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10396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Title + content + logo">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512889"/>
            <a:ext cx="108204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2" name="Picture 1">
            <a:extLst>
              <a:ext uri="{FF2B5EF4-FFF2-40B4-BE49-F238E27FC236}">
                <a16:creationId xmlns:a16="http://schemas.microsoft.com/office/drawing/2014/main" id="{5042D4C2-FA8E-5C87-44DD-B79E98D1BDA7}"/>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7203" y="6355080"/>
            <a:ext cx="1306452" cy="320040"/>
          </a:xfrm>
          <a:prstGeom prst="rect">
            <a:avLst/>
          </a:prstGeom>
        </p:spPr>
      </p:pic>
    </p:spTree>
    <p:extLst>
      <p:ext uri="{BB962C8B-B14F-4D97-AF65-F5344CB8AC3E}">
        <p14:creationId xmlns:p14="http://schemas.microsoft.com/office/powerpoint/2010/main" val="1373304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obj">
  <p:cSld name="1_Title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tIns="0" bIns="0"/>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3">
            <a:extLst>
              <a:ext uri="{FF2B5EF4-FFF2-40B4-BE49-F238E27FC236}">
                <a16:creationId xmlns:a16="http://schemas.microsoft.com/office/drawing/2014/main" id="{369597A0-3473-460F-B73F-B79535986219}"/>
              </a:ext>
            </a:extLst>
          </p:cNvPr>
          <p:cNvSpPr/>
          <p:nvPr userDrawn="1"/>
        </p:nvSpPr>
        <p:spPr>
          <a:xfrm>
            <a:off x="6096000" y="2"/>
            <a:ext cx="6096000" cy="182711"/>
          </a:xfrm>
          <a:prstGeom prst="rect">
            <a:avLst/>
          </a:prstGeom>
          <a:solidFill>
            <a:schemeClr val="accent1"/>
          </a:solidFill>
          <a:ln w="12700" cap="sq">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horz" wrap="square" lIns="137160" tIns="137160" rIns="137160" bIns="137160" numCol="1" spcCol="0" rtlCol="0" fromWordArt="0" anchor="ctr" anchorCtr="0" forceAA="0" compatLnSpc="1">
            <a:prstTxWarp prst="textNoShape">
              <a:avLst/>
            </a:prstTxWarp>
            <a:noAutofit/>
          </a:bodyPr>
          <a:lstStyle/>
          <a:p>
            <a:pPr algn="ctr"/>
            <a:endParaRPr lang="en-US" sz="1800" err="1">
              <a:solidFill>
                <a:schemeClr val="bg1"/>
              </a:solidFill>
              <a:latin typeface="+mj-lt"/>
            </a:endParaRPr>
          </a:p>
        </p:txBody>
      </p:sp>
    </p:spTree>
    <p:extLst>
      <p:ext uri="{BB962C8B-B14F-4D97-AF65-F5344CB8AC3E}">
        <p14:creationId xmlns:p14="http://schemas.microsoft.com/office/powerpoint/2010/main" val="31141962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and Content- Non Bullet 2">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685800" y="1600200"/>
            <a:ext cx="10789920" cy="4434840"/>
          </a:xfrm>
        </p:spPr>
        <p:txBody>
          <a:bodyPr lIns="0" tIns="0" rIns="0" bIns="0"/>
          <a:lstStyle>
            <a:lvl1pPr marL="0" indent="0">
              <a:lnSpc>
                <a:spcPct val="110000"/>
              </a:lnSpc>
              <a:spcBef>
                <a:spcPts val="1000"/>
              </a:spcBef>
              <a:buClr>
                <a:schemeClr val="accent4"/>
              </a:buClr>
              <a:buFont typeface="Nunito Sans Light" panose="00000400000000000000" pitchFamily="2" charset="0"/>
              <a:buChar char="​"/>
              <a:defRPr b="0" i="0"/>
            </a:lvl1pPr>
            <a:lvl2pPr indent="-228600">
              <a:lnSpc>
                <a:spcPct val="110000"/>
              </a:lnSpc>
              <a:spcBef>
                <a:spcPts val="500"/>
              </a:spcBef>
              <a:defRPr b="0" i="0"/>
            </a:lvl2pPr>
            <a:lvl3pPr indent="-228600">
              <a:lnSpc>
                <a:spcPct val="110000"/>
              </a:lnSpc>
              <a:spcBef>
                <a:spcPts val="500"/>
              </a:spcBef>
              <a:defRPr b="0" i="0"/>
            </a:lvl3pPr>
            <a:lvl4pPr indent="-228600">
              <a:lnSpc>
                <a:spcPct val="110000"/>
              </a:lnSpc>
              <a:spcBef>
                <a:spcPts val="500"/>
              </a:spcBef>
              <a:defRPr b="0" i="0"/>
            </a:lvl4pPr>
            <a:lvl5pPr indent="-228600">
              <a:lnSpc>
                <a:spcPct val="110000"/>
              </a:lnSpc>
              <a:spcBef>
                <a:spcPts val="500"/>
              </a:spcBef>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hidden="1">
            <a:extLst>
              <a:ext uri="{FF2B5EF4-FFF2-40B4-BE49-F238E27FC236}">
                <a16:creationId xmlns:a16="http://schemas.microsoft.com/office/drawing/2014/main" id="{720C0D47-1CC2-754B-A523-1B956CB2F3B5}"/>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5" name="Footer Placeholder 4" hidden="1">
            <a:extLst>
              <a:ext uri="{FF2B5EF4-FFF2-40B4-BE49-F238E27FC236}">
                <a16:creationId xmlns:a16="http://schemas.microsoft.com/office/drawing/2014/main" id="{FC63ABB2-39B0-DE4F-956C-7B510C56AF4D}"/>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7" name="Layout Protection area" hidden="1">
            <a:extLst>
              <a:ext uri="{FF2B5EF4-FFF2-40B4-BE49-F238E27FC236}">
                <a16:creationId xmlns:a16="http://schemas.microsoft.com/office/drawing/2014/main" id="{4DC7E974-E6F3-4CB5-8D56-D8D1157C0E73}"/>
              </a:ext>
            </a:extLst>
          </p:cNvPr>
          <p:cNvSpPr/>
          <p:nvPr userDrawn="1">
            <p:custDataLst>
              <p:tags r:id="rId1"/>
            </p:custDataLst>
          </p:nvPr>
        </p:nvSpPr>
        <p:spPr>
          <a:xfrm>
            <a:off x="664420" y="1572242"/>
            <a:ext cx="10841780" cy="449963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9" name="Logo protection area" hidden="1">
            <a:extLst>
              <a:ext uri="{FF2B5EF4-FFF2-40B4-BE49-F238E27FC236}">
                <a16:creationId xmlns:a16="http://schemas.microsoft.com/office/drawing/2014/main" id="{FF6DCC66-8529-4515-A2A6-FC5326C4A9CF}"/>
              </a:ext>
            </a:extLst>
          </p:cNvPr>
          <p:cNvSpPr/>
          <p:nvPr userDrawn="1">
            <p:custDataLst>
              <p:tags r:id="rId2"/>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6" name="Slide Number Placeholder 5">
            <a:extLst>
              <a:ext uri="{FF2B5EF4-FFF2-40B4-BE49-F238E27FC236}">
                <a16:creationId xmlns:a16="http://schemas.microsoft.com/office/drawing/2014/main" id="{36465858-F858-7244-80D8-C8C8C6C8718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110387238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T&amp;L divider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485355A-452D-2D14-9963-AB23D646FDEA}"/>
              </a:ext>
            </a:extLst>
          </p:cNvPr>
          <p:cNvSpPr/>
          <p:nvPr userDrawn="1"/>
        </p:nvSpPr>
        <p:spPr>
          <a:xfrm>
            <a:off x="6440424" y="-3"/>
            <a:ext cx="5751576" cy="68580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2" y="2198690"/>
            <a:ext cx="5067300" cy="3973511"/>
          </a:xfrm>
        </p:spPr>
        <p:txBody>
          <a:bodyPr anchor="t" anchorCtr="0"/>
          <a:lstStyle>
            <a:lvl1pPr>
              <a:defRPr sz="4800"/>
            </a:lvl1pPr>
          </a:lstStyle>
          <a:p>
            <a:r>
              <a:rPr lang="en-US"/>
              <a:t>Click to edit Master title style</a:t>
            </a:r>
          </a:p>
        </p:txBody>
      </p:sp>
      <p:sp>
        <p:nvSpPr>
          <p:cNvPr id="15" name="Rectangle 14">
            <a:extLst>
              <a:ext uri="{FF2B5EF4-FFF2-40B4-BE49-F238E27FC236}">
                <a16:creationId xmlns:a16="http://schemas.microsoft.com/office/drawing/2014/main" id="{78EB67E5-80B8-5779-08EC-DAC38499FDE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tx1"/>
                </a:solidFill>
                <a:effectLst/>
                <a:uLnTx/>
                <a:uFillTx/>
                <a:latin typeface="+mn-lt"/>
                <a:ea typeface="Roboto" panose="02000000000000000000" pitchFamily="2" charset="0"/>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Roboto" panose="02000000000000000000" pitchFamily="2" charset="0"/>
            </a:endParaRPr>
          </a:p>
        </p:txBody>
      </p:sp>
      <p:sp>
        <p:nvSpPr>
          <p:cNvPr id="3" name="Rectangle 2">
            <a:extLst>
              <a:ext uri="{FF2B5EF4-FFF2-40B4-BE49-F238E27FC236}">
                <a16:creationId xmlns:a16="http://schemas.microsoft.com/office/drawing/2014/main" id="{436E92FE-3C42-59FA-2364-BB649C7DA9A1}"/>
              </a:ext>
            </a:extLst>
          </p:cNvPr>
          <p:cNvSpPr/>
          <p:nvPr userDrawn="1"/>
        </p:nvSpPr>
        <p:spPr>
          <a:xfrm>
            <a:off x="6779957" y="0"/>
            <a:ext cx="1143000" cy="1512888"/>
          </a:xfrm>
          <a:prstGeom prst="rect">
            <a:avLst/>
          </a:prstGeom>
          <a:solidFill>
            <a:srgbClr val="5BC6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4" name="Rectangle 3">
            <a:extLst>
              <a:ext uri="{FF2B5EF4-FFF2-40B4-BE49-F238E27FC236}">
                <a16:creationId xmlns:a16="http://schemas.microsoft.com/office/drawing/2014/main" id="{7C2F88DC-CA70-140F-F32D-CAADDD54815F}"/>
              </a:ext>
            </a:extLst>
          </p:cNvPr>
          <p:cNvSpPr/>
          <p:nvPr userDrawn="1"/>
        </p:nvSpPr>
        <p:spPr>
          <a:xfrm>
            <a:off x="8020049" y="3701145"/>
            <a:ext cx="1828800" cy="3156857"/>
          </a:xfrm>
          <a:prstGeom prst="rect">
            <a:avLst/>
          </a:prstGeom>
          <a:solidFill>
            <a:srgbClr val="0090A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5" name="Rectangle 4">
            <a:extLst>
              <a:ext uri="{FF2B5EF4-FFF2-40B4-BE49-F238E27FC236}">
                <a16:creationId xmlns:a16="http://schemas.microsoft.com/office/drawing/2014/main" id="{7E98F9A4-CF8B-120B-A632-32761E91AD67}"/>
              </a:ext>
            </a:extLst>
          </p:cNvPr>
          <p:cNvSpPr/>
          <p:nvPr userDrawn="1"/>
        </p:nvSpPr>
        <p:spPr>
          <a:xfrm>
            <a:off x="10039348" y="1282701"/>
            <a:ext cx="914400" cy="5575300"/>
          </a:xfrm>
          <a:prstGeom prst="rect">
            <a:avLst/>
          </a:prstGeom>
          <a:solidFill>
            <a:srgbClr val="004C6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pic>
        <p:nvPicPr>
          <p:cNvPr id="6" name="Picture 5" descr="A picture containing graphical user interface&#10;&#10;Description automatically generated">
            <a:extLst>
              <a:ext uri="{FF2B5EF4-FFF2-40B4-BE49-F238E27FC236}">
                <a16:creationId xmlns:a16="http://schemas.microsoft.com/office/drawing/2014/main" id="{45890875-1CAA-EEA2-2425-65A44EF0453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9348" y="1282701"/>
            <a:ext cx="914400" cy="5575300"/>
          </a:xfrm>
          <a:prstGeom prst="rect">
            <a:avLst/>
          </a:prstGeom>
        </p:spPr>
      </p:pic>
      <p:pic>
        <p:nvPicPr>
          <p:cNvPr id="7" name="Picture 6" descr="A picture containing graphical user interface&#10;&#10;Description automatically generated">
            <a:extLst>
              <a:ext uri="{FF2B5EF4-FFF2-40B4-BE49-F238E27FC236}">
                <a16:creationId xmlns:a16="http://schemas.microsoft.com/office/drawing/2014/main" id="{E6EE47F9-1E53-D1E0-3F09-C282DD9913E3}"/>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8020051" y="3701144"/>
            <a:ext cx="1828800" cy="3156857"/>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00AE9690-C166-7EE7-0289-7EBE14C3767E}"/>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6779957" y="2"/>
            <a:ext cx="1143000" cy="1512887"/>
          </a:xfrm>
          <a:prstGeom prst="rect">
            <a:avLst/>
          </a:prstGeom>
        </p:spPr>
      </p:pic>
    </p:spTree>
    <p:extLst>
      <p:ext uri="{BB962C8B-B14F-4D97-AF65-F5344CB8AC3E}">
        <p14:creationId xmlns:p14="http://schemas.microsoft.com/office/powerpoint/2010/main" val="185368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Photo title slid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92996602-828D-4E77-655E-78FEC497DCA2}"/>
              </a:ext>
            </a:extLst>
          </p:cNvPr>
          <p:cNvSpPr/>
          <p:nvPr userDrawn="1"/>
        </p:nvSpPr>
        <p:spPr>
          <a:xfrm>
            <a:off x="6438901" y="0"/>
            <a:ext cx="57531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Text Placeholder 6">
            <a:extLst>
              <a:ext uri="{FF2B5EF4-FFF2-40B4-BE49-F238E27FC236}">
                <a16:creationId xmlns:a16="http://schemas.microsoft.com/office/drawing/2014/main" id="{7514AC55-CCE4-CC4A-B2D5-37A308296AE3}"/>
              </a:ext>
            </a:extLst>
          </p:cNvPr>
          <p:cNvSpPr>
            <a:spLocks noGrp="1"/>
          </p:cNvSpPr>
          <p:nvPr>
            <p:ph type="body" sz="quarter" idx="15"/>
          </p:nvPr>
        </p:nvSpPr>
        <p:spPr>
          <a:xfrm>
            <a:off x="685801" y="4803141"/>
            <a:ext cx="4724400" cy="1371600"/>
          </a:xfrm>
          <a:noFill/>
        </p:spPr>
        <p:txBody>
          <a:bodyPr lIns="0" tIns="0" rIns="0" bIns="0">
            <a:normAutofit/>
          </a:bodyPr>
          <a:lstStyle>
            <a:lvl1pPr marL="0" indent="0">
              <a:buNone/>
              <a:defRPr sz="1800" b="0" i="0" baseline="0">
                <a:solidFill>
                  <a:schemeClr val="tx1"/>
                </a:solidFill>
                <a:latin typeface="+mn-lt"/>
              </a:defRPr>
            </a:lvl1pPr>
            <a:lvl2pPr marL="0" indent="0">
              <a:spcBef>
                <a:spcPts val="50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13">
            <a:extLst>
              <a:ext uri="{FF2B5EF4-FFF2-40B4-BE49-F238E27FC236}">
                <a16:creationId xmlns:a16="http://schemas.microsoft.com/office/drawing/2014/main" id="{AA1EFF29-0E02-914A-BECC-F55754ACA032}"/>
              </a:ext>
            </a:extLst>
          </p:cNvPr>
          <p:cNvSpPr>
            <a:spLocks noGrp="1"/>
          </p:cNvSpPr>
          <p:nvPr>
            <p:ph type="body" sz="quarter" idx="13"/>
          </p:nvPr>
        </p:nvSpPr>
        <p:spPr>
          <a:xfrm>
            <a:off x="685801" y="1512888"/>
            <a:ext cx="4724400" cy="3107373"/>
          </a:xfrm>
        </p:spPr>
        <p:txBody>
          <a:bodyPr lIns="0" tIns="0" rIns="0" bIns="0" anchor="b" anchorCtr="0">
            <a:normAutofit/>
          </a:bodyPr>
          <a:lstStyle>
            <a:lvl1pPr marL="0" indent="0">
              <a:lnSpc>
                <a:spcPct val="90000"/>
              </a:lnSpc>
              <a:spcBef>
                <a:spcPts val="0"/>
              </a:spcBef>
              <a:spcAft>
                <a:spcPts val="0"/>
              </a:spcAft>
              <a:buFontTx/>
              <a:buNone/>
              <a:defRPr sz="4800" b="0" i="0" baseline="0">
                <a:solidFill>
                  <a:schemeClr val="tx1"/>
                </a:solidFill>
                <a:latin typeface="+mj-lt"/>
                <a:ea typeface="Roboto Slab Light" pitchFamily="2"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Click to edit Master text styles</a:t>
            </a:r>
          </a:p>
        </p:txBody>
      </p:sp>
      <p:sp>
        <p:nvSpPr>
          <p:cNvPr id="4" name="Picture Placeholder 3">
            <a:extLst>
              <a:ext uri="{FF2B5EF4-FFF2-40B4-BE49-F238E27FC236}">
                <a16:creationId xmlns:a16="http://schemas.microsoft.com/office/drawing/2014/main" id="{33387562-FA2E-402B-281C-C4017776469C}"/>
              </a:ext>
            </a:extLst>
          </p:cNvPr>
          <p:cNvSpPr>
            <a:spLocks noGrp="1"/>
          </p:cNvSpPr>
          <p:nvPr>
            <p:ph type="pic" sz="quarter" idx="16"/>
          </p:nvPr>
        </p:nvSpPr>
        <p:spPr>
          <a:xfrm>
            <a:off x="6096001" y="685802"/>
            <a:ext cx="4495795" cy="5488940"/>
          </a:xfrm>
        </p:spPr>
        <p:txBody>
          <a:bodyPr anchor="ctr">
            <a:normAutofit/>
          </a:bodyPr>
          <a:lstStyle>
            <a:lvl1pPr marL="0" indent="0" algn="ctr">
              <a:buFontTx/>
              <a:buNone/>
              <a:defRPr sz="2800">
                <a:solidFill>
                  <a:schemeClr val="bg1"/>
                </a:solidFill>
              </a:defRPr>
            </a:lvl1pPr>
          </a:lstStyle>
          <a:p>
            <a:r>
              <a:rPr lang="en-US"/>
              <a:t>Click icon to add picture</a:t>
            </a:r>
          </a:p>
        </p:txBody>
      </p:sp>
      <p:pic>
        <p:nvPicPr>
          <p:cNvPr id="2" name="Picture 1">
            <a:extLst>
              <a:ext uri="{FF2B5EF4-FFF2-40B4-BE49-F238E27FC236}">
                <a16:creationId xmlns:a16="http://schemas.microsoft.com/office/drawing/2014/main" id="{EE56CC36-C49C-E19D-9390-CD6DE4BE7466}"/>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8416" y="685801"/>
            <a:ext cx="2436637" cy="596900"/>
          </a:xfrm>
          <a:prstGeom prst="rect">
            <a:avLst/>
          </a:prstGeom>
        </p:spPr>
      </p:pic>
      <p:sp>
        <p:nvSpPr>
          <p:cNvPr id="3" name="Rectangle 2">
            <a:extLst>
              <a:ext uri="{FF2B5EF4-FFF2-40B4-BE49-F238E27FC236}">
                <a16:creationId xmlns:a16="http://schemas.microsoft.com/office/drawing/2014/main" id="{C8100CEA-A0B7-B29F-A351-297278002686}"/>
              </a:ext>
            </a:extLst>
          </p:cNvPr>
          <p:cNvSpPr/>
          <p:nvPr userDrawn="1"/>
        </p:nvSpPr>
        <p:spPr>
          <a:xfrm flipH="1" flipV="1">
            <a:off x="11826240" y="4000499"/>
            <a:ext cx="365760" cy="2857500"/>
          </a:xfrm>
          <a:prstGeom prst="rect">
            <a:avLst/>
          </a:prstGeom>
          <a:solidFill>
            <a:srgbClr val="F7934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 name="Rectangle 4">
            <a:extLst>
              <a:ext uri="{FF2B5EF4-FFF2-40B4-BE49-F238E27FC236}">
                <a16:creationId xmlns:a16="http://schemas.microsoft.com/office/drawing/2014/main" id="{B34B7DC5-86C6-5710-3A34-8B1461F6512E}"/>
              </a:ext>
            </a:extLst>
          </p:cNvPr>
          <p:cNvSpPr/>
          <p:nvPr userDrawn="1"/>
        </p:nvSpPr>
        <p:spPr>
          <a:xfrm flipH="1" flipV="1">
            <a:off x="10934695" y="2271252"/>
            <a:ext cx="731520" cy="4586747"/>
          </a:xfrm>
          <a:prstGeom prst="rect">
            <a:avLst/>
          </a:prstGeom>
          <a:solidFill>
            <a:srgbClr val="B864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6" name="Picture 5" descr="Background pattern&#10;&#10;Description automatically generated">
            <a:extLst>
              <a:ext uri="{FF2B5EF4-FFF2-40B4-BE49-F238E27FC236}">
                <a16:creationId xmlns:a16="http://schemas.microsoft.com/office/drawing/2014/main" id="{3322DAC8-267B-64FE-2FE2-D167DF66133B}"/>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1826240" y="4000499"/>
            <a:ext cx="365760" cy="2857501"/>
          </a:xfrm>
          <a:prstGeom prst="rect">
            <a:avLst/>
          </a:prstGeom>
        </p:spPr>
      </p:pic>
      <p:pic>
        <p:nvPicPr>
          <p:cNvPr id="7" name="Picture 6" descr="Background pattern&#10;&#10;Description automatically generated">
            <a:extLst>
              <a:ext uri="{FF2B5EF4-FFF2-40B4-BE49-F238E27FC236}">
                <a16:creationId xmlns:a16="http://schemas.microsoft.com/office/drawing/2014/main" id="{EC18659E-294C-0EF6-2835-519911D3B88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10934695" y="2271251"/>
            <a:ext cx="731520" cy="4586749"/>
          </a:xfrm>
          <a:prstGeom prst="rect">
            <a:avLst/>
          </a:prstGeom>
        </p:spPr>
      </p:pic>
    </p:spTree>
    <p:extLst>
      <p:ext uri="{BB962C8B-B14F-4D97-AF65-F5344CB8AC3E}">
        <p14:creationId xmlns:p14="http://schemas.microsoft.com/office/powerpoint/2010/main" val="131843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Half photo title slid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92996602-828D-4E77-655E-78FEC497DCA2}"/>
              </a:ext>
            </a:extLst>
          </p:cNvPr>
          <p:cNvSpPr/>
          <p:nvPr userDrawn="1"/>
        </p:nvSpPr>
        <p:spPr>
          <a:xfrm>
            <a:off x="6438901" y="0"/>
            <a:ext cx="57531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Picture Placeholder 3">
            <a:extLst>
              <a:ext uri="{FF2B5EF4-FFF2-40B4-BE49-F238E27FC236}">
                <a16:creationId xmlns:a16="http://schemas.microsoft.com/office/drawing/2014/main" id="{33387562-FA2E-402B-281C-C4017776469C}"/>
              </a:ext>
            </a:extLst>
          </p:cNvPr>
          <p:cNvSpPr>
            <a:spLocks noGrp="1"/>
          </p:cNvSpPr>
          <p:nvPr>
            <p:ph type="pic" sz="quarter" idx="16"/>
          </p:nvPr>
        </p:nvSpPr>
        <p:spPr>
          <a:xfrm>
            <a:off x="6438901" y="0"/>
            <a:ext cx="5753100" cy="6858000"/>
          </a:xfrm>
        </p:spPr>
        <p:txBody>
          <a:bodyPr anchor="ctr">
            <a:normAutofit/>
          </a:bodyPr>
          <a:lstStyle>
            <a:lvl1pPr marL="0" indent="0" algn="ctr">
              <a:buFontTx/>
              <a:buNone/>
              <a:defRPr sz="2800">
                <a:solidFill>
                  <a:schemeClr val="tx1"/>
                </a:solidFill>
              </a:defRPr>
            </a:lvl1pPr>
          </a:lstStyle>
          <a:p>
            <a:r>
              <a:rPr lang="en-US"/>
              <a:t>Click icon to add picture</a:t>
            </a:r>
          </a:p>
        </p:txBody>
      </p:sp>
      <p:sp>
        <p:nvSpPr>
          <p:cNvPr id="13" name="Text Placeholder 6">
            <a:extLst>
              <a:ext uri="{FF2B5EF4-FFF2-40B4-BE49-F238E27FC236}">
                <a16:creationId xmlns:a16="http://schemas.microsoft.com/office/drawing/2014/main" id="{7514AC55-CCE4-CC4A-B2D5-37A308296AE3}"/>
              </a:ext>
            </a:extLst>
          </p:cNvPr>
          <p:cNvSpPr>
            <a:spLocks noGrp="1"/>
          </p:cNvSpPr>
          <p:nvPr>
            <p:ph type="body" sz="quarter" idx="15"/>
          </p:nvPr>
        </p:nvSpPr>
        <p:spPr>
          <a:xfrm>
            <a:off x="685802" y="4803141"/>
            <a:ext cx="5067300" cy="1371600"/>
          </a:xfrm>
          <a:noFill/>
        </p:spPr>
        <p:txBody>
          <a:bodyPr lIns="0" tIns="0" rIns="0" bIns="0">
            <a:normAutofit/>
          </a:bodyPr>
          <a:lstStyle>
            <a:lvl1pPr marL="0" indent="0">
              <a:buNone/>
              <a:defRPr sz="1800" b="0" i="0" baseline="0">
                <a:solidFill>
                  <a:schemeClr val="tx1"/>
                </a:solidFill>
                <a:latin typeface="+mn-lt"/>
              </a:defRPr>
            </a:lvl1pPr>
            <a:lvl2pPr marL="0" indent="0">
              <a:spcBef>
                <a:spcPts val="50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13">
            <a:extLst>
              <a:ext uri="{FF2B5EF4-FFF2-40B4-BE49-F238E27FC236}">
                <a16:creationId xmlns:a16="http://schemas.microsoft.com/office/drawing/2014/main" id="{AA1EFF29-0E02-914A-BECC-F55754ACA032}"/>
              </a:ext>
            </a:extLst>
          </p:cNvPr>
          <p:cNvSpPr>
            <a:spLocks noGrp="1"/>
          </p:cNvSpPr>
          <p:nvPr>
            <p:ph type="body" sz="quarter" idx="13"/>
          </p:nvPr>
        </p:nvSpPr>
        <p:spPr>
          <a:xfrm>
            <a:off x="685802" y="1512888"/>
            <a:ext cx="5067300" cy="3107373"/>
          </a:xfrm>
        </p:spPr>
        <p:txBody>
          <a:bodyPr lIns="0" tIns="0" rIns="0" bIns="0" anchor="b" anchorCtr="0">
            <a:normAutofit/>
          </a:bodyPr>
          <a:lstStyle>
            <a:lvl1pPr marL="0" indent="0">
              <a:lnSpc>
                <a:spcPct val="90000"/>
              </a:lnSpc>
              <a:spcBef>
                <a:spcPts val="0"/>
              </a:spcBef>
              <a:spcAft>
                <a:spcPts val="0"/>
              </a:spcAft>
              <a:buFontTx/>
              <a:buNone/>
              <a:defRPr sz="4800" b="0" i="0" baseline="0">
                <a:solidFill>
                  <a:schemeClr val="tx1"/>
                </a:solidFill>
                <a:latin typeface="+mj-lt"/>
                <a:ea typeface="Roboto Slab Light" pitchFamily="2"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Click to edit Master text styles</a:t>
            </a:r>
          </a:p>
        </p:txBody>
      </p:sp>
      <p:pic>
        <p:nvPicPr>
          <p:cNvPr id="2" name="Picture 1">
            <a:extLst>
              <a:ext uri="{FF2B5EF4-FFF2-40B4-BE49-F238E27FC236}">
                <a16:creationId xmlns:a16="http://schemas.microsoft.com/office/drawing/2014/main" id="{C151300F-00DF-7569-C77C-57EAF3B434F1}"/>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8416" y="685801"/>
            <a:ext cx="2436637" cy="596900"/>
          </a:xfrm>
          <a:prstGeom prst="rect">
            <a:avLst/>
          </a:prstGeom>
        </p:spPr>
      </p:pic>
    </p:spTree>
    <p:extLst>
      <p:ext uri="{BB962C8B-B14F-4D97-AF65-F5344CB8AC3E}">
        <p14:creationId xmlns:p14="http://schemas.microsoft.com/office/powerpoint/2010/main" val="2586156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92996602-828D-4E77-655E-78FEC497DCA2}"/>
              </a:ext>
            </a:extLst>
          </p:cNvPr>
          <p:cNvSpPr/>
          <p:nvPr userDrawn="1"/>
        </p:nvSpPr>
        <p:spPr>
          <a:xfrm>
            <a:off x="6438901" y="0"/>
            <a:ext cx="57531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Text Placeholder 6">
            <a:extLst>
              <a:ext uri="{FF2B5EF4-FFF2-40B4-BE49-F238E27FC236}">
                <a16:creationId xmlns:a16="http://schemas.microsoft.com/office/drawing/2014/main" id="{7514AC55-CCE4-CC4A-B2D5-37A308296AE3}"/>
              </a:ext>
            </a:extLst>
          </p:cNvPr>
          <p:cNvSpPr>
            <a:spLocks noGrp="1"/>
          </p:cNvSpPr>
          <p:nvPr>
            <p:ph type="body" sz="quarter" idx="15"/>
          </p:nvPr>
        </p:nvSpPr>
        <p:spPr>
          <a:xfrm>
            <a:off x="685802" y="4803141"/>
            <a:ext cx="5067300" cy="1371600"/>
          </a:xfrm>
          <a:noFill/>
        </p:spPr>
        <p:txBody>
          <a:bodyPr lIns="0" tIns="0" rIns="0" bIns="0">
            <a:normAutofit/>
          </a:bodyPr>
          <a:lstStyle>
            <a:lvl1pPr marL="0" indent="0">
              <a:buNone/>
              <a:defRPr sz="1800" b="0" i="0" baseline="0">
                <a:solidFill>
                  <a:schemeClr val="tx1"/>
                </a:solidFill>
                <a:latin typeface="+mn-lt"/>
              </a:defRPr>
            </a:lvl1pPr>
            <a:lvl2pPr marL="0" indent="0">
              <a:spcBef>
                <a:spcPts val="500"/>
              </a:spcBef>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13">
            <a:extLst>
              <a:ext uri="{FF2B5EF4-FFF2-40B4-BE49-F238E27FC236}">
                <a16:creationId xmlns:a16="http://schemas.microsoft.com/office/drawing/2014/main" id="{AA1EFF29-0E02-914A-BECC-F55754ACA032}"/>
              </a:ext>
            </a:extLst>
          </p:cNvPr>
          <p:cNvSpPr>
            <a:spLocks noGrp="1"/>
          </p:cNvSpPr>
          <p:nvPr>
            <p:ph type="body" sz="quarter" idx="13"/>
          </p:nvPr>
        </p:nvSpPr>
        <p:spPr>
          <a:xfrm>
            <a:off x="685802" y="1512888"/>
            <a:ext cx="5067300" cy="3107373"/>
          </a:xfrm>
        </p:spPr>
        <p:txBody>
          <a:bodyPr lIns="0" tIns="0" rIns="0" bIns="0" anchor="b" anchorCtr="0">
            <a:normAutofit/>
          </a:bodyPr>
          <a:lstStyle>
            <a:lvl1pPr marL="0" indent="0">
              <a:lnSpc>
                <a:spcPct val="90000"/>
              </a:lnSpc>
              <a:spcBef>
                <a:spcPts val="0"/>
              </a:spcBef>
              <a:spcAft>
                <a:spcPts val="0"/>
              </a:spcAft>
              <a:buFontTx/>
              <a:buNone/>
              <a:defRPr sz="4800" b="0" i="0" baseline="0">
                <a:solidFill>
                  <a:schemeClr val="tx1"/>
                </a:solidFill>
                <a:latin typeface="+mj-lt"/>
                <a:ea typeface="Roboto Slab Light" pitchFamily="2" charset="0"/>
              </a:defRPr>
            </a:lvl1pPr>
            <a:lvl2pPr marL="457189" indent="0">
              <a:buFontTx/>
              <a:buNone/>
              <a:defRPr/>
            </a:lvl2pPr>
            <a:lvl3pPr marL="914377" indent="0">
              <a:buFontTx/>
              <a:buNone/>
              <a:defRPr/>
            </a:lvl3pPr>
            <a:lvl4pPr marL="1371566" indent="0">
              <a:buFontTx/>
              <a:buNone/>
              <a:defRPr/>
            </a:lvl4pPr>
            <a:lvl5pPr marL="1828754" indent="0">
              <a:buFontTx/>
              <a:buNone/>
              <a:defRPr/>
            </a:lvl5pPr>
          </a:lstStyle>
          <a:p>
            <a:pPr lvl="0"/>
            <a:r>
              <a:rPr lang="en-US"/>
              <a:t>Click to edit Master text styles</a:t>
            </a:r>
          </a:p>
        </p:txBody>
      </p:sp>
      <p:pic>
        <p:nvPicPr>
          <p:cNvPr id="2" name="Picture 1">
            <a:extLst>
              <a:ext uri="{FF2B5EF4-FFF2-40B4-BE49-F238E27FC236}">
                <a16:creationId xmlns:a16="http://schemas.microsoft.com/office/drawing/2014/main" id="{3C5C646F-516A-CA30-3B41-F2703C2B51A6}"/>
              </a:ext>
            </a:extLst>
          </p:cNvPr>
          <p:cNvPicPr>
            <a:picLocks noChangeAspect="1"/>
          </p:cNvPicPr>
          <p:nvPr userDrawn="1"/>
        </p:nvPicPr>
        <p:blipFill>
          <a:blip r:embed="rId2" cstate="hqprint">
            <a:extLst>
              <a:ext uri="{28A0092B-C50C-407E-A947-70E740481C1C}">
                <a14:useLocalDpi xmlns:a14="http://schemas.microsoft.com/office/drawing/2010/main"/>
              </a:ext>
            </a:extLst>
          </a:blip>
          <a:srcRect/>
          <a:stretch/>
        </p:blipFill>
        <p:spPr>
          <a:xfrm>
            <a:off x="688416" y="685801"/>
            <a:ext cx="2436637" cy="596900"/>
          </a:xfrm>
          <a:prstGeom prst="rect">
            <a:avLst/>
          </a:prstGeom>
        </p:spPr>
      </p:pic>
      <p:sp>
        <p:nvSpPr>
          <p:cNvPr id="3" name="Rectangle 2">
            <a:extLst>
              <a:ext uri="{FF2B5EF4-FFF2-40B4-BE49-F238E27FC236}">
                <a16:creationId xmlns:a16="http://schemas.microsoft.com/office/drawing/2014/main" id="{A831C0E9-0CDF-434C-E181-3B83494DC333}"/>
              </a:ext>
            </a:extLst>
          </p:cNvPr>
          <p:cNvSpPr/>
          <p:nvPr userDrawn="1"/>
        </p:nvSpPr>
        <p:spPr>
          <a:xfrm>
            <a:off x="7234919" y="3679371"/>
            <a:ext cx="1722664" cy="3178629"/>
          </a:xfrm>
          <a:prstGeom prst="rect">
            <a:avLst/>
          </a:prstGeom>
          <a:solidFill>
            <a:srgbClr val="F0533F"/>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4" name="Rectangle 3">
            <a:extLst>
              <a:ext uri="{FF2B5EF4-FFF2-40B4-BE49-F238E27FC236}">
                <a16:creationId xmlns:a16="http://schemas.microsoft.com/office/drawing/2014/main" id="{44694645-A628-E1B1-657B-AD929067281B}"/>
              </a:ext>
            </a:extLst>
          </p:cNvPr>
          <p:cNvSpPr/>
          <p:nvPr userDrawn="1"/>
        </p:nvSpPr>
        <p:spPr>
          <a:xfrm>
            <a:off x="10858499" y="1282701"/>
            <a:ext cx="914400" cy="5575300"/>
          </a:xfrm>
          <a:prstGeom prst="rect">
            <a:avLst/>
          </a:prstGeom>
          <a:solidFill>
            <a:srgbClr val="AA7FB8"/>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5" name="Rectangle 4">
            <a:extLst>
              <a:ext uri="{FF2B5EF4-FFF2-40B4-BE49-F238E27FC236}">
                <a16:creationId xmlns:a16="http://schemas.microsoft.com/office/drawing/2014/main" id="{ED702FA6-B11C-4978-DCAD-C137FDF571E9}"/>
              </a:ext>
            </a:extLst>
          </p:cNvPr>
          <p:cNvSpPr/>
          <p:nvPr userDrawn="1"/>
        </p:nvSpPr>
        <p:spPr>
          <a:xfrm>
            <a:off x="9753600" y="4245429"/>
            <a:ext cx="914400" cy="2612571"/>
          </a:xfrm>
          <a:prstGeom prst="rect">
            <a:avLst/>
          </a:prstGeom>
          <a:solidFill>
            <a:srgbClr val="F7934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pic>
        <p:nvPicPr>
          <p:cNvPr id="6" name="Picture 5" descr="Background pattern&#10;&#10;Description automatically generated">
            <a:extLst>
              <a:ext uri="{FF2B5EF4-FFF2-40B4-BE49-F238E27FC236}">
                <a16:creationId xmlns:a16="http://schemas.microsoft.com/office/drawing/2014/main" id="{FB073E5E-15E2-D608-B52B-02EDB72824DD}"/>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9753600" y="4245429"/>
            <a:ext cx="914400" cy="2612571"/>
          </a:xfrm>
          <a:prstGeom prst="rect">
            <a:avLst/>
          </a:prstGeom>
        </p:spPr>
      </p:pic>
      <p:pic>
        <p:nvPicPr>
          <p:cNvPr id="7" name="Picture 6" descr="A picture containing chart&#10;&#10;Description automatically generated">
            <a:extLst>
              <a:ext uri="{FF2B5EF4-FFF2-40B4-BE49-F238E27FC236}">
                <a16:creationId xmlns:a16="http://schemas.microsoft.com/office/drawing/2014/main" id="{0F79EF1D-631E-0AD2-4AE8-07EF2468F672}"/>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10858499" y="1282701"/>
            <a:ext cx="914400" cy="5575300"/>
          </a:xfrm>
          <a:prstGeom prst="rect">
            <a:avLst/>
          </a:prstGeom>
        </p:spPr>
      </p:pic>
      <p:pic>
        <p:nvPicPr>
          <p:cNvPr id="8" name="Picture 7" descr="Chart&#10;&#10;Description automatically generated">
            <a:extLst>
              <a:ext uri="{FF2B5EF4-FFF2-40B4-BE49-F238E27FC236}">
                <a16:creationId xmlns:a16="http://schemas.microsoft.com/office/drawing/2014/main" id="{2BDF30B3-01A4-D7F4-385E-533014E6FDB3}"/>
              </a:ext>
            </a:extLst>
          </p:cNvPr>
          <p:cNvPicPr>
            <a:picLocks noChangeAspect="1"/>
          </p:cNvPicPr>
          <p:nvPr userDrawn="1"/>
        </p:nvPicPr>
        <p:blipFill rotWithShape="1">
          <a:blip r:embed="rId5" cstate="hqprint">
            <a:extLst>
              <a:ext uri="{28A0092B-C50C-407E-A947-70E740481C1C}">
                <a14:useLocalDpi xmlns:a14="http://schemas.microsoft.com/office/drawing/2010/main"/>
              </a:ext>
            </a:extLst>
          </a:blip>
          <a:srcRect/>
          <a:stretch/>
        </p:blipFill>
        <p:spPr>
          <a:xfrm>
            <a:off x="7234919" y="3679370"/>
            <a:ext cx="1722664" cy="3178631"/>
          </a:xfrm>
          <a:prstGeom prst="rect">
            <a:avLst/>
          </a:prstGeom>
        </p:spPr>
      </p:pic>
    </p:spTree>
    <p:extLst>
      <p:ext uri="{BB962C8B-B14F-4D97-AF65-F5344CB8AC3E}">
        <p14:creationId xmlns:p14="http://schemas.microsoft.com/office/powerpoint/2010/main" val="2078923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Divider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485355A-452D-2D14-9963-AB23D646FDEA}"/>
              </a:ext>
            </a:extLst>
          </p:cNvPr>
          <p:cNvSpPr/>
          <p:nvPr userDrawn="1"/>
        </p:nvSpPr>
        <p:spPr>
          <a:xfrm>
            <a:off x="6440424" y="-3"/>
            <a:ext cx="5751576" cy="685800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2" y="685800"/>
            <a:ext cx="5067300" cy="5486400"/>
          </a:xfrm>
        </p:spPr>
        <p:txBody>
          <a:bodyPr anchor="ctr" anchorCtr="0"/>
          <a:lstStyle>
            <a:lvl1pPr>
              <a:defRPr sz="4800"/>
            </a:lvl1pPr>
          </a:lstStyle>
          <a:p>
            <a:r>
              <a:rPr lang="en-US"/>
              <a:t>Click to edit Master title style</a:t>
            </a:r>
          </a:p>
        </p:txBody>
      </p:sp>
      <p:sp>
        <p:nvSpPr>
          <p:cNvPr id="15" name="Rectangle 14">
            <a:extLst>
              <a:ext uri="{FF2B5EF4-FFF2-40B4-BE49-F238E27FC236}">
                <a16:creationId xmlns:a16="http://schemas.microsoft.com/office/drawing/2014/main" id="{78EB67E5-80B8-5779-08EC-DAC38499FDE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bg1"/>
                </a:solidFill>
                <a:effectLst/>
                <a:uLnTx/>
                <a:uFillTx/>
                <a:latin typeface="+mn-lt"/>
                <a:ea typeface="Roboto" panose="02000000000000000000" pitchFamily="2" charset="0"/>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bg1"/>
              </a:solidFill>
              <a:effectLst/>
              <a:uLnTx/>
              <a:uFillTx/>
              <a:latin typeface="+mn-lt"/>
              <a:ea typeface="Roboto" panose="02000000000000000000" pitchFamily="2" charset="0"/>
            </a:endParaRPr>
          </a:p>
        </p:txBody>
      </p:sp>
      <p:sp>
        <p:nvSpPr>
          <p:cNvPr id="3" name="Rectangle 2">
            <a:extLst>
              <a:ext uri="{FF2B5EF4-FFF2-40B4-BE49-F238E27FC236}">
                <a16:creationId xmlns:a16="http://schemas.microsoft.com/office/drawing/2014/main" id="{5DBBD5AF-E322-57AA-88DF-FA408CA77DF2}"/>
              </a:ext>
            </a:extLst>
          </p:cNvPr>
          <p:cNvSpPr/>
          <p:nvPr userDrawn="1"/>
        </p:nvSpPr>
        <p:spPr>
          <a:xfrm>
            <a:off x="6803569" y="3429000"/>
            <a:ext cx="1143000" cy="3429000"/>
          </a:xfrm>
          <a:prstGeom prst="rect">
            <a:avLst/>
          </a:prstGeom>
          <a:solidFill>
            <a:srgbClr val="B86497"/>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4" name="Rectangle 3">
            <a:extLst>
              <a:ext uri="{FF2B5EF4-FFF2-40B4-BE49-F238E27FC236}">
                <a16:creationId xmlns:a16="http://schemas.microsoft.com/office/drawing/2014/main" id="{D4689508-C498-B82B-4B48-0A71C883A6AC}"/>
              </a:ext>
            </a:extLst>
          </p:cNvPr>
          <p:cNvSpPr/>
          <p:nvPr userDrawn="1"/>
        </p:nvSpPr>
        <p:spPr>
          <a:xfrm>
            <a:off x="8147957" y="4158344"/>
            <a:ext cx="1828800" cy="2699657"/>
          </a:xfrm>
          <a:prstGeom prst="rect">
            <a:avLst/>
          </a:prstGeom>
          <a:solidFill>
            <a:srgbClr val="F7934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5" name="Rectangle 4">
            <a:extLst>
              <a:ext uri="{FF2B5EF4-FFF2-40B4-BE49-F238E27FC236}">
                <a16:creationId xmlns:a16="http://schemas.microsoft.com/office/drawing/2014/main" id="{73C83260-5D33-9424-9229-359E02F98E05}"/>
              </a:ext>
            </a:extLst>
          </p:cNvPr>
          <p:cNvSpPr/>
          <p:nvPr userDrawn="1"/>
        </p:nvSpPr>
        <p:spPr>
          <a:xfrm>
            <a:off x="10210801" y="1"/>
            <a:ext cx="914400" cy="2536371"/>
          </a:xfrm>
          <a:prstGeom prst="rect">
            <a:avLst/>
          </a:prstGeom>
          <a:solidFill>
            <a:srgbClr val="F48DA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pic>
        <p:nvPicPr>
          <p:cNvPr id="6" name="Picture 5" descr="Background pattern&#10;&#10;Description automatically generated">
            <a:extLst>
              <a:ext uri="{FF2B5EF4-FFF2-40B4-BE49-F238E27FC236}">
                <a16:creationId xmlns:a16="http://schemas.microsoft.com/office/drawing/2014/main" id="{D9E119F2-5B43-143E-B271-CC9F55D3E909}"/>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6803569" y="3429000"/>
            <a:ext cx="1143000" cy="3429000"/>
          </a:xfrm>
          <a:prstGeom prst="rect">
            <a:avLst/>
          </a:prstGeom>
        </p:spPr>
      </p:pic>
      <p:pic>
        <p:nvPicPr>
          <p:cNvPr id="7" name="Picture 6" descr="A picture containing chart&#10;&#10;Description automatically generated">
            <a:extLst>
              <a:ext uri="{FF2B5EF4-FFF2-40B4-BE49-F238E27FC236}">
                <a16:creationId xmlns:a16="http://schemas.microsoft.com/office/drawing/2014/main" id="{0757C944-1D1C-882A-2051-39A347A46B4F}"/>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8147958" y="4158341"/>
            <a:ext cx="1828799" cy="2699659"/>
          </a:xfrm>
          <a:prstGeom prst="rect">
            <a:avLst/>
          </a:prstGeom>
        </p:spPr>
      </p:pic>
      <p:pic>
        <p:nvPicPr>
          <p:cNvPr id="8" name="Picture 7" descr="Background pattern&#10;&#10;Description automatically generated">
            <a:extLst>
              <a:ext uri="{FF2B5EF4-FFF2-40B4-BE49-F238E27FC236}">
                <a16:creationId xmlns:a16="http://schemas.microsoft.com/office/drawing/2014/main" id="{F0AC8FD5-8F29-B605-16DC-373570334D94}"/>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10210802" y="1"/>
            <a:ext cx="914399" cy="2536371"/>
          </a:xfrm>
          <a:prstGeom prst="rect">
            <a:avLst/>
          </a:prstGeom>
        </p:spPr>
      </p:pic>
    </p:spTree>
    <p:extLst>
      <p:ext uri="{BB962C8B-B14F-4D97-AF65-F5344CB8AC3E}">
        <p14:creationId xmlns:p14="http://schemas.microsoft.com/office/powerpoint/2010/main" val="2151341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Photo divider slid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29775444-26E2-8EE1-2D8A-B87C1CC7DCAA}"/>
              </a:ext>
            </a:extLst>
          </p:cNvPr>
          <p:cNvSpPr/>
          <p:nvPr userDrawn="1"/>
        </p:nvSpPr>
        <p:spPr>
          <a:xfrm>
            <a:off x="6438901" y="0"/>
            <a:ext cx="5753100"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2" y="685800"/>
            <a:ext cx="4724399" cy="5486400"/>
          </a:xfrm>
        </p:spPr>
        <p:txBody>
          <a:bodyPr anchor="ctr" anchorCtr="0"/>
          <a:lstStyle>
            <a:lvl1pPr>
              <a:defRPr sz="4800"/>
            </a:lvl1pPr>
          </a:lstStyle>
          <a:p>
            <a:r>
              <a:rPr lang="en-US"/>
              <a:t>Click to edit Master title style</a:t>
            </a:r>
          </a:p>
        </p:txBody>
      </p:sp>
      <p:sp>
        <p:nvSpPr>
          <p:cNvPr id="15" name="Rectangle 14">
            <a:extLst>
              <a:ext uri="{FF2B5EF4-FFF2-40B4-BE49-F238E27FC236}">
                <a16:creationId xmlns:a16="http://schemas.microsoft.com/office/drawing/2014/main" id="{78EB67E5-80B8-5779-08EC-DAC38499FDE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bg1"/>
                </a:solidFill>
                <a:effectLst/>
                <a:uLnTx/>
                <a:uFillTx/>
                <a:latin typeface="+mn-lt"/>
                <a:ea typeface="Roboto" panose="02000000000000000000" pitchFamily="2" charset="0"/>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bg1"/>
              </a:solidFill>
              <a:effectLst/>
              <a:uLnTx/>
              <a:uFillTx/>
              <a:latin typeface="+mn-lt"/>
              <a:ea typeface="Roboto" panose="02000000000000000000" pitchFamily="2" charset="0"/>
            </a:endParaRPr>
          </a:p>
        </p:txBody>
      </p:sp>
      <p:sp>
        <p:nvSpPr>
          <p:cNvPr id="5" name="Picture Placeholder 4">
            <a:extLst>
              <a:ext uri="{FF2B5EF4-FFF2-40B4-BE49-F238E27FC236}">
                <a16:creationId xmlns:a16="http://schemas.microsoft.com/office/drawing/2014/main" id="{83AEB3E6-FC90-F36D-6133-B21D36216A13}"/>
              </a:ext>
            </a:extLst>
          </p:cNvPr>
          <p:cNvSpPr>
            <a:spLocks noGrp="1"/>
          </p:cNvSpPr>
          <p:nvPr>
            <p:ph type="pic" sz="quarter" idx="10"/>
          </p:nvPr>
        </p:nvSpPr>
        <p:spPr>
          <a:xfrm>
            <a:off x="6096002" y="685800"/>
            <a:ext cx="5410199" cy="5486400"/>
          </a:xfrm>
        </p:spPr>
        <p:txBody>
          <a:bodyPr anchor="ctr">
            <a:normAutofit/>
          </a:bodyPr>
          <a:lstStyle>
            <a:lvl1pPr marL="0" indent="0" algn="ctr">
              <a:buFontTx/>
              <a:buNone/>
              <a:defRPr sz="4800">
                <a:solidFill>
                  <a:schemeClr val="bg1"/>
                </a:solidFill>
              </a:defRPr>
            </a:lvl1pPr>
          </a:lstStyle>
          <a:p>
            <a:r>
              <a:rPr lang="en-US"/>
              <a:t>Click icon to add picture</a:t>
            </a:r>
          </a:p>
        </p:txBody>
      </p:sp>
    </p:spTree>
    <p:extLst>
      <p:ext uri="{BB962C8B-B14F-4D97-AF65-F5344CB8AC3E}">
        <p14:creationId xmlns:p14="http://schemas.microsoft.com/office/powerpoint/2010/main" val="3144056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Engagement divider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485355A-452D-2D14-9963-AB23D646FDEA}"/>
              </a:ext>
            </a:extLst>
          </p:cNvPr>
          <p:cNvSpPr/>
          <p:nvPr userDrawn="1"/>
        </p:nvSpPr>
        <p:spPr>
          <a:xfrm>
            <a:off x="6440424" y="-3"/>
            <a:ext cx="5751576" cy="685800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2" y="2198688"/>
            <a:ext cx="5067300" cy="3973512"/>
          </a:xfrm>
        </p:spPr>
        <p:txBody>
          <a:bodyPr anchor="t" anchorCtr="0"/>
          <a:lstStyle>
            <a:lvl1pPr>
              <a:defRPr sz="4800"/>
            </a:lvl1pPr>
          </a:lstStyle>
          <a:p>
            <a:r>
              <a:rPr lang="en-US"/>
              <a:t>Click to edit Master title style</a:t>
            </a:r>
          </a:p>
        </p:txBody>
      </p:sp>
      <p:sp>
        <p:nvSpPr>
          <p:cNvPr id="15" name="Rectangle 14">
            <a:extLst>
              <a:ext uri="{FF2B5EF4-FFF2-40B4-BE49-F238E27FC236}">
                <a16:creationId xmlns:a16="http://schemas.microsoft.com/office/drawing/2014/main" id="{78EB67E5-80B8-5779-08EC-DAC38499FDE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tx1"/>
                </a:solidFill>
                <a:effectLst/>
                <a:uLnTx/>
                <a:uFillTx/>
                <a:latin typeface="+mn-lt"/>
                <a:ea typeface="Roboto" panose="02000000000000000000" pitchFamily="2" charset="0"/>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Roboto" panose="02000000000000000000" pitchFamily="2" charset="0"/>
            </a:endParaRPr>
          </a:p>
        </p:txBody>
      </p:sp>
      <p:sp>
        <p:nvSpPr>
          <p:cNvPr id="3" name="Rectangle 2">
            <a:extLst>
              <a:ext uri="{FF2B5EF4-FFF2-40B4-BE49-F238E27FC236}">
                <a16:creationId xmlns:a16="http://schemas.microsoft.com/office/drawing/2014/main" id="{BF76AD5A-C8F0-CF4B-3CE4-3A8616760938}"/>
              </a:ext>
            </a:extLst>
          </p:cNvPr>
          <p:cNvSpPr/>
          <p:nvPr userDrawn="1"/>
        </p:nvSpPr>
        <p:spPr>
          <a:xfrm>
            <a:off x="8763003" y="1512889"/>
            <a:ext cx="1143000" cy="5345113"/>
          </a:xfrm>
          <a:prstGeom prst="rect">
            <a:avLst/>
          </a:prstGeom>
          <a:solidFill>
            <a:srgbClr val="DA471F"/>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4" name="Rectangle 3">
            <a:extLst>
              <a:ext uri="{FF2B5EF4-FFF2-40B4-BE49-F238E27FC236}">
                <a16:creationId xmlns:a16="http://schemas.microsoft.com/office/drawing/2014/main" id="{092A1833-4177-B04C-978F-646CD9368885}"/>
              </a:ext>
            </a:extLst>
          </p:cNvPr>
          <p:cNvSpPr/>
          <p:nvPr userDrawn="1"/>
        </p:nvSpPr>
        <p:spPr>
          <a:xfrm>
            <a:off x="7240590" y="3025777"/>
            <a:ext cx="657229" cy="3832225"/>
          </a:xfrm>
          <a:prstGeom prst="rect">
            <a:avLst/>
          </a:prstGeom>
          <a:solidFill>
            <a:srgbClr val="F7934E"/>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5" name="Rectangle 4">
            <a:extLst>
              <a:ext uri="{FF2B5EF4-FFF2-40B4-BE49-F238E27FC236}">
                <a16:creationId xmlns:a16="http://schemas.microsoft.com/office/drawing/2014/main" id="{A0ED42AF-CC13-E613-D46A-F7EA7BAB78F8}"/>
              </a:ext>
            </a:extLst>
          </p:cNvPr>
          <p:cNvSpPr/>
          <p:nvPr userDrawn="1"/>
        </p:nvSpPr>
        <p:spPr>
          <a:xfrm>
            <a:off x="10083800" y="4539118"/>
            <a:ext cx="914400" cy="2318885"/>
          </a:xfrm>
          <a:prstGeom prst="rect">
            <a:avLst/>
          </a:prstGeom>
          <a:solidFill>
            <a:srgbClr val="F37A8A"/>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pic>
        <p:nvPicPr>
          <p:cNvPr id="6" name="Picture 5" descr="A picture containing chart&#10;&#10;Description automatically generated">
            <a:extLst>
              <a:ext uri="{FF2B5EF4-FFF2-40B4-BE49-F238E27FC236}">
                <a16:creationId xmlns:a16="http://schemas.microsoft.com/office/drawing/2014/main" id="{538A9496-BC2D-F2DF-0921-AF5FFD833F11}"/>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763003" y="1512889"/>
            <a:ext cx="1143000" cy="5345113"/>
          </a:xfrm>
          <a:prstGeom prst="rect">
            <a:avLst/>
          </a:prstGeom>
        </p:spPr>
      </p:pic>
      <p:pic>
        <p:nvPicPr>
          <p:cNvPr id="7" name="Picture 6" descr="A picture containing chart&#10;&#10;Description automatically generated">
            <a:extLst>
              <a:ext uri="{FF2B5EF4-FFF2-40B4-BE49-F238E27FC236}">
                <a16:creationId xmlns:a16="http://schemas.microsoft.com/office/drawing/2014/main" id="{5BEAD063-B186-79A0-5B9E-F5004D700D25}"/>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0083801" y="4539119"/>
            <a:ext cx="914401" cy="2318884"/>
          </a:xfrm>
          <a:prstGeom prst="rect">
            <a:avLst/>
          </a:prstGeom>
        </p:spPr>
      </p:pic>
      <p:pic>
        <p:nvPicPr>
          <p:cNvPr id="8" name="Picture 7" descr="A picture containing chart&#10;&#10;Description automatically generated">
            <a:extLst>
              <a:ext uri="{FF2B5EF4-FFF2-40B4-BE49-F238E27FC236}">
                <a16:creationId xmlns:a16="http://schemas.microsoft.com/office/drawing/2014/main" id="{76AA65B4-0F74-A852-D686-F2A14E86F7EF}"/>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7240590" y="3025777"/>
            <a:ext cx="657229" cy="3832224"/>
          </a:xfrm>
          <a:prstGeom prst="rect">
            <a:avLst/>
          </a:prstGeom>
        </p:spPr>
      </p:pic>
    </p:spTree>
    <p:extLst>
      <p:ext uri="{BB962C8B-B14F-4D97-AF65-F5344CB8AC3E}">
        <p14:creationId xmlns:p14="http://schemas.microsoft.com/office/powerpoint/2010/main" val="45649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Operations divider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485355A-452D-2D14-9963-AB23D646FDEA}"/>
              </a:ext>
            </a:extLst>
          </p:cNvPr>
          <p:cNvSpPr/>
          <p:nvPr userDrawn="1"/>
        </p:nvSpPr>
        <p:spPr>
          <a:xfrm>
            <a:off x="6440424" y="-3"/>
            <a:ext cx="5751576" cy="685800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2" y="2198688"/>
            <a:ext cx="5067300" cy="3973512"/>
          </a:xfrm>
        </p:spPr>
        <p:txBody>
          <a:bodyPr anchor="t" anchorCtr="0"/>
          <a:lstStyle>
            <a:lvl1pPr>
              <a:defRPr sz="4800"/>
            </a:lvl1pPr>
          </a:lstStyle>
          <a:p>
            <a:r>
              <a:rPr lang="en-US"/>
              <a:t>Click to edit Master title style</a:t>
            </a:r>
          </a:p>
        </p:txBody>
      </p:sp>
      <p:sp>
        <p:nvSpPr>
          <p:cNvPr id="15" name="Rectangle 14">
            <a:extLst>
              <a:ext uri="{FF2B5EF4-FFF2-40B4-BE49-F238E27FC236}">
                <a16:creationId xmlns:a16="http://schemas.microsoft.com/office/drawing/2014/main" id="{78EB67E5-80B8-5779-08EC-DAC38499FDE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tx1"/>
                </a:solidFill>
                <a:effectLst/>
                <a:uLnTx/>
                <a:uFillTx/>
                <a:latin typeface="+mn-lt"/>
                <a:ea typeface="Roboto" panose="02000000000000000000" pitchFamily="2" charset="0"/>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Roboto" panose="02000000000000000000" pitchFamily="2" charset="0"/>
            </a:endParaRPr>
          </a:p>
        </p:txBody>
      </p:sp>
      <p:sp>
        <p:nvSpPr>
          <p:cNvPr id="3" name="Rectangle 2">
            <a:extLst>
              <a:ext uri="{FF2B5EF4-FFF2-40B4-BE49-F238E27FC236}">
                <a16:creationId xmlns:a16="http://schemas.microsoft.com/office/drawing/2014/main" id="{0FD9ED96-41D8-1D05-B42E-158F3D70A0B5}"/>
              </a:ext>
            </a:extLst>
          </p:cNvPr>
          <p:cNvSpPr/>
          <p:nvPr userDrawn="1"/>
        </p:nvSpPr>
        <p:spPr>
          <a:xfrm>
            <a:off x="7353300" y="2449285"/>
            <a:ext cx="1143000" cy="4408715"/>
          </a:xfrm>
          <a:prstGeom prst="rect">
            <a:avLst/>
          </a:prstGeom>
          <a:solidFill>
            <a:srgbClr val="26672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4" name="Rectangle 3">
            <a:extLst>
              <a:ext uri="{FF2B5EF4-FFF2-40B4-BE49-F238E27FC236}">
                <a16:creationId xmlns:a16="http://schemas.microsoft.com/office/drawing/2014/main" id="{F6547E97-594A-5949-335B-FCBE11F03795}"/>
              </a:ext>
            </a:extLst>
          </p:cNvPr>
          <p:cNvSpPr/>
          <p:nvPr userDrawn="1"/>
        </p:nvSpPr>
        <p:spPr>
          <a:xfrm>
            <a:off x="8610601" y="3853543"/>
            <a:ext cx="1828800" cy="3004459"/>
          </a:xfrm>
          <a:prstGeom prst="rect">
            <a:avLst/>
          </a:prstGeom>
          <a:solidFill>
            <a:srgbClr val="53953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5" name="Rectangle 4">
            <a:extLst>
              <a:ext uri="{FF2B5EF4-FFF2-40B4-BE49-F238E27FC236}">
                <a16:creationId xmlns:a16="http://schemas.microsoft.com/office/drawing/2014/main" id="{B533A9E6-2212-1B93-EA85-A49D57123863}"/>
              </a:ext>
            </a:extLst>
          </p:cNvPr>
          <p:cNvSpPr/>
          <p:nvPr userDrawn="1"/>
        </p:nvSpPr>
        <p:spPr>
          <a:xfrm>
            <a:off x="10591800" y="2"/>
            <a:ext cx="914400" cy="3015343"/>
          </a:xfrm>
          <a:prstGeom prst="rect">
            <a:avLst/>
          </a:prstGeom>
          <a:solidFill>
            <a:srgbClr val="F4E689"/>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pic>
        <p:nvPicPr>
          <p:cNvPr id="6" name="Picture 5" descr="Background pattern&#10;&#10;Description automatically generated">
            <a:extLst>
              <a:ext uri="{FF2B5EF4-FFF2-40B4-BE49-F238E27FC236}">
                <a16:creationId xmlns:a16="http://schemas.microsoft.com/office/drawing/2014/main" id="{F010E934-E6EF-DA17-9B6F-746A651F92FF}"/>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4191" t="15827" r="66845" b="9659"/>
          <a:stretch/>
        </p:blipFill>
        <p:spPr>
          <a:xfrm>
            <a:off x="7353300" y="2449287"/>
            <a:ext cx="1143000" cy="4408715"/>
          </a:xfrm>
          <a:prstGeom prst="rect">
            <a:avLst/>
          </a:prstGeom>
        </p:spPr>
      </p:pic>
      <p:pic>
        <p:nvPicPr>
          <p:cNvPr id="7" name="Picture 6" descr="Background pattern&#10;&#10;Description automatically generated">
            <a:extLst>
              <a:ext uri="{FF2B5EF4-FFF2-40B4-BE49-F238E27FC236}">
                <a16:creationId xmlns:a16="http://schemas.microsoft.com/office/drawing/2014/main" id="{4182D6F1-907B-3182-AB50-CB47586AF2FD}"/>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l="36052" t="39561" r="17605" b="9659"/>
          <a:stretch/>
        </p:blipFill>
        <p:spPr>
          <a:xfrm>
            <a:off x="8610602" y="3853541"/>
            <a:ext cx="1828799" cy="3004459"/>
          </a:xfrm>
          <a:prstGeom prst="rect">
            <a:avLst/>
          </a:prstGeom>
        </p:spPr>
      </p:pic>
      <p:pic>
        <p:nvPicPr>
          <p:cNvPr id="8" name="Picture 7" descr="Background pattern&#10;&#10;Description automatically generated">
            <a:extLst>
              <a:ext uri="{FF2B5EF4-FFF2-40B4-BE49-F238E27FC236}">
                <a16:creationId xmlns:a16="http://schemas.microsoft.com/office/drawing/2014/main" id="{4D54352D-906D-21EB-CB29-09DA00CFB02A}"/>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10591801" y="0"/>
            <a:ext cx="914400" cy="3015344"/>
          </a:xfrm>
          <a:prstGeom prst="rect">
            <a:avLst/>
          </a:prstGeom>
        </p:spPr>
      </p:pic>
    </p:spTree>
    <p:extLst>
      <p:ext uri="{BB962C8B-B14F-4D97-AF65-F5344CB8AC3E}">
        <p14:creationId xmlns:p14="http://schemas.microsoft.com/office/powerpoint/2010/main" val="3276172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amp;L divider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485355A-452D-2D14-9963-AB23D646FDEA}"/>
              </a:ext>
            </a:extLst>
          </p:cNvPr>
          <p:cNvSpPr/>
          <p:nvPr userDrawn="1"/>
        </p:nvSpPr>
        <p:spPr>
          <a:xfrm>
            <a:off x="6440424" y="-3"/>
            <a:ext cx="5751576" cy="685800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2" y="2198690"/>
            <a:ext cx="5067300" cy="3973511"/>
          </a:xfrm>
        </p:spPr>
        <p:txBody>
          <a:bodyPr anchor="t" anchorCtr="0"/>
          <a:lstStyle>
            <a:lvl1pPr>
              <a:defRPr sz="4800"/>
            </a:lvl1pPr>
          </a:lstStyle>
          <a:p>
            <a:r>
              <a:rPr lang="en-US"/>
              <a:t>Click to edit Master title style</a:t>
            </a:r>
          </a:p>
        </p:txBody>
      </p:sp>
      <p:sp>
        <p:nvSpPr>
          <p:cNvPr id="15" name="Rectangle 14">
            <a:extLst>
              <a:ext uri="{FF2B5EF4-FFF2-40B4-BE49-F238E27FC236}">
                <a16:creationId xmlns:a16="http://schemas.microsoft.com/office/drawing/2014/main" id="{78EB67E5-80B8-5779-08EC-DAC38499FDE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tx1"/>
                </a:solidFill>
                <a:effectLst/>
                <a:uLnTx/>
                <a:uFillTx/>
                <a:latin typeface="+mn-lt"/>
                <a:ea typeface="Roboto" panose="02000000000000000000" pitchFamily="2" charset="0"/>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tx1"/>
              </a:solidFill>
              <a:effectLst/>
              <a:uLnTx/>
              <a:uFillTx/>
              <a:latin typeface="+mn-lt"/>
              <a:ea typeface="Roboto" panose="02000000000000000000" pitchFamily="2" charset="0"/>
            </a:endParaRPr>
          </a:p>
        </p:txBody>
      </p:sp>
      <p:sp>
        <p:nvSpPr>
          <p:cNvPr id="3" name="Rectangle 2">
            <a:extLst>
              <a:ext uri="{FF2B5EF4-FFF2-40B4-BE49-F238E27FC236}">
                <a16:creationId xmlns:a16="http://schemas.microsoft.com/office/drawing/2014/main" id="{436E92FE-3C42-59FA-2364-BB649C7DA9A1}"/>
              </a:ext>
            </a:extLst>
          </p:cNvPr>
          <p:cNvSpPr/>
          <p:nvPr userDrawn="1"/>
        </p:nvSpPr>
        <p:spPr>
          <a:xfrm>
            <a:off x="6779957" y="0"/>
            <a:ext cx="1143000" cy="1512888"/>
          </a:xfrm>
          <a:prstGeom prst="rect">
            <a:avLst/>
          </a:prstGeom>
          <a:solidFill>
            <a:srgbClr val="5BC6C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4" name="Rectangle 3">
            <a:extLst>
              <a:ext uri="{FF2B5EF4-FFF2-40B4-BE49-F238E27FC236}">
                <a16:creationId xmlns:a16="http://schemas.microsoft.com/office/drawing/2014/main" id="{7C2F88DC-CA70-140F-F32D-CAADDD54815F}"/>
              </a:ext>
            </a:extLst>
          </p:cNvPr>
          <p:cNvSpPr/>
          <p:nvPr userDrawn="1"/>
        </p:nvSpPr>
        <p:spPr>
          <a:xfrm>
            <a:off x="8020049" y="3701145"/>
            <a:ext cx="1828800" cy="3156857"/>
          </a:xfrm>
          <a:prstGeom prst="rect">
            <a:avLst/>
          </a:prstGeom>
          <a:solidFill>
            <a:srgbClr val="0090A1"/>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5" name="Rectangle 4">
            <a:extLst>
              <a:ext uri="{FF2B5EF4-FFF2-40B4-BE49-F238E27FC236}">
                <a16:creationId xmlns:a16="http://schemas.microsoft.com/office/drawing/2014/main" id="{7E98F9A4-CF8B-120B-A632-32761E91AD67}"/>
              </a:ext>
            </a:extLst>
          </p:cNvPr>
          <p:cNvSpPr/>
          <p:nvPr userDrawn="1"/>
        </p:nvSpPr>
        <p:spPr>
          <a:xfrm>
            <a:off x="10039348" y="1282701"/>
            <a:ext cx="914400" cy="5575300"/>
          </a:xfrm>
          <a:prstGeom prst="rect">
            <a:avLst/>
          </a:prstGeom>
          <a:solidFill>
            <a:srgbClr val="004C6C"/>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pic>
        <p:nvPicPr>
          <p:cNvPr id="6" name="Picture 5" descr="A picture containing graphical user interface&#10;&#10;Description automatically generated">
            <a:extLst>
              <a:ext uri="{FF2B5EF4-FFF2-40B4-BE49-F238E27FC236}">
                <a16:creationId xmlns:a16="http://schemas.microsoft.com/office/drawing/2014/main" id="{45890875-1CAA-EEA2-2425-65A44EF0453E}"/>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0039348" y="1282701"/>
            <a:ext cx="914400" cy="5575300"/>
          </a:xfrm>
          <a:prstGeom prst="rect">
            <a:avLst/>
          </a:prstGeom>
        </p:spPr>
      </p:pic>
      <p:pic>
        <p:nvPicPr>
          <p:cNvPr id="7" name="Picture 6" descr="A picture containing graphical user interface&#10;&#10;Description automatically generated">
            <a:extLst>
              <a:ext uri="{FF2B5EF4-FFF2-40B4-BE49-F238E27FC236}">
                <a16:creationId xmlns:a16="http://schemas.microsoft.com/office/drawing/2014/main" id="{E6EE47F9-1E53-D1E0-3F09-C282DD9913E3}"/>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8020051" y="3701144"/>
            <a:ext cx="1828800" cy="3156857"/>
          </a:xfrm>
          <a:prstGeom prst="rect">
            <a:avLst/>
          </a:prstGeom>
        </p:spPr>
      </p:pic>
      <p:pic>
        <p:nvPicPr>
          <p:cNvPr id="8" name="Picture 7" descr="A picture containing graphical user interface&#10;&#10;Description automatically generated">
            <a:extLst>
              <a:ext uri="{FF2B5EF4-FFF2-40B4-BE49-F238E27FC236}">
                <a16:creationId xmlns:a16="http://schemas.microsoft.com/office/drawing/2014/main" id="{00AE9690-C166-7EE7-0289-7EBE14C3767E}"/>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6779957" y="2"/>
            <a:ext cx="1143000" cy="1512887"/>
          </a:xfrm>
          <a:prstGeom prst="rect">
            <a:avLst/>
          </a:prstGeom>
        </p:spPr>
      </p:pic>
    </p:spTree>
    <p:extLst>
      <p:ext uri="{BB962C8B-B14F-4D97-AF65-F5344CB8AC3E}">
        <p14:creationId xmlns:p14="http://schemas.microsoft.com/office/powerpoint/2010/main" val="394836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Services divider slide">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485355A-452D-2D14-9963-AB23D646FDEA}"/>
              </a:ext>
            </a:extLst>
          </p:cNvPr>
          <p:cNvSpPr/>
          <p:nvPr userDrawn="1"/>
        </p:nvSpPr>
        <p:spPr>
          <a:xfrm>
            <a:off x="6440424" y="9523"/>
            <a:ext cx="5751576" cy="685800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2" y="2198688"/>
            <a:ext cx="5067300" cy="3973512"/>
          </a:xfrm>
        </p:spPr>
        <p:txBody>
          <a:bodyPr anchor="t" anchorCtr="0"/>
          <a:lstStyle>
            <a:lvl1pPr>
              <a:defRPr sz="4800"/>
            </a:lvl1pPr>
          </a:lstStyle>
          <a:p>
            <a:r>
              <a:rPr lang="en-US"/>
              <a:t>Click to edit Master title style</a:t>
            </a:r>
          </a:p>
        </p:txBody>
      </p:sp>
      <p:sp>
        <p:nvSpPr>
          <p:cNvPr id="15" name="Rectangle 14">
            <a:extLst>
              <a:ext uri="{FF2B5EF4-FFF2-40B4-BE49-F238E27FC236}">
                <a16:creationId xmlns:a16="http://schemas.microsoft.com/office/drawing/2014/main" id="{78EB67E5-80B8-5779-08EC-DAC38499FDE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chemeClr val="bg1"/>
                </a:solidFill>
                <a:effectLst/>
                <a:uLnTx/>
                <a:uFillTx/>
                <a:latin typeface="+mn-lt"/>
                <a:ea typeface="Roboto" panose="02000000000000000000" pitchFamily="2" charset="0"/>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chemeClr val="bg1"/>
              </a:solidFill>
              <a:effectLst/>
              <a:uLnTx/>
              <a:uFillTx/>
              <a:latin typeface="+mn-lt"/>
              <a:ea typeface="Roboto" panose="02000000000000000000" pitchFamily="2" charset="0"/>
            </a:endParaRPr>
          </a:p>
        </p:txBody>
      </p:sp>
      <p:sp>
        <p:nvSpPr>
          <p:cNvPr id="3" name="Rectangle 2">
            <a:extLst>
              <a:ext uri="{FF2B5EF4-FFF2-40B4-BE49-F238E27FC236}">
                <a16:creationId xmlns:a16="http://schemas.microsoft.com/office/drawing/2014/main" id="{8EEFDE17-D99B-1DFB-072F-FD7D6F8F5BCF}"/>
              </a:ext>
            </a:extLst>
          </p:cNvPr>
          <p:cNvSpPr/>
          <p:nvPr userDrawn="1"/>
        </p:nvSpPr>
        <p:spPr>
          <a:xfrm>
            <a:off x="6991351" y="4071258"/>
            <a:ext cx="1143000" cy="2786743"/>
          </a:xfrm>
          <a:prstGeom prst="rect">
            <a:avLst/>
          </a:prstGeom>
          <a:solidFill>
            <a:srgbClr val="87ADDB"/>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4" name="Rectangle 3">
            <a:extLst>
              <a:ext uri="{FF2B5EF4-FFF2-40B4-BE49-F238E27FC236}">
                <a16:creationId xmlns:a16="http://schemas.microsoft.com/office/drawing/2014/main" id="{CA7A28EE-04F9-20F6-77DD-4A052ACFEF69}"/>
              </a:ext>
            </a:extLst>
          </p:cNvPr>
          <p:cNvSpPr/>
          <p:nvPr userDrawn="1"/>
        </p:nvSpPr>
        <p:spPr>
          <a:xfrm>
            <a:off x="8305800" y="2857501"/>
            <a:ext cx="1828800" cy="4000500"/>
          </a:xfrm>
          <a:prstGeom prst="rect">
            <a:avLst/>
          </a:prstGeom>
          <a:solidFill>
            <a:srgbClr val="6283C2"/>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5" name="Rectangle 4">
            <a:extLst>
              <a:ext uri="{FF2B5EF4-FFF2-40B4-BE49-F238E27FC236}">
                <a16:creationId xmlns:a16="http://schemas.microsoft.com/office/drawing/2014/main" id="{E3195AAF-2ABC-6D7D-B16B-54E7870622DF}"/>
              </a:ext>
            </a:extLst>
          </p:cNvPr>
          <p:cNvSpPr/>
          <p:nvPr userDrawn="1"/>
        </p:nvSpPr>
        <p:spPr>
          <a:xfrm>
            <a:off x="10591800" y="685800"/>
            <a:ext cx="914400" cy="4343403"/>
          </a:xfrm>
          <a:prstGeom prst="rect">
            <a:avLst/>
          </a:prstGeom>
          <a:solidFill>
            <a:srgbClr val="AA7FB8"/>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pic>
        <p:nvPicPr>
          <p:cNvPr id="6" name="Picture 5" descr="Chart&#10;&#10;Description automatically generated">
            <a:extLst>
              <a:ext uri="{FF2B5EF4-FFF2-40B4-BE49-F238E27FC236}">
                <a16:creationId xmlns:a16="http://schemas.microsoft.com/office/drawing/2014/main" id="{1E0A5129-BCF5-9412-A64E-DF450B4A62BB}"/>
              </a:ext>
            </a:extLst>
          </p:cNvPr>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8305800" y="2857501"/>
            <a:ext cx="1828800" cy="4000499"/>
          </a:xfrm>
          <a:prstGeom prst="rect">
            <a:avLst/>
          </a:prstGeom>
        </p:spPr>
      </p:pic>
      <p:pic>
        <p:nvPicPr>
          <p:cNvPr id="7" name="Picture 6" descr="Chart&#10;&#10;Description automatically generated">
            <a:extLst>
              <a:ext uri="{FF2B5EF4-FFF2-40B4-BE49-F238E27FC236}">
                <a16:creationId xmlns:a16="http://schemas.microsoft.com/office/drawing/2014/main" id="{E795C822-BBE9-F96D-F46C-7BFC25B0C022}"/>
              </a:ext>
            </a:extLst>
          </p:cNvPr>
          <p:cNvPicPr>
            <a:picLocks noChangeAspect="1"/>
          </p:cNvPicPr>
          <p:nvPr userDrawn="1"/>
        </p:nvPicPr>
        <p:blipFill rotWithShape="1">
          <a:blip r:embed="rId3" cstate="hqprint">
            <a:extLst>
              <a:ext uri="{28A0092B-C50C-407E-A947-70E740481C1C}">
                <a14:useLocalDpi xmlns:a14="http://schemas.microsoft.com/office/drawing/2010/main"/>
              </a:ext>
            </a:extLst>
          </a:blip>
          <a:srcRect/>
          <a:stretch/>
        </p:blipFill>
        <p:spPr>
          <a:xfrm>
            <a:off x="6991352" y="4071256"/>
            <a:ext cx="1143000" cy="2786744"/>
          </a:xfrm>
          <a:prstGeom prst="rect">
            <a:avLst/>
          </a:prstGeom>
        </p:spPr>
      </p:pic>
      <p:pic>
        <p:nvPicPr>
          <p:cNvPr id="8" name="Picture 7" descr="Chart&#10;&#10;Description automatically generated">
            <a:extLst>
              <a:ext uri="{FF2B5EF4-FFF2-40B4-BE49-F238E27FC236}">
                <a16:creationId xmlns:a16="http://schemas.microsoft.com/office/drawing/2014/main" id="{F7B0F3BA-2EFC-2244-5DF6-7F1A7EF9C398}"/>
              </a:ext>
            </a:extLst>
          </p:cNvPr>
          <p:cNvPicPr>
            <a:picLocks noChangeAspect="1"/>
          </p:cNvPicPr>
          <p:nvPr userDrawn="1"/>
        </p:nvPicPr>
        <p:blipFill rotWithShape="1">
          <a:blip r:embed="rId4" cstate="hqprint">
            <a:extLst>
              <a:ext uri="{28A0092B-C50C-407E-A947-70E740481C1C}">
                <a14:useLocalDpi xmlns:a14="http://schemas.microsoft.com/office/drawing/2010/main"/>
              </a:ext>
            </a:extLst>
          </a:blip>
          <a:srcRect/>
          <a:stretch/>
        </p:blipFill>
        <p:spPr>
          <a:xfrm>
            <a:off x="10591801" y="685800"/>
            <a:ext cx="914400" cy="4343403"/>
          </a:xfrm>
          <a:prstGeom prst="rect">
            <a:avLst/>
          </a:prstGeom>
        </p:spPr>
      </p:pic>
    </p:spTree>
    <p:extLst>
      <p:ext uri="{BB962C8B-B14F-4D97-AF65-F5344CB8AC3E}">
        <p14:creationId xmlns:p14="http://schemas.microsoft.com/office/powerpoint/2010/main" val="23120918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600200"/>
            <a:ext cx="10790238" cy="444341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hidden="1">
            <a:extLst>
              <a:ext uri="{FF2B5EF4-FFF2-40B4-BE49-F238E27FC236}">
                <a16:creationId xmlns:a16="http://schemas.microsoft.com/office/drawing/2014/main" id="{8153539E-D099-44E0-AC29-B74CC82B36B8}"/>
              </a:ext>
            </a:extLst>
          </p:cNvPr>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7" name="Footer Placeholder 6" hidden="1">
            <a:extLst>
              <a:ext uri="{FF2B5EF4-FFF2-40B4-BE49-F238E27FC236}">
                <a16:creationId xmlns:a16="http://schemas.microsoft.com/office/drawing/2014/main" id="{E2E13BFE-6D61-497B-A0E4-FA06616A4277}"/>
              </a:ext>
            </a:extLst>
          </p:cNvPr>
          <p:cNvSpPr>
            <a:spLocks noGrp="1"/>
          </p:cNvSpPr>
          <p:nvPr>
            <p:ph type="ftr" sz="quarter"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10" name="Logo protection area" hidden="1">
            <a:extLst>
              <a:ext uri="{FF2B5EF4-FFF2-40B4-BE49-F238E27FC236}">
                <a16:creationId xmlns:a16="http://schemas.microsoft.com/office/drawing/2014/main" id="{7260B781-E1A9-4555-BAEE-99144EF1DCD7}"/>
              </a:ext>
            </a:extLst>
          </p:cNvPr>
          <p:cNvSpPr/>
          <p:nvPr userDrawn="1">
            <p:custDataLst>
              <p:tags r:id="rId1"/>
            </p:custDataLst>
          </p:nvPr>
        </p:nvSpPr>
        <p:spPr>
          <a:xfrm>
            <a:off x="0" y="6186276"/>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2" name="Layout Protection area" hidden="1">
            <a:extLst>
              <a:ext uri="{FF2B5EF4-FFF2-40B4-BE49-F238E27FC236}">
                <a16:creationId xmlns:a16="http://schemas.microsoft.com/office/drawing/2014/main" id="{381E4F0A-A432-4918-9B69-F5EA1B24858D}"/>
              </a:ext>
            </a:extLst>
          </p:cNvPr>
          <p:cNvSpPr/>
          <p:nvPr userDrawn="1">
            <p:custDataLst>
              <p:tags r:id="rId2"/>
            </p:custDataLst>
          </p:nvPr>
        </p:nvSpPr>
        <p:spPr>
          <a:xfrm>
            <a:off x="664420" y="1572242"/>
            <a:ext cx="10841780" cy="4499637"/>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9" name="Slide Number Placeholder 8">
            <a:extLst>
              <a:ext uri="{FF2B5EF4-FFF2-40B4-BE49-F238E27FC236}">
                <a16:creationId xmlns:a16="http://schemas.microsoft.com/office/drawing/2014/main" id="{1674D08F-C59E-41EA-9DED-3ACD8C9096F6}"/>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201193987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4FB6D3C-E0E8-D696-4CF6-CABE9BE308EC}"/>
              </a:ext>
            </a:extLst>
          </p:cNvPr>
          <p:cNvSpPr/>
          <p:nvPr userDrawn="1"/>
        </p:nvSpPr>
        <p:spPr>
          <a:xfrm>
            <a:off x="4069074" y="0"/>
            <a:ext cx="7711447" cy="6872288"/>
          </a:xfrm>
          <a:prstGeom prst="rect">
            <a:avLst/>
          </a:prstGeom>
          <a:solidFill>
            <a:srgbClr val="E1EBF3"/>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14" name="Rectangle 13">
            <a:extLst>
              <a:ext uri="{FF2B5EF4-FFF2-40B4-BE49-F238E27FC236}">
                <a16:creationId xmlns:a16="http://schemas.microsoft.com/office/drawing/2014/main" id="{6485355A-452D-2D14-9963-AB23D646FDEA}"/>
              </a:ext>
            </a:extLst>
          </p:cNvPr>
          <p:cNvSpPr/>
          <p:nvPr userDrawn="1"/>
        </p:nvSpPr>
        <p:spPr>
          <a:xfrm>
            <a:off x="0" y="0"/>
            <a:ext cx="3657597" cy="685800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algn="ctr"/>
            <a:endParaRPr lang="en-US" sz="2200"/>
          </a:p>
        </p:txBody>
      </p:sp>
      <p:sp>
        <p:nvSpPr>
          <p:cNvPr id="2" name="Title 1">
            <a:extLst>
              <a:ext uri="{FF2B5EF4-FFF2-40B4-BE49-F238E27FC236}">
                <a16:creationId xmlns:a16="http://schemas.microsoft.com/office/drawing/2014/main" id="{7643C991-9E2F-104F-8898-D7E73809249E}"/>
              </a:ext>
            </a:extLst>
          </p:cNvPr>
          <p:cNvSpPr>
            <a:spLocks noGrp="1"/>
          </p:cNvSpPr>
          <p:nvPr>
            <p:ph type="title"/>
          </p:nvPr>
        </p:nvSpPr>
        <p:spPr>
          <a:xfrm>
            <a:off x="685801" y="685800"/>
            <a:ext cx="2285995" cy="5486403"/>
          </a:xfrm>
        </p:spPr>
        <p:txBody>
          <a:bodyPr anchor="ctr" anchorCtr="0"/>
          <a:lstStyle>
            <a:lvl1pPr algn="ctr">
              <a:defRPr sz="2800">
                <a:solidFill>
                  <a:schemeClr val="bg1"/>
                </a:solidFill>
              </a:defRPr>
            </a:lvl1pPr>
          </a:lstStyle>
          <a:p>
            <a:r>
              <a:rPr lang="en-US"/>
              <a:t>Click to edit Master title style</a:t>
            </a:r>
          </a:p>
        </p:txBody>
      </p:sp>
      <p:sp>
        <p:nvSpPr>
          <p:cNvPr id="9" name="Logo protection area" hidden="1">
            <a:extLst>
              <a:ext uri="{FF2B5EF4-FFF2-40B4-BE49-F238E27FC236}">
                <a16:creationId xmlns:a16="http://schemas.microsoft.com/office/drawing/2014/main" id="{CA31C6BB-3090-4736-ACA0-4B095E02319E}"/>
              </a:ext>
            </a:extLst>
          </p:cNvPr>
          <p:cNvSpPr/>
          <p:nvPr userDrawn="1">
            <p:custDataLst>
              <p:tags r:id="rId1"/>
            </p:custDataLst>
          </p:nvPr>
        </p:nvSpPr>
        <p:spPr>
          <a:xfrm>
            <a:off x="0" y="6186277"/>
            <a:ext cx="12192000" cy="671724"/>
          </a:xfrm>
          <a:prstGeom prst="rect">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10" name="Layout Protection area" hidden="1">
            <a:extLst>
              <a:ext uri="{FF2B5EF4-FFF2-40B4-BE49-F238E27FC236}">
                <a16:creationId xmlns:a16="http://schemas.microsoft.com/office/drawing/2014/main" id="{6C3EAF7A-ECE8-4A10-A8F4-9112E712B557}"/>
              </a:ext>
            </a:extLst>
          </p:cNvPr>
          <p:cNvSpPr/>
          <p:nvPr userDrawn="1">
            <p:custDataLst>
              <p:tags r:id="rId2"/>
            </p:custDataLst>
          </p:nvPr>
        </p:nvSpPr>
        <p:spPr>
          <a:xfrm>
            <a:off x="1" y="-2"/>
            <a:ext cx="5695287" cy="6186279"/>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
        <p:nvSpPr>
          <p:cNvPr id="5" name="Text Placeholder 4">
            <a:extLst>
              <a:ext uri="{FF2B5EF4-FFF2-40B4-BE49-F238E27FC236}">
                <a16:creationId xmlns:a16="http://schemas.microsoft.com/office/drawing/2014/main" id="{85A14190-C961-759F-9A93-C0F8E6800B71}"/>
              </a:ext>
            </a:extLst>
          </p:cNvPr>
          <p:cNvSpPr>
            <a:spLocks noGrp="1"/>
          </p:cNvSpPr>
          <p:nvPr userDrawn="1">
            <p:ph type="body" sz="quarter" idx="10"/>
          </p:nvPr>
        </p:nvSpPr>
        <p:spPr>
          <a:xfrm>
            <a:off x="4343396" y="685800"/>
            <a:ext cx="7162803" cy="5500688"/>
          </a:xfrm>
        </p:spPr>
        <p:txBody>
          <a:bodyPr anchor="ctr"/>
          <a:lstStyle>
            <a:lvl1pPr marL="0" indent="0">
              <a:spcBef>
                <a:spcPts val="1200"/>
              </a:spcBef>
              <a:spcAft>
                <a:spcPts val="300"/>
              </a:spcAft>
              <a:buFontTx/>
              <a:buNone/>
              <a:defRPr sz="2200" spc="0" baseline="0">
                <a:latin typeface="+mj-lt"/>
              </a:defRPr>
            </a:lvl1pPr>
            <a:lvl2pPr marL="457189" indent="-228594">
              <a:spcAft>
                <a:spcPts val="300"/>
              </a:spcAft>
              <a:buSzPct val="100000"/>
              <a:buFont typeface="Arial" panose="020B0604020202020204" pitchFamily="34" charset="0"/>
              <a:buChar char="•"/>
              <a:defRPr sz="1800" spc="0" baseline="0"/>
            </a:lvl2pPr>
            <a:lvl3pPr marL="685783" indent="-228594">
              <a:spcAft>
                <a:spcPts val="300"/>
              </a:spcAft>
              <a:buFont typeface="Calibri" panose="020F0502020204030204" pitchFamily="34" charset="0"/>
              <a:buChar char="–"/>
              <a:defRPr sz="1800" spc="0" baseline="0"/>
            </a:lvl3pPr>
            <a:lvl4pPr marL="914377" indent="-228594">
              <a:spcAft>
                <a:spcPts val="300"/>
              </a:spcAft>
              <a:buFont typeface="Arial" panose="020B0604020202020204" pitchFamily="34" charset="0"/>
              <a:buChar char="•"/>
              <a:defRPr sz="1800" spc="0" baseline="0"/>
            </a:lvl4pPr>
            <a:lvl5pPr marL="1142971" indent="-228594">
              <a:spcAft>
                <a:spcPts val="300"/>
              </a:spcAft>
              <a:buFont typeface="Calibri" panose="020F0502020204030204" pitchFamily="34" charset="0"/>
              <a:buChar char="–"/>
              <a:defRPr sz="1800"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32" name="Rectangle 31">
            <a:extLst>
              <a:ext uri="{FF2B5EF4-FFF2-40B4-BE49-F238E27FC236}">
                <a16:creationId xmlns:a16="http://schemas.microsoft.com/office/drawing/2014/main" id="{B605ADAB-426E-15A1-C9E9-930C75F54AC3}"/>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rgbClr val="000000"/>
                </a:solidFill>
                <a:effectLst/>
                <a:uLnTx/>
                <a:uFillTx/>
                <a:latin typeface="+mn-lt"/>
                <a:ea typeface="Roboto" panose="02000000000000000000" pitchFamily="2" charset="0"/>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mn-lt"/>
              <a:ea typeface="Roboto" panose="02000000000000000000" pitchFamily="2" charset="0"/>
            </a:endParaRPr>
          </a:p>
        </p:txBody>
      </p:sp>
    </p:spTree>
    <p:extLst>
      <p:ext uri="{BB962C8B-B14F-4D97-AF65-F5344CB8AC3E}">
        <p14:creationId xmlns:p14="http://schemas.microsoft.com/office/powerpoint/2010/main" val="3470686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 conten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11" name="Content Placeholder 10">
            <a:extLst>
              <a:ext uri="{FF2B5EF4-FFF2-40B4-BE49-F238E27FC236}">
                <a16:creationId xmlns:a16="http://schemas.microsoft.com/office/drawing/2014/main" id="{F4F098D9-3D9E-44F4-93BC-2D2A6DDFE055}"/>
              </a:ext>
            </a:extLst>
          </p:cNvPr>
          <p:cNvSpPr>
            <a:spLocks noGrp="1"/>
          </p:cNvSpPr>
          <p:nvPr>
            <p:ph sz="quarter" idx="13"/>
          </p:nvPr>
        </p:nvSpPr>
        <p:spPr>
          <a:xfrm>
            <a:off x="685800" y="1512889"/>
            <a:ext cx="10820400" cy="46733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3591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 content, 2nd level bullet">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F9A9D20-B7D2-0A40-A263-FD2D0E2A77D8}"/>
              </a:ext>
            </a:extLst>
          </p:cNvPr>
          <p:cNvSpPr>
            <a:spLocks noGrp="1"/>
          </p:cNvSpPr>
          <p:nvPr>
            <p:ph idx="1"/>
          </p:nvPr>
        </p:nvSpPr>
        <p:spPr>
          <a:xfrm>
            <a:off x="685800" y="1512888"/>
            <a:ext cx="10820400" cy="4659312"/>
          </a:xfrm>
        </p:spPr>
        <p:txBody>
          <a:bodyPr lIns="0" tIns="0" rIns="0" bIns="0"/>
          <a:lstStyle>
            <a:lvl1pPr marL="0" indent="0">
              <a:lnSpc>
                <a:spcPct val="100000"/>
              </a:lnSpc>
              <a:spcBef>
                <a:spcPts val="0"/>
              </a:spcBef>
              <a:buClr>
                <a:schemeClr val="accent4"/>
              </a:buClr>
              <a:buFont typeface="Nunito Sans Light" panose="00000400000000000000" pitchFamily="2" charset="0"/>
              <a:buChar char="​"/>
              <a:defRPr b="0" i="0">
                <a:latin typeface="+mn-lt"/>
              </a:defRPr>
            </a:lvl1pPr>
            <a:lvl2pPr marL="457189" indent="-228594">
              <a:lnSpc>
                <a:spcPct val="100000"/>
              </a:lnSpc>
              <a:spcBef>
                <a:spcPts val="0"/>
              </a:spcBef>
              <a:buSzPct val="100000"/>
              <a:buFont typeface="Arial" panose="020B0604020202020204" pitchFamily="34" charset="0"/>
              <a:buChar char="•"/>
              <a:defRPr b="0" i="0">
                <a:latin typeface="+mn-lt"/>
              </a:defRPr>
            </a:lvl2pPr>
            <a:lvl3pPr marL="685783" indent="-228594">
              <a:lnSpc>
                <a:spcPct val="100000"/>
              </a:lnSpc>
              <a:spcBef>
                <a:spcPts val="0"/>
              </a:spcBef>
              <a:buFont typeface="Calibri" panose="020F0502020204030204" pitchFamily="34" charset="0"/>
              <a:buChar char="–"/>
              <a:defRPr b="0" i="0">
                <a:latin typeface="+mn-lt"/>
              </a:defRPr>
            </a:lvl3pPr>
            <a:lvl4pPr marL="914377" indent="-228594">
              <a:lnSpc>
                <a:spcPct val="100000"/>
              </a:lnSpc>
              <a:spcBef>
                <a:spcPts val="0"/>
              </a:spcBef>
              <a:buFont typeface="Arial" panose="020B0604020202020204" pitchFamily="34" charset="0"/>
              <a:buChar char="•"/>
              <a:defRPr b="0" i="0">
                <a:latin typeface="+mn-lt"/>
              </a:defRPr>
            </a:lvl4pPr>
            <a:lvl5pPr marL="1142971" indent="-228594">
              <a:lnSpc>
                <a:spcPct val="100000"/>
              </a:lnSpc>
              <a:spcBef>
                <a:spcPts val="0"/>
              </a:spcBef>
              <a:buFont typeface="Calibri" panose="020F0502020204030204" pitchFamily="34" charset="0"/>
              <a:buChar char="–"/>
              <a:defRPr b="0" i="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6815354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628140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columns">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1" y="1512888"/>
            <a:ext cx="50673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1" y="1512888"/>
            <a:ext cx="50673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12888"/>
            <a:ext cx="0" cy="467360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12217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s with headers">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E57E5D30-827C-E9A1-52E8-112F0D781B5E}"/>
              </a:ext>
            </a:extLst>
          </p:cNvPr>
          <p:cNvSpPr>
            <a:spLocks noGrp="1"/>
          </p:cNvSpPr>
          <p:nvPr>
            <p:ph type="body" sz="quarter" idx="16"/>
          </p:nvPr>
        </p:nvSpPr>
        <p:spPr>
          <a:xfrm>
            <a:off x="685801" y="1512888"/>
            <a:ext cx="5067300" cy="640080"/>
          </a:xfrm>
          <a:solidFill>
            <a:schemeClr val="tx1"/>
          </a:solidFill>
        </p:spPr>
        <p:txBody>
          <a:bodyPr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1" y="2152968"/>
            <a:ext cx="5067300" cy="4019232"/>
          </a:xfrm>
        </p:spPr>
        <p:txBody>
          <a:bodyPr lIns="182880" tIns="182880" rIns="182880" b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5">
            <a:extLst>
              <a:ext uri="{FF2B5EF4-FFF2-40B4-BE49-F238E27FC236}">
                <a16:creationId xmlns:a16="http://schemas.microsoft.com/office/drawing/2014/main" id="{1CE7B388-8CB2-B94A-0BEE-60A83411AC01}"/>
              </a:ext>
            </a:extLst>
          </p:cNvPr>
          <p:cNvSpPr>
            <a:spLocks noGrp="1"/>
          </p:cNvSpPr>
          <p:nvPr>
            <p:ph type="body" sz="quarter" idx="17"/>
          </p:nvPr>
        </p:nvSpPr>
        <p:spPr>
          <a:xfrm>
            <a:off x="6438901" y="1512888"/>
            <a:ext cx="5067300" cy="640080"/>
          </a:xfrm>
          <a:solidFill>
            <a:schemeClr val="tx1"/>
          </a:solidFill>
        </p:spPr>
        <p:txBody>
          <a:bodyPr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1" y="2152968"/>
            <a:ext cx="5067300" cy="4019232"/>
          </a:xfrm>
        </p:spPr>
        <p:txBody>
          <a:bodyPr lIns="182880" tIns="182880" rIns="182880" bIns="18288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12888"/>
            <a:ext cx="0" cy="467360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2692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hree columns">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6" name="Text Placeholder 5">
            <a:extLst>
              <a:ext uri="{FF2B5EF4-FFF2-40B4-BE49-F238E27FC236}">
                <a16:creationId xmlns:a16="http://schemas.microsoft.com/office/drawing/2014/main" id="{3AF6D358-8799-F072-86AD-5A4162B5A8B5}"/>
              </a:ext>
            </a:extLst>
          </p:cNvPr>
          <p:cNvSpPr>
            <a:spLocks noGrp="1"/>
          </p:cNvSpPr>
          <p:nvPr>
            <p:ph type="body" sz="quarter" idx="16"/>
          </p:nvPr>
        </p:nvSpPr>
        <p:spPr>
          <a:xfrm>
            <a:off x="685800" y="1512888"/>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73258284-3919-5F70-5C76-1DA2B530CE98}"/>
              </a:ext>
            </a:extLst>
          </p:cNvPr>
          <p:cNvCxnSpPr>
            <a:cxnSpLocks/>
          </p:cNvCxnSpPr>
          <p:nvPr userDrawn="1"/>
        </p:nvCxnSpPr>
        <p:spPr>
          <a:xfrm>
            <a:off x="4160520" y="1512888"/>
            <a:ext cx="0" cy="467360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4521200" y="1512888"/>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2" name="Straight Connector 21">
            <a:extLst>
              <a:ext uri="{FF2B5EF4-FFF2-40B4-BE49-F238E27FC236}">
                <a16:creationId xmlns:a16="http://schemas.microsoft.com/office/drawing/2014/main" id="{DC4406FC-8033-3551-E960-28D9F45C5BDB}"/>
              </a:ext>
            </a:extLst>
          </p:cNvPr>
          <p:cNvCxnSpPr>
            <a:cxnSpLocks/>
          </p:cNvCxnSpPr>
          <p:nvPr userDrawn="1"/>
        </p:nvCxnSpPr>
        <p:spPr>
          <a:xfrm>
            <a:off x="7995921" y="1512888"/>
            <a:ext cx="0" cy="4659312"/>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4">
            <a:extLst>
              <a:ext uri="{FF2B5EF4-FFF2-40B4-BE49-F238E27FC236}">
                <a16:creationId xmlns:a16="http://schemas.microsoft.com/office/drawing/2014/main" id="{2090EC58-A149-5D8B-99B4-873A385EF57F}"/>
              </a:ext>
            </a:extLst>
          </p:cNvPr>
          <p:cNvSpPr>
            <a:spLocks noGrp="1"/>
          </p:cNvSpPr>
          <p:nvPr>
            <p:ph type="body" sz="quarter" idx="15"/>
          </p:nvPr>
        </p:nvSpPr>
        <p:spPr>
          <a:xfrm>
            <a:off x="8356600" y="1512888"/>
            <a:ext cx="3149600" cy="46593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343167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hree columns with headers">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3" name="Text Placeholder 5">
            <a:extLst>
              <a:ext uri="{FF2B5EF4-FFF2-40B4-BE49-F238E27FC236}">
                <a16:creationId xmlns:a16="http://schemas.microsoft.com/office/drawing/2014/main" id="{BFA8583B-2E71-3248-EBB3-3FB713692BA7}"/>
              </a:ext>
            </a:extLst>
          </p:cNvPr>
          <p:cNvSpPr>
            <a:spLocks noGrp="1"/>
          </p:cNvSpPr>
          <p:nvPr>
            <p:ph type="body" sz="quarter" idx="17"/>
          </p:nvPr>
        </p:nvSpPr>
        <p:spPr>
          <a:xfrm>
            <a:off x="685802" y="1512888"/>
            <a:ext cx="3149599" cy="640080"/>
          </a:xfrm>
          <a:solidFill>
            <a:schemeClr val="tx1"/>
          </a:solidFill>
        </p:spPr>
        <p:txBody>
          <a:bodyPr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6" name="Text Placeholder 5">
            <a:extLst>
              <a:ext uri="{FF2B5EF4-FFF2-40B4-BE49-F238E27FC236}">
                <a16:creationId xmlns:a16="http://schemas.microsoft.com/office/drawing/2014/main" id="{3AF6D358-8799-F072-86AD-5A4162B5A8B5}"/>
              </a:ext>
            </a:extLst>
          </p:cNvPr>
          <p:cNvSpPr>
            <a:spLocks noGrp="1"/>
          </p:cNvSpPr>
          <p:nvPr>
            <p:ph type="body" sz="quarter" idx="16"/>
          </p:nvPr>
        </p:nvSpPr>
        <p:spPr>
          <a:xfrm>
            <a:off x="685800" y="2152968"/>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5">
            <a:extLst>
              <a:ext uri="{FF2B5EF4-FFF2-40B4-BE49-F238E27FC236}">
                <a16:creationId xmlns:a16="http://schemas.microsoft.com/office/drawing/2014/main" id="{DB34D38B-D9AF-B3CB-64C4-B7CE2C5C3820}"/>
              </a:ext>
            </a:extLst>
          </p:cNvPr>
          <p:cNvSpPr>
            <a:spLocks noGrp="1"/>
          </p:cNvSpPr>
          <p:nvPr>
            <p:ph type="body" sz="quarter" idx="18"/>
          </p:nvPr>
        </p:nvSpPr>
        <p:spPr>
          <a:xfrm>
            <a:off x="4521202" y="1512888"/>
            <a:ext cx="3149599" cy="640080"/>
          </a:xfrm>
          <a:solidFill>
            <a:schemeClr val="tx1"/>
          </a:solidFill>
        </p:spPr>
        <p:txBody>
          <a:bodyPr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4521200" y="2152968"/>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5">
            <a:extLst>
              <a:ext uri="{FF2B5EF4-FFF2-40B4-BE49-F238E27FC236}">
                <a16:creationId xmlns:a16="http://schemas.microsoft.com/office/drawing/2014/main" id="{21EB66C9-CA94-00E3-42A9-20F09B0A83CB}"/>
              </a:ext>
            </a:extLst>
          </p:cNvPr>
          <p:cNvSpPr>
            <a:spLocks noGrp="1"/>
          </p:cNvSpPr>
          <p:nvPr>
            <p:ph type="body" sz="quarter" idx="19"/>
          </p:nvPr>
        </p:nvSpPr>
        <p:spPr>
          <a:xfrm>
            <a:off x="8356602" y="1512888"/>
            <a:ext cx="3149599" cy="640080"/>
          </a:xfrm>
          <a:solidFill>
            <a:schemeClr val="tx1"/>
          </a:solidFill>
        </p:spPr>
        <p:txBody>
          <a:bodyPr anchor="ctr">
            <a:normAutofit/>
          </a:bodyPr>
          <a:lstStyle>
            <a:lvl1pPr marL="0" indent="0" algn="ctr">
              <a:buFontTx/>
              <a:buNone/>
              <a:defRPr sz="2200">
                <a:solidFill>
                  <a:schemeClr val="bg1"/>
                </a:solidFill>
                <a:latin typeface="+mj-lt"/>
              </a:defRPr>
            </a:lvl1pPr>
          </a:lstStyle>
          <a:p>
            <a:pPr lvl="0"/>
            <a:r>
              <a:rPr lang="en-US"/>
              <a:t>Click to edit Master text styles</a:t>
            </a:r>
          </a:p>
        </p:txBody>
      </p:sp>
      <p:sp>
        <p:nvSpPr>
          <p:cNvPr id="21" name="Text Placeholder 4">
            <a:extLst>
              <a:ext uri="{FF2B5EF4-FFF2-40B4-BE49-F238E27FC236}">
                <a16:creationId xmlns:a16="http://schemas.microsoft.com/office/drawing/2014/main" id="{2090EC58-A149-5D8B-99B4-873A385EF57F}"/>
              </a:ext>
            </a:extLst>
          </p:cNvPr>
          <p:cNvSpPr>
            <a:spLocks noGrp="1"/>
          </p:cNvSpPr>
          <p:nvPr>
            <p:ph type="body" sz="quarter" idx="15"/>
          </p:nvPr>
        </p:nvSpPr>
        <p:spPr>
          <a:xfrm>
            <a:off x="8356600" y="2152968"/>
            <a:ext cx="3149600" cy="4019232"/>
          </a:xfrm>
        </p:spPr>
        <p:txBody>
          <a:bodyPr lIns="182880" tIns="182880" rIns="182880" bIns="182880"/>
          <a:lstStyle>
            <a:lvl1pPr>
              <a:spcAft>
                <a:spcPts val="600"/>
              </a:spcAft>
              <a:defRPr/>
            </a:lvl1pPr>
            <a:lvl2pPr>
              <a:spcAft>
                <a:spcPts val="600"/>
              </a:spcAft>
              <a:defRPr/>
            </a:lvl2pPr>
            <a:lvl3pPr>
              <a:spcAft>
                <a:spcPts val="600"/>
              </a:spcAft>
              <a:defRPr/>
            </a:lvl3pPr>
            <a:lvl4pPr>
              <a:spcAft>
                <a:spcPts val="600"/>
              </a:spcAft>
              <a:defRPr/>
            </a:lvl4pPr>
            <a:lvl5pPr>
              <a:spcAft>
                <a:spcPts val="60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a:extLst>
              <a:ext uri="{FF2B5EF4-FFF2-40B4-BE49-F238E27FC236}">
                <a16:creationId xmlns:a16="http://schemas.microsoft.com/office/drawing/2014/main" id="{73258284-3919-5F70-5C76-1DA2B530CE98}"/>
              </a:ext>
            </a:extLst>
          </p:cNvPr>
          <p:cNvCxnSpPr>
            <a:cxnSpLocks/>
          </p:cNvCxnSpPr>
          <p:nvPr userDrawn="1"/>
        </p:nvCxnSpPr>
        <p:spPr>
          <a:xfrm>
            <a:off x="4160520" y="1512888"/>
            <a:ext cx="0" cy="467360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C4406FC-8033-3551-E960-28D9F45C5BDB}"/>
              </a:ext>
            </a:extLst>
          </p:cNvPr>
          <p:cNvCxnSpPr>
            <a:cxnSpLocks/>
          </p:cNvCxnSpPr>
          <p:nvPr userDrawn="1"/>
        </p:nvCxnSpPr>
        <p:spPr>
          <a:xfrm>
            <a:off x="7995921" y="1512888"/>
            <a:ext cx="0" cy="4659312"/>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8550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4x4 gri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D40BC00B-1F8B-8D4C-8C4C-F0A9E41B6C8D}"/>
              </a:ext>
            </a:extLst>
          </p:cNvPr>
          <p:cNvSpPr>
            <a:spLocks noGrp="1"/>
          </p:cNvSpPr>
          <p:nvPr>
            <p:ph type="title"/>
          </p:nvPr>
        </p:nvSpPr>
        <p:spPr/>
        <p:txBody>
          <a:bodyPr/>
          <a:lstStyle/>
          <a:p>
            <a:r>
              <a:rPr lang="en-US"/>
              <a:t>Click to edit Master title style</a:t>
            </a:r>
          </a:p>
        </p:txBody>
      </p:sp>
      <p:sp>
        <p:nvSpPr>
          <p:cNvPr id="24" name="Text Placeholder 23">
            <a:extLst>
              <a:ext uri="{FF2B5EF4-FFF2-40B4-BE49-F238E27FC236}">
                <a16:creationId xmlns:a16="http://schemas.microsoft.com/office/drawing/2014/main" id="{9FF29C81-B64D-70E0-7553-4F7DF9A6777B}"/>
              </a:ext>
            </a:extLst>
          </p:cNvPr>
          <p:cNvSpPr>
            <a:spLocks noGrp="1"/>
          </p:cNvSpPr>
          <p:nvPr>
            <p:ph type="body" sz="quarter" idx="15"/>
          </p:nvPr>
        </p:nvSpPr>
        <p:spPr>
          <a:xfrm>
            <a:off x="685801" y="1512889"/>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A1958E1A-D46E-33F1-C460-774B77EB15B3}"/>
              </a:ext>
            </a:extLst>
          </p:cNvPr>
          <p:cNvSpPr>
            <a:spLocks noGrp="1"/>
          </p:cNvSpPr>
          <p:nvPr>
            <p:ph type="body" sz="quarter" idx="14"/>
          </p:nvPr>
        </p:nvSpPr>
        <p:spPr>
          <a:xfrm>
            <a:off x="6438901" y="1512889"/>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25" name="Straight Connector 24">
            <a:extLst>
              <a:ext uri="{FF2B5EF4-FFF2-40B4-BE49-F238E27FC236}">
                <a16:creationId xmlns:a16="http://schemas.microsoft.com/office/drawing/2014/main" id="{0348D4A4-C6F0-75B9-9D38-FB5D48C7C953}"/>
              </a:ext>
            </a:extLst>
          </p:cNvPr>
          <p:cNvCxnSpPr>
            <a:cxnSpLocks/>
          </p:cNvCxnSpPr>
          <p:nvPr userDrawn="1"/>
        </p:nvCxnSpPr>
        <p:spPr>
          <a:xfrm>
            <a:off x="6096000" y="1512888"/>
            <a:ext cx="0" cy="467360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23">
            <a:extLst>
              <a:ext uri="{FF2B5EF4-FFF2-40B4-BE49-F238E27FC236}">
                <a16:creationId xmlns:a16="http://schemas.microsoft.com/office/drawing/2014/main" id="{8DAB9D6C-F942-FB62-A403-60D153D421E6}"/>
              </a:ext>
            </a:extLst>
          </p:cNvPr>
          <p:cNvSpPr>
            <a:spLocks noGrp="1"/>
          </p:cNvSpPr>
          <p:nvPr>
            <p:ph type="body" sz="quarter" idx="16"/>
          </p:nvPr>
        </p:nvSpPr>
        <p:spPr>
          <a:xfrm>
            <a:off x="685801" y="4185445"/>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4">
            <a:extLst>
              <a:ext uri="{FF2B5EF4-FFF2-40B4-BE49-F238E27FC236}">
                <a16:creationId xmlns:a16="http://schemas.microsoft.com/office/drawing/2014/main" id="{D541894F-3A3D-0590-C68A-85308B5795CD}"/>
              </a:ext>
            </a:extLst>
          </p:cNvPr>
          <p:cNvSpPr>
            <a:spLocks noGrp="1"/>
          </p:cNvSpPr>
          <p:nvPr>
            <p:ph type="body" sz="quarter" idx="17"/>
          </p:nvPr>
        </p:nvSpPr>
        <p:spPr>
          <a:xfrm>
            <a:off x="6438901" y="4185445"/>
            <a:ext cx="5067300" cy="1986756"/>
          </a:xfrm>
        </p:spPr>
        <p:txBody>
          <a:bodyPr>
            <a:normAutofit/>
          </a:bodyPr>
          <a:lstStyle>
            <a:lvl1pPr>
              <a:spcAft>
                <a:spcPts val="600"/>
              </a:spcAft>
              <a:defRPr sz="1800"/>
            </a:lvl1pPr>
            <a:lvl2pPr>
              <a:spcAft>
                <a:spcPts val="600"/>
              </a:spcAft>
              <a:defRPr sz="1800"/>
            </a:lvl2pPr>
            <a:lvl3pPr>
              <a:spcAft>
                <a:spcPts val="600"/>
              </a:spcAft>
              <a:defRPr sz="1800"/>
            </a:lvl3pPr>
            <a:lvl4pPr>
              <a:spcAft>
                <a:spcPts val="600"/>
              </a:spcAft>
              <a:defRPr sz="1800"/>
            </a:lvl4pPr>
            <a:lvl5pPr>
              <a:spcAft>
                <a:spcPts val="600"/>
              </a:spcAft>
              <a:defRPr sz="1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4" name="Straight Connector 3">
            <a:extLst>
              <a:ext uri="{FF2B5EF4-FFF2-40B4-BE49-F238E27FC236}">
                <a16:creationId xmlns:a16="http://schemas.microsoft.com/office/drawing/2014/main" id="{AB0FBBDA-B417-B206-978B-2089DEF7063E}"/>
              </a:ext>
            </a:extLst>
          </p:cNvPr>
          <p:cNvCxnSpPr>
            <a:cxnSpLocks/>
          </p:cNvCxnSpPr>
          <p:nvPr userDrawn="1"/>
        </p:nvCxnSpPr>
        <p:spPr>
          <a:xfrm>
            <a:off x="685800" y="3842544"/>
            <a:ext cx="10820400"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316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1AD9A2-4B28-402F-83D1-5E02AFBB8A69}"/>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D597A98D-9FE4-56BA-D305-6076CDEE5291}"/>
              </a:ext>
            </a:extLst>
          </p:cNvPr>
          <p:cNvSpPr>
            <a:spLocks noGrp="1"/>
          </p:cNvSpPr>
          <p:nvPr>
            <p:ph type="pic" sz="quarter" idx="10"/>
          </p:nvPr>
        </p:nvSpPr>
        <p:spPr>
          <a:xfrm>
            <a:off x="0" y="1512888"/>
            <a:ext cx="12192000" cy="4659312"/>
          </a:xfrm>
        </p:spPr>
        <p:txBody>
          <a:bodyPr anchor="ctr"/>
          <a:lstStyle>
            <a:lvl1pPr marL="0" indent="0" algn="ctr">
              <a:buFontTx/>
              <a:buNone/>
              <a:defRPr/>
            </a:lvl1pPr>
          </a:lstStyle>
          <a:p>
            <a:r>
              <a:rPr lang="en-US"/>
              <a:t>Click icon to add picture</a:t>
            </a:r>
          </a:p>
        </p:txBody>
      </p:sp>
    </p:spTree>
    <p:extLst>
      <p:ext uri="{BB962C8B-B14F-4D97-AF65-F5344CB8AC3E}">
        <p14:creationId xmlns:p14="http://schemas.microsoft.com/office/powerpoint/2010/main" val="12894225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ags" Target="../tags/tag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6.xml"/><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42" Type="http://schemas.openxmlformats.org/officeDocument/2006/relationships/slideLayout" Target="../slideLayouts/slideLayout122.xml"/><Relationship Id="rId47" Type="http://schemas.openxmlformats.org/officeDocument/2006/relationships/slideLayout" Target="../slideLayouts/slideLayout127.xml"/><Relationship Id="rId50" Type="http://schemas.openxmlformats.org/officeDocument/2006/relationships/slideLayout" Target="../slideLayouts/slideLayout130.xml"/><Relationship Id="rId55" Type="http://schemas.openxmlformats.org/officeDocument/2006/relationships/slideLayout" Target="../slideLayouts/slideLayout135.xml"/><Relationship Id="rId63" Type="http://schemas.openxmlformats.org/officeDocument/2006/relationships/slideLayout" Target="../slideLayouts/slideLayout143.xml"/><Relationship Id="rId7" Type="http://schemas.openxmlformats.org/officeDocument/2006/relationships/slideLayout" Target="../slideLayouts/slideLayout87.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9" Type="http://schemas.openxmlformats.org/officeDocument/2006/relationships/slideLayout" Target="../slideLayouts/slideLayout109.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slideLayout" Target="../slideLayouts/slideLayout117.xml"/><Relationship Id="rId40" Type="http://schemas.openxmlformats.org/officeDocument/2006/relationships/slideLayout" Target="../slideLayouts/slideLayout120.xml"/><Relationship Id="rId45" Type="http://schemas.openxmlformats.org/officeDocument/2006/relationships/slideLayout" Target="../slideLayouts/slideLayout125.xml"/><Relationship Id="rId53" Type="http://schemas.openxmlformats.org/officeDocument/2006/relationships/slideLayout" Target="../slideLayouts/slideLayout133.xml"/><Relationship Id="rId58" Type="http://schemas.openxmlformats.org/officeDocument/2006/relationships/slideLayout" Target="../slideLayouts/slideLayout138.xml"/><Relationship Id="rId5" Type="http://schemas.openxmlformats.org/officeDocument/2006/relationships/slideLayout" Target="../slideLayouts/slideLayout85.xml"/><Relationship Id="rId61" Type="http://schemas.openxmlformats.org/officeDocument/2006/relationships/slideLayout" Target="../slideLayouts/slideLayout141.xml"/><Relationship Id="rId19" Type="http://schemas.openxmlformats.org/officeDocument/2006/relationships/slideLayout" Target="../slideLayouts/slideLayout9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43" Type="http://schemas.openxmlformats.org/officeDocument/2006/relationships/slideLayout" Target="../slideLayouts/slideLayout123.xml"/><Relationship Id="rId48" Type="http://schemas.openxmlformats.org/officeDocument/2006/relationships/slideLayout" Target="../slideLayouts/slideLayout128.xml"/><Relationship Id="rId56" Type="http://schemas.openxmlformats.org/officeDocument/2006/relationships/slideLayout" Target="../slideLayouts/slideLayout136.xml"/><Relationship Id="rId64" Type="http://schemas.openxmlformats.org/officeDocument/2006/relationships/slideLayout" Target="../slideLayouts/slideLayout144.xml"/><Relationship Id="rId8" Type="http://schemas.openxmlformats.org/officeDocument/2006/relationships/slideLayout" Target="../slideLayouts/slideLayout88.xml"/><Relationship Id="rId51" Type="http://schemas.openxmlformats.org/officeDocument/2006/relationships/slideLayout" Target="../slideLayouts/slideLayout131.xml"/><Relationship Id="rId3" Type="http://schemas.openxmlformats.org/officeDocument/2006/relationships/slideLayout" Target="../slideLayouts/slideLayout83.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slideLayout" Target="../slideLayouts/slideLayout118.xml"/><Relationship Id="rId46" Type="http://schemas.openxmlformats.org/officeDocument/2006/relationships/slideLayout" Target="../slideLayouts/slideLayout126.xml"/><Relationship Id="rId59" Type="http://schemas.openxmlformats.org/officeDocument/2006/relationships/slideLayout" Target="../slideLayouts/slideLayout139.xml"/><Relationship Id="rId20" Type="http://schemas.openxmlformats.org/officeDocument/2006/relationships/slideLayout" Target="../slideLayouts/slideLayout100.xml"/><Relationship Id="rId41" Type="http://schemas.openxmlformats.org/officeDocument/2006/relationships/slideLayout" Target="../slideLayouts/slideLayout121.xml"/><Relationship Id="rId54" Type="http://schemas.openxmlformats.org/officeDocument/2006/relationships/slideLayout" Target="../slideLayouts/slideLayout134.xml"/><Relationship Id="rId62" Type="http://schemas.openxmlformats.org/officeDocument/2006/relationships/slideLayout" Target="../slideLayouts/slideLayout142.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49" Type="http://schemas.openxmlformats.org/officeDocument/2006/relationships/slideLayout" Target="../slideLayouts/slideLayout129.xml"/><Relationship Id="rId57" Type="http://schemas.openxmlformats.org/officeDocument/2006/relationships/slideLayout" Target="../slideLayouts/slideLayout137.xml"/><Relationship Id="rId10" Type="http://schemas.openxmlformats.org/officeDocument/2006/relationships/slideLayout" Target="../slideLayouts/slideLayout90.xml"/><Relationship Id="rId31" Type="http://schemas.openxmlformats.org/officeDocument/2006/relationships/slideLayout" Target="../slideLayouts/slideLayout111.xml"/><Relationship Id="rId44" Type="http://schemas.openxmlformats.org/officeDocument/2006/relationships/slideLayout" Target="../slideLayouts/slideLayout124.xml"/><Relationship Id="rId52" Type="http://schemas.openxmlformats.org/officeDocument/2006/relationships/slideLayout" Target="../slideLayouts/slideLayout132.xml"/><Relationship Id="rId60" Type="http://schemas.openxmlformats.org/officeDocument/2006/relationships/slideLayout" Target="../slideLayouts/slideLayout140.xml"/><Relationship Id="rId65" Type="http://schemas.openxmlformats.org/officeDocument/2006/relationships/theme" Target="../theme/theme2.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39" Type="http://schemas.openxmlformats.org/officeDocument/2006/relationships/slideLayout" Target="../slideLayouts/slideLayout11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0810EF0-4CB8-964F-AE51-39CF6655E0B8}"/>
              </a:ext>
            </a:extLst>
          </p:cNvPr>
          <p:cNvSpPr>
            <a:spLocks noGrp="1"/>
          </p:cNvSpPr>
          <p:nvPr>
            <p:ph type="title"/>
          </p:nvPr>
        </p:nvSpPr>
        <p:spPr>
          <a:xfrm>
            <a:off x="685800" y="291162"/>
            <a:ext cx="10789920" cy="1080438"/>
          </a:xfrm>
          <a:prstGeom prst="rect">
            <a:avLst/>
          </a:prstGeom>
        </p:spPr>
        <p:txBody>
          <a:bodyPr vert="horz" lIns="0" tIns="0" rIns="0" bIns="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D1351701-6250-7745-B079-6BAA93D064BA}"/>
              </a:ext>
            </a:extLst>
          </p:cNvPr>
          <p:cNvSpPr>
            <a:spLocks noGrp="1"/>
          </p:cNvSpPr>
          <p:nvPr>
            <p:ph type="body" idx="1"/>
          </p:nvPr>
        </p:nvSpPr>
        <p:spPr>
          <a:xfrm>
            <a:off x="685800" y="1600200"/>
            <a:ext cx="10789920" cy="443629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0EFD3209-5A9B-C840-9D6E-1836DEE0C650}"/>
              </a:ext>
            </a:extLst>
          </p:cNvPr>
          <p:cNvSpPr>
            <a:spLocks noGrp="1"/>
          </p:cNvSpPr>
          <p:nvPr>
            <p:ph type="sldNum" sz="quarter" idx="4"/>
          </p:nvPr>
        </p:nvSpPr>
        <p:spPr>
          <a:xfrm>
            <a:off x="11497586" y="291162"/>
            <a:ext cx="386066" cy="365125"/>
          </a:xfrm>
          <a:prstGeom prst="rect">
            <a:avLst/>
          </a:prstGeom>
        </p:spPr>
        <p:txBody>
          <a:bodyPr vert="horz" lIns="91440" tIns="45720" rIns="91440" bIns="45720" rtlCol="0" anchor="ctr"/>
          <a:lstStyle>
            <a:lvl1pPr algn="r">
              <a:defRPr sz="900">
                <a:solidFill>
                  <a:schemeClr val="tx1"/>
                </a:solidFill>
                <a:latin typeface="+mn-lt"/>
                <a:ea typeface="Roboto" panose="02000000000000000000" pitchFamily="2" charset="0"/>
                <a:cs typeface="Roboto" panose="02000000000000000000" pitchFamily="2"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
        <p:nvSpPr>
          <p:cNvPr id="8" name="Rectangle 7">
            <a:extLst>
              <a:ext uri="{FF2B5EF4-FFF2-40B4-BE49-F238E27FC236}">
                <a16:creationId xmlns:a16="http://schemas.microsoft.com/office/drawing/2014/main" id="{AF090BEE-877E-1649-BC36-FB80838694D0}"/>
              </a:ext>
              <a:ext uri="{C183D7F6-B498-43B3-948B-1728B52AA6E4}">
                <adec:decorative xmlns:adec="http://schemas.microsoft.com/office/drawing/2017/decorative" val="1"/>
              </a:ext>
            </a:extLst>
          </p:cNvPr>
          <p:cNvSpPr/>
          <p:nvPr userDrawn="1"/>
        </p:nvSpPr>
        <p:spPr>
          <a:xfrm>
            <a:off x="0" y="6176963"/>
            <a:ext cx="12192000" cy="68103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pitchFamily="2" charset="77"/>
              <a:ea typeface="+mn-ea"/>
              <a:cs typeface="+mn-cs"/>
            </a:endParaRPr>
          </a:p>
        </p:txBody>
      </p:sp>
      <p:pic>
        <p:nvPicPr>
          <p:cNvPr id="10" name="Picture 9">
            <a:extLst>
              <a:ext uri="{FF2B5EF4-FFF2-40B4-BE49-F238E27FC236}">
                <a16:creationId xmlns:a16="http://schemas.microsoft.com/office/drawing/2014/main" id="{98AF09E8-AA19-E84D-882D-C78E178E9EFA}"/>
              </a:ext>
              <a:ext uri="{C183D7F6-B498-43B3-948B-1728B52AA6E4}">
                <adec:decorative xmlns:adec="http://schemas.microsoft.com/office/drawing/2017/decorative" val="1"/>
              </a:ext>
            </a:extLst>
          </p:cNvPr>
          <p:cNvPicPr>
            <a:picLocks noChangeAspect="1"/>
          </p:cNvPicPr>
          <p:nvPr userDrawn="1"/>
        </p:nvPicPr>
        <p:blipFill>
          <a:blip r:embed="rId83" cstate="email">
            <a:extLst>
              <a:ext uri="{28A0092B-C50C-407E-A947-70E740481C1C}">
                <a14:useLocalDpi xmlns:a14="http://schemas.microsoft.com/office/drawing/2010/main"/>
              </a:ext>
            </a:extLst>
          </a:blip>
          <a:stretch>
            <a:fillRect/>
          </a:stretch>
        </p:blipFill>
        <p:spPr>
          <a:xfrm>
            <a:off x="10194348" y="6328965"/>
            <a:ext cx="1511583" cy="377031"/>
          </a:xfrm>
          <a:prstGeom prst="rect">
            <a:avLst/>
          </a:prstGeom>
        </p:spPr>
      </p:pic>
      <p:sp>
        <p:nvSpPr>
          <p:cNvPr id="5" name="Footer Placeholder 4" hidden="1">
            <a:extLst>
              <a:ext uri="{FF2B5EF4-FFF2-40B4-BE49-F238E27FC236}">
                <a16:creationId xmlns:a16="http://schemas.microsoft.com/office/drawing/2014/main" id="{8FA44120-793C-8C4C-B780-FACF6C3A3551}"/>
              </a:ext>
            </a:extLst>
          </p:cNvPr>
          <p:cNvSpPr>
            <a:spLocks noGrp="1"/>
          </p:cNvSpPr>
          <p:nvPr>
            <p:ph type="ftr" sz="quarter" idx="3"/>
          </p:nvPr>
        </p:nvSpPr>
        <p:spPr>
          <a:xfrm>
            <a:off x="8061298" y="6858000"/>
            <a:ext cx="4114800" cy="131154"/>
          </a:xfrm>
          <a:prstGeom prst="rect">
            <a:avLst/>
          </a:prstGeom>
        </p:spPr>
        <p:txBody>
          <a:bodyPr vert="horz" lIns="91440" tIns="45720" rIns="91440" bIns="45720" rtlCol="0" anchor="ctr"/>
          <a:lstStyle>
            <a:lvl1pPr algn="r">
              <a:defRPr sz="700" b="0" i="0">
                <a:solidFill>
                  <a:schemeClr val="tx1">
                    <a:tint val="75000"/>
                  </a:schemeClr>
                </a:solidFill>
                <a:latin typeface="Nunito Sans Light" pitchFamily="2" charset="77"/>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4" name="Date Placeholder 3" hidden="1">
            <a:extLst>
              <a:ext uri="{FF2B5EF4-FFF2-40B4-BE49-F238E27FC236}">
                <a16:creationId xmlns:a16="http://schemas.microsoft.com/office/drawing/2014/main" id="{75FA2543-75A7-3243-8AC3-D6E08DCD6EAF}"/>
              </a:ext>
            </a:extLst>
          </p:cNvPr>
          <p:cNvSpPr>
            <a:spLocks noGrp="1"/>
          </p:cNvSpPr>
          <p:nvPr>
            <p:ph type="dt" sz="half" idx="2"/>
          </p:nvPr>
        </p:nvSpPr>
        <p:spPr>
          <a:xfrm>
            <a:off x="0" y="6867312"/>
            <a:ext cx="2743200" cy="131154"/>
          </a:xfrm>
          <a:prstGeom prst="rect">
            <a:avLst/>
          </a:prstGeom>
        </p:spPr>
        <p:txBody>
          <a:bodyPr vert="horz" lIns="91440" tIns="45720" rIns="91440" bIns="45720" rtlCol="0" anchor="ctr"/>
          <a:lstStyle>
            <a:lvl1pPr algn="l">
              <a:defRPr sz="700" b="0" i="0">
                <a:solidFill>
                  <a:schemeClr val="tx1">
                    <a:tint val="75000"/>
                  </a:schemeClr>
                </a:solidFill>
                <a:latin typeface="Nunito Sans Light" pitchFamily="2" charset="77"/>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a:ln>
                <a:noFill/>
              </a:ln>
              <a:solidFill>
                <a:srgbClr val="000000">
                  <a:tint val="75000"/>
                </a:srgbClr>
              </a:solidFill>
              <a:effectLst/>
              <a:uLnTx/>
              <a:uFillTx/>
              <a:latin typeface="Nunito Sans Light" pitchFamily="2" charset="77"/>
              <a:ea typeface="+mn-ea"/>
              <a:cs typeface="+mn-cs"/>
            </a:endParaRPr>
          </a:p>
        </p:txBody>
      </p:sp>
      <p:sp>
        <p:nvSpPr>
          <p:cNvPr id="7" name="empower - DO NOT DELETE!!!" hidden="1">
            <a:extLst>
              <a:ext uri="{FF2B5EF4-FFF2-40B4-BE49-F238E27FC236}">
                <a16:creationId xmlns:a16="http://schemas.microsoft.com/office/drawing/2014/main" id="{9B191021-DD9D-4D72-8BC8-0861352064C2}"/>
              </a:ext>
            </a:extLst>
          </p:cNvPr>
          <p:cNvSpPr/>
          <p:nvPr userDrawn="1">
            <p:custDataLst>
              <p:tags r:id="rId82"/>
            </p:custDataLst>
          </p:nvPr>
        </p:nvSpPr>
        <p:spPr>
          <a:xfrm>
            <a:off x="0" y="0"/>
            <a:ext cx="0" cy="0"/>
          </a:xfrm>
          <a:prstGeom prst="ellipse">
            <a:avLst/>
          </a:prstGeom>
          <a:solidFill>
            <a:schemeClr val="accent4"/>
          </a:solid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unito Sans Light"/>
              <a:ea typeface="+mn-ea"/>
              <a:cs typeface="+mn-cs"/>
            </a:endParaRPr>
          </a:p>
        </p:txBody>
      </p:sp>
    </p:spTree>
    <p:extLst>
      <p:ext uri="{BB962C8B-B14F-4D97-AF65-F5344CB8AC3E}">
        <p14:creationId xmlns:p14="http://schemas.microsoft.com/office/powerpoint/2010/main" val="1206618011"/>
      </p:ext>
    </p:extLst>
  </p:cSld>
  <p:clrMap bg1="lt1" tx1="dk1" bg2="lt2" tx2="dk2" accent1="accent1" accent2="accent2" accent3="accent3" accent4="accent4" accent5="accent5" accent6="accent6" hlink="hlink" folHlink="folHlink"/>
  <p:sldLayoutIdLst>
    <p:sldLayoutId id="2147483662" r:id="rId1"/>
    <p:sldLayoutId id="2147483705" r:id="rId2"/>
    <p:sldLayoutId id="2147483706" r:id="rId3"/>
    <p:sldLayoutId id="2147483710" r:id="rId4"/>
    <p:sldLayoutId id="2147483711" r:id="rId5"/>
    <p:sldLayoutId id="2147483745" r:id="rId6"/>
    <p:sldLayoutId id="2147483663" r:id="rId7"/>
    <p:sldLayoutId id="2147483664" r:id="rId8"/>
    <p:sldLayoutId id="2147483665" r:id="rId9"/>
    <p:sldLayoutId id="2147483738" r:id="rId10"/>
    <p:sldLayoutId id="2147483757" r:id="rId11"/>
    <p:sldLayoutId id="2147483666" r:id="rId12"/>
    <p:sldLayoutId id="2147483667" r:id="rId13"/>
    <p:sldLayoutId id="2147483701" r:id="rId14"/>
    <p:sldLayoutId id="2147483669" r:id="rId15"/>
    <p:sldLayoutId id="2147483670" r:id="rId16"/>
    <p:sldLayoutId id="2147483671" r:id="rId17"/>
    <p:sldLayoutId id="2147483672" r:id="rId18"/>
    <p:sldLayoutId id="2147483674" r:id="rId19"/>
    <p:sldLayoutId id="2147483673" r:id="rId20"/>
    <p:sldLayoutId id="2147483731" r:id="rId21"/>
    <p:sldLayoutId id="2147483730" r:id="rId22"/>
    <p:sldLayoutId id="2147483712" r:id="rId23"/>
    <p:sldLayoutId id="2147483675" r:id="rId24"/>
    <p:sldLayoutId id="2147483709" r:id="rId25"/>
    <p:sldLayoutId id="2147483752" r:id="rId26"/>
    <p:sldLayoutId id="2147483749" r:id="rId27"/>
    <p:sldLayoutId id="2147483750" r:id="rId28"/>
    <p:sldLayoutId id="2147483751" r:id="rId29"/>
    <p:sldLayoutId id="2147483734" r:id="rId30"/>
    <p:sldLayoutId id="2147483735" r:id="rId31"/>
    <p:sldLayoutId id="2147483739" r:id="rId32"/>
    <p:sldLayoutId id="2147483676" r:id="rId33"/>
    <p:sldLayoutId id="2147483708" r:id="rId34"/>
    <p:sldLayoutId id="2147483707" r:id="rId35"/>
    <p:sldLayoutId id="2147483740" r:id="rId36"/>
    <p:sldLayoutId id="2147483753" r:id="rId37"/>
    <p:sldLayoutId id="2147483754" r:id="rId38"/>
    <p:sldLayoutId id="2147483677" r:id="rId39"/>
    <p:sldLayoutId id="2147483678" r:id="rId40"/>
    <p:sldLayoutId id="2147483679" r:id="rId41"/>
    <p:sldLayoutId id="2147483680" r:id="rId42"/>
    <p:sldLayoutId id="2147483681" r:id="rId43"/>
    <p:sldLayoutId id="2147483682" r:id="rId44"/>
    <p:sldLayoutId id="2147483683" r:id="rId45"/>
    <p:sldLayoutId id="2147483742" r:id="rId46"/>
    <p:sldLayoutId id="2147483741" r:id="rId47"/>
    <p:sldLayoutId id="2147483743" r:id="rId48"/>
    <p:sldLayoutId id="2147483744" r:id="rId49"/>
    <p:sldLayoutId id="2147483684" r:id="rId50"/>
    <p:sldLayoutId id="2147483685" r:id="rId51"/>
    <p:sldLayoutId id="2147483704" r:id="rId52"/>
    <p:sldLayoutId id="2147483686" r:id="rId53"/>
    <p:sldLayoutId id="2147483687" r:id="rId54"/>
    <p:sldLayoutId id="2147483688" r:id="rId55"/>
    <p:sldLayoutId id="2147483689" r:id="rId56"/>
    <p:sldLayoutId id="2147483661" r:id="rId57"/>
    <p:sldLayoutId id="2147483690" r:id="rId58"/>
    <p:sldLayoutId id="2147483691" r:id="rId59"/>
    <p:sldLayoutId id="2147483692" r:id="rId60"/>
    <p:sldLayoutId id="2147483693" r:id="rId61"/>
    <p:sldLayoutId id="2147483694" r:id="rId62"/>
    <p:sldLayoutId id="2147483695" r:id="rId63"/>
    <p:sldLayoutId id="2147483696" r:id="rId64"/>
    <p:sldLayoutId id="2147483697" r:id="rId65"/>
    <p:sldLayoutId id="2147483698" r:id="rId66"/>
    <p:sldLayoutId id="2147483699" r:id="rId67"/>
    <p:sldLayoutId id="2147483700" r:id="rId68"/>
    <p:sldLayoutId id="2147483759" r:id="rId69"/>
    <p:sldLayoutId id="2147483760" r:id="rId70"/>
    <p:sldLayoutId id="2147483761" r:id="rId71"/>
    <p:sldLayoutId id="2147483763" r:id="rId72"/>
    <p:sldLayoutId id="2147483765" r:id="rId73"/>
    <p:sldLayoutId id="2147483766" r:id="rId74"/>
    <p:sldLayoutId id="2147483767" r:id="rId75"/>
    <p:sldLayoutId id="2147483768" r:id="rId76"/>
    <p:sldLayoutId id="2147483769" r:id="rId77"/>
    <p:sldLayoutId id="2147483770" r:id="rId78"/>
    <p:sldLayoutId id="2147483771" r:id="rId79"/>
    <p:sldLayoutId id="2147483772" r:id="rId80"/>
  </p:sldLayoutIdLst>
  <p:hf hdr="0" ftr="0" dt="0"/>
  <p:txStyles>
    <p:titleStyle>
      <a:lvl1pPr algn="l" defTabSz="914400" rtl="0" eaLnBrk="1" latinLnBrk="0" hangingPunct="1">
        <a:lnSpc>
          <a:spcPct val="90000"/>
        </a:lnSpc>
        <a:spcBef>
          <a:spcPct val="0"/>
        </a:spcBef>
        <a:buNone/>
        <a:defRPr sz="3600" b="0" i="0" kern="1200" spc="0" baseline="0">
          <a:solidFill>
            <a:schemeClr val="tx1"/>
          </a:solidFill>
          <a:latin typeface="+mj-lt"/>
          <a:ea typeface="Roboto Slab Light" pitchFamily="2" charset="0"/>
          <a:cs typeface="+mj-cs"/>
        </a:defRPr>
      </a:lvl1pPr>
    </p:titleStyle>
    <p:bodyStyle>
      <a:lvl1pPr marL="230188" indent="-230188" algn="l" defTabSz="914400" rtl="0" eaLnBrk="1" latinLnBrk="0" hangingPunct="1">
        <a:lnSpc>
          <a:spcPct val="110000"/>
        </a:lnSpc>
        <a:spcBef>
          <a:spcPts val="1000"/>
        </a:spcBef>
        <a:buClr>
          <a:schemeClr val="accent4"/>
        </a:buClr>
        <a:buSzPct val="120000"/>
        <a:buFont typeface="Arial" panose="020B0604020202020204" pitchFamily="34" charset="0"/>
        <a:buChar char="•"/>
        <a:tabLst/>
        <a:defRPr sz="2000" b="0" i="0" kern="1200" spc="-40" baseline="0">
          <a:solidFill>
            <a:schemeClr val="tx1"/>
          </a:solidFill>
          <a:latin typeface="+mn-lt"/>
          <a:ea typeface="Roboto Light" panose="02000000000000000000" pitchFamily="2" charset="0"/>
          <a:cs typeface="+mn-cs"/>
        </a:defRPr>
      </a:lvl1pPr>
      <a:lvl2pPr marL="685800" indent="-228600" algn="l" defTabSz="914400" rtl="0" eaLnBrk="1" latinLnBrk="0" hangingPunct="1">
        <a:lnSpc>
          <a:spcPct val="110000"/>
        </a:lnSpc>
        <a:spcBef>
          <a:spcPts val="500"/>
        </a:spcBef>
        <a:buClr>
          <a:schemeClr val="accent4"/>
        </a:buClr>
        <a:buSzPct val="120000"/>
        <a:buFont typeface="Arial" panose="020B0604020202020204" pitchFamily="34" charset="0"/>
        <a:buChar char="•"/>
        <a:defRPr sz="1800" b="0" i="0" kern="1200" spc="-40" baseline="0">
          <a:solidFill>
            <a:schemeClr val="tx1"/>
          </a:solidFill>
          <a:latin typeface="+mn-lt"/>
          <a:ea typeface="Roboto Light" panose="02000000000000000000" pitchFamily="2" charset="0"/>
          <a:cs typeface="+mn-cs"/>
        </a:defRPr>
      </a:lvl2pPr>
      <a:lvl3pPr marL="1143000" indent="-228600" algn="l" defTabSz="914400" rtl="0" eaLnBrk="1" latinLnBrk="0" hangingPunct="1">
        <a:lnSpc>
          <a:spcPct val="110000"/>
        </a:lnSpc>
        <a:spcBef>
          <a:spcPts val="500"/>
        </a:spcBef>
        <a:buClr>
          <a:schemeClr val="accent4"/>
        </a:buClr>
        <a:buSzPct val="120000"/>
        <a:buFont typeface="Arial" panose="020B0604020202020204" pitchFamily="34" charset="0"/>
        <a:buChar char="•"/>
        <a:defRPr sz="1600" b="0" i="0" kern="1200" spc="-40" baseline="0">
          <a:solidFill>
            <a:schemeClr val="tx1"/>
          </a:solidFill>
          <a:latin typeface="+mn-lt"/>
          <a:ea typeface="Roboto Light" panose="02000000000000000000" pitchFamily="2" charset="0"/>
          <a:cs typeface="+mn-cs"/>
        </a:defRPr>
      </a:lvl3pPr>
      <a:lvl4pPr marL="1600200" indent="-228600" algn="l" defTabSz="914400" rtl="0" eaLnBrk="1" latinLnBrk="0" hangingPunct="1">
        <a:lnSpc>
          <a:spcPct val="110000"/>
        </a:lnSpc>
        <a:spcBef>
          <a:spcPts val="500"/>
        </a:spcBef>
        <a:buClr>
          <a:schemeClr val="accent4"/>
        </a:buClr>
        <a:buSzPct val="120000"/>
        <a:buFont typeface="Arial" panose="020B0604020202020204" pitchFamily="34" charset="0"/>
        <a:buChar char="•"/>
        <a:defRPr sz="1400" b="0" i="0" kern="1200" spc="-40" baseline="0">
          <a:solidFill>
            <a:schemeClr val="tx1"/>
          </a:solidFill>
          <a:latin typeface="+mn-lt"/>
          <a:ea typeface="Roboto Light" panose="02000000000000000000" pitchFamily="2" charset="0"/>
          <a:cs typeface="+mn-cs"/>
        </a:defRPr>
      </a:lvl4pPr>
      <a:lvl5pPr marL="2000250" indent="-171450" algn="l" defTabSz="914400" rtl="0" eaLnBrk="1" latinLnBrk="0" hangingPunct="1">
        <a:lnSpc>
          <a:spcPct val="110000"/>
        </a:lnSpc>
        <a:spcBef>
          <a:spcPts val="500"/>
        </a:spcBef>
        <a:buClr>
          <a:schemeClr val="accent4"/>
        </a:buClr>
        <a:buSzPct val="120000"/>
        <a:buFont typeface="Nunito Sans Light" panose="00000400000000000000" pitchFamily="2" charset="0"/>
        <a:buChar char="​"/>
        <a:defRPr sz="1200" b="0" i="0" kern="1200" spc="-40" baseline="0">
          <a:solidFill>
            <a:schemeClr val="tx1"/>
          </a:solidFill>
          <a:latin typeface="+mn-lt"/>
          <a:ea typeface="Roboto Light" panose="02000000000000000000" pitchFamily="2" charset="0"/>
          <a:cs typeface="+mn-cs"/>
        </a:defRPr>
      </a:lvl5pPr>
      <a:lvl6pPr marL="2286000" indent="0" algn="l" defTabSz="914400" rtl="0" eaLnBrk="1" latinLnBrk="0" hangingPunct="1">
        <a:lnSpc>
          <a:spcPct val="90000"/>
        </a:lnSpc>
        <a:spcBef>
          <a:spcPts val="500"/>
        </a:spcBef>
        <a:buFont typeface="Nunito Sans Light" panose="00000400000000000000" pitchFamily="2" charset="0"/>
        <a:buChar char="​"/>
        <a:defRPr sz="12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807">
          <p15:clr>
            <a:srgbClr val="F26B43"/>
          </p15:clr>
        </p15:guide>
        <p15:guide id="2" pos="432">
          <p15:clr>
            <a:srgbClr val="F26B43"/>
          </p15:clr>
        </p15:guide>
        <p15:guide id="3" pos="7233">
          <p15:clr>
            <a:srgbClr val="F26B43"/>
          </p15:clr>
        </p15:guide>
        <p15:guide id="4" orient="horz" pos="1008">
          <p15:clr>
            <a:srgbClr val="F26B43"/>
          </p15:clr>
        </p15:guide>
        <p15:guide id="5" orient="horz" pos="864">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B06BA27F-D5BA-7D49-7CFE-8B81F4BC6E2D}"/>
              </a:ext>
            </a:extLst>
          </p:cNvPr>
          <p:cNvSpPr>
            <a:spLocks noGrp="1"/>
          </p:cNvSpPr>
          <p:nvPr>
            <p:ph type="title"/>
          </p:nvPr>
        </p:nvSpPr>
        <p:spPr>
          <a:xfrm>
            <a:off x="685800" y="291164"/>
            <a:ext cx="10820400" cy="761349"/>
          </a:xfrm>
          <a:prstGeom prst="rect">
            <a:avLst/>
          </a:prstGeom>
        </p:spPr>
        <p:txBody>
          <a:bodyPr vert="horz" lIns="0" tIns="0" rIns="0" bIns="0" rtlCol="0" anchor="b">
            <a:noAutofit/>
          </a:bodyPr>
          <a:lstStyle/>
          <a:p>
            <a:r>
              <a:rPr lang="en-US"/>
              <a:t>Click to edit Master title style</a:t>
            </a:r>
          </a:p>
        </p:txBody>
      </p:sp>
      <p:sp>
        <p:nvSpPr>
          <p:cNvPr id="3" name="Text Placeholder 2">
            <a:extLst>
              <a:ext uri="{FF2B5EF4-FFF2-40B4-BE49-F238E27FC236}">
                <a16:creationId xmlns:a16="http://schemas.microsoft.com/office/drawing/2014/main" id="{2640F47E-A001-F33D-B709-B2E2713329B9}"/>
              </a:ext>
            </a:extLst>
          </p:cNvPr>
          <p:cNvSpPr>
            <a:spLocks noGrp="1"/>
          </p:cNvSpPr>
          <p:nvPr>
            <p:ph type="body" idx="1"/>
          </p:nvPr>
        </p:nvSpPr>
        <p:spPr>
          <a:xfrm>
            <a:off x="685800" y="1510320"/>
            <a:ext cx="10820400" cy="4661881"/>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Rectangle 20">
            <a:extLst>
              <a:ext uri="{FF2B5EF4-FFF2-40B4-BE49-F238E27FC236}">
                <a16:creationId xmlns:a16="http://schemas.microsoft.com/office/drawing/2014/main" id="{8AB6F85E-7D64-4F71-1085-696610B96326}"/>
              </a:ext>
            </a:extLst>
          </p:cNvPr>
          <p:cNvSpPr/>
          <p:nvPr userDrawn="1"/>
        </p:nvSpPr>
        <p:spPr>
          <a:xfrm>
            <a:off x="10820400" y="6400800"/>
            <a:ext cx="685800" cy="228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r" defTabSz="914377"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rgbClr val="000000"/>
                </a:solidFill>
                <a:effectLst/>
                <a:uLnTx/>
                <a:uFillTx/>
                <a:latin typeface="+mn-lt"/>
                <a:ea typeface="Roboto" panose="02000000000000000000" pitchFamily="2" charset="0"/>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US" sz="900" b="0" i="0" u="none" strike="noStrike" kern="1200" cap="none" spc="0" normalizeH="0" baseline="0" noProof="0">
              <a:ln>
                <a:noFill/>
              </a:ln>
              <a:solidFill>
                <a:srgbClr val="000000"/>
              </a:solidFill>
              <a:effectLst/>
              <a:uLnTx/>
              <a:uFillTx/>
              <a:latin typeface="+mn-lt"/>
              <a:ea typeface="Roboto" panose="02000000000000000000" pitchFamily="2" charset="0"/>
            </a:endParaRPr>
          </a:p>
        </p:txBody>
      </p:sp>
    </p:spTree>
    <p:extLst>
      <p:ext uri="{BB962C8B-B14F-4D97-AF65-F5344CB8AC3E}">
        <p14:creationId xmlns:p14="http://schemas.microsoft.com/office/powerpoint/2010/main" val="132621811"/>
      </p:ext>
    </p:extLst>
  </p:cSld>
  <p:clrMap bg1="lt1" tx1="dk1" bg2="lt2" tx2="dk2" accent1="accent1" accent2="accent2" accent3="accent3" accent4="accent4" accent5="accent5" accent6="accent6" hlink="hlink" folHlink="folHlink"/>
  <p:sldLayoutIdLst>
    <p:sldLayoutId id="2147483774" r:id="rId1"/>
    <p:sldLayoutId id="2147483775" r:id="rId2"/>
    <p:sldLayoutId id="2147483776" r:id="rId3"/>
    <p:sldLayoutId id="2147483777" r:id="rId4"/>
    <p:sldLayoutId id="2147483778" r:id="rId5"/>
    <p:sldLayoutId id="2147483779" r:id="rId6"/>
    <p:sldLayoutId id="2147483780" r:id="rId7"/>
    <p:sldLayoutId id="2147483781" r:id="rId8"/>
    <p:sldLayoutId id="2147483782" r:id="rId9"/>
    <p:sldLayoutId id="2147483783" r:id="rId10"/>
    <p:sldLayoutId id="2147483784" r:id="rId11"/>
    <p:sldLayoutId id="2147483785" r:id="rId12"/>
    <p:sldLayoutId id="2147483786" r:id="rId13"/>
    <p:sldLayoutId id="2147483787" r:id="rId14"/>
    <p:sldLayoutId id="2147483788" r:id="rId15"/>
    <p:sldLayoutId id="2147483789" r:id="rId16"/>
    <p:sldLayoutId id="2147483790" r:id="rId17"/>
    <p:sldLayoutId id="2147483791" r:id="rId18"/>
    <p:sldLayoutId id="2147483792" r:id="rId19"/>
    <p:sldLayoutId id="2147483793" r:id="rId20"/>
    <p:sldLayoutId id="2147483794" r:id="rId21"/>
    <p:sldLayoutId id="2147483795" r:id="rId22"/>
    <p:sldLayoutId id="2147483796" r:id="rId23"/>
    <p:sldLayoutId id="2147483797" r:id="rId24"/>
    <p:sldLayoutId id="2147483798" r:id="rId25"/>
    <p:sldLayoutId id="2147483799" r:id="rId26"/>
    <p:sldLayoutId id="2147483800" r:id="rId27"/>
    <p:sldLayoutId id="2147483801" r:id="rId28"/>
    <p:sldLayoutId id="2147483802" r:id="rId29"/>
    <p:sldLayoutId id="2147483803" r:id="rId30"/>
    <p:sldLayoutId id="2147483804" r:id="rId31"/>
    <p:sldLayoutId id="2147483805" r:id="rId32"/>
    <p:sldLayoutId id="2147483806" r:id="rId33"/>
    <p:sldLayoutId id="2147483807" r:id="rId34"/>
    <p:sldLayoutId id="2147483808" r:id="rId35"/>
    <p:sldLayoutId id="2147483809" r:id="rId36"/>
    <p:sldLayoutId id="2147483810" r:id="rId37"/>
    <p:sldLayoutId id="2147483811" r:id="rId38"/>
    <p:sldLayoutId id="2147483812" r:id="rId39"/>
    <p:sldLayoutId id="2147483813" r:id="rId40"/>
    <p:sldLayoutId id="2147483814" r:id="rId41"/>
    <p:sldLayoutId id="2147483815" r:id="rId42"/>
    <p:sldLayoutId id="2147483816" r:id="rId43"/>
    <p:sldLayoutId id="2147483817" r:id="rId44"/>
    <p:sldLayoutId id="2147483818" r:id="rId45"/>
    <p:sldLayoutId id="2147483819" r:id="rId46"/>
    <p:sldLayoutId id="2147483820" r:id="rId47"/>
    <p:sldLayoutId id="2147483821" r:id="rId48"/>
    <p:sldLayoutId id="2147483822" r:id="rId49"/>
    <p:sldLayoutId id="2147483823" r:id="rId50"/>
    <p:sldLayoutId id="2147483824" r:id="rId51"/>
    <p:sldLayoutId id="2147483825" r:id="rId52"/>
    <p:sldLayoutId id="2147483826" r:id="rId53"/>
    <p:sldLayoutId id="2147483827" r:id="rId54"/>
    <p:sldLayoutId id="2147483828" r:id="rId55"/>
    <p:sldLayoutId id="2147483829" r:id="rId56"/>
    <p:sldLayoutId id="2147483830" r:id="rId57"/>
    <p:sldLayoutId id="2147483831" r:id="rId58"/>
    <p:sldLayoutId id="2147483832" r:id="rId59"/>
    <p:sldLayoutId id="2147483833" r:id="rId60"/>
    <p:sldLayoutId id="2147483834" r:id="rId61"/>
    <p:sldLayoutId id="2147483835" r:id="rId62"/>
    <p:sldLayoutId id="2147483836" r:id="rId63"/>
    <p:sldLayoutId id="2147483837" r:id="rId6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377" rtl="0" eaLnBrk="1" latinLnBrk="0" hangingPunct="1">
        <a:lnSpc>
          <a:spcPct val="100000"/>
        </a:lnSpc>
        <a:spcBef>
          <a:spcPct val="0"/>
        </a:spcBef>
        <a:spcAft>
          <a:spcPts val="1200"/>
        </a:spcAft>
        <a:buNone/>
        <a:defRPr sz="2800" kern="1200">
          <a:solidFill>
            <a:schemeClr val="tx1"/>
          </a:solidFill>
          <a:latin typeface="+mj-lt"/>
          <a:ea typeface="+mj-ea"/>
          <a:cs typeface="+mj-cs"/>
        </a:defRPr>
      </a:lvl1pPr>
    </p:titleStyle>
    <p:bodyStyle>
      <a:lvl1pPr marL="228594" indent="-228594" algn="l" defTabSz="914377" rtl="0" eaLnBrk="1" latinLnBrk="0" hangingPunct="1">
        <a:lnSpc>
          <a:spcPct val="100000"/>
        </a:lnSpc>
        <a:spcBef>
          <a:spcPts val="0"/>
        </a:spcBef>
        <a:spcAft>
          <a:spcPts val="1200"/>
        </a:spcAft>
        <a:buFont typeface="Arial" panose="020B0604020202020204" pitchFamily="34" charset="0"/>
        <a:buChar char="•"/>
        <a:defRPr sz="2000" kern="1200">
          <a:solidFill>
            <a:schemeClr val="tx1"/>
          </a:solidFill>
          <a:latin typeface="+mn-lt"/>
          <a:ea typeface="+mn-ea"/>
          <a:cs typeface="+mn-cs"/>
        </a:defRPr>
      </a:lvl1pPr>
      <a:lvl2pPr marL="457189" indent="-228594" algn="l" defTabSz="914377" rtl="0" eaLnBrk="1" latinLnBrk="0" hangingPunct="1">
        <a:lnSpc>
          <a:spcPct val="100000"/>
        </a:lnSpc>
        <a:spcBef>
          <a:spcPts val="0"/>
        </a:spcBef>
        <a:spcAft>
          <a:spcPts val="1200"/>
        </a:spcAft>
        <a:buFont typeface="Calibri" panose="020F0502020204030204" pitchFamily="34" charset="0"/>
        <a:buChar char="–"/>
        <a:defRPr sz="2000" kern="1200">
          <a:solidFill>
            <a:schemeClr val="tx1"/>
          </a:solidFill>
          <a:latin typeface="+mn-lt"/>
          <a:ea typeface="+mn-ea"/>
          <a:cs typeface="+mn-cs"/>
        </a:defRPr>
      </a:lvl2pPr>
      <a:lvl3pPr marL="685783" indent="-228594" algn="l" defTabSz="914377" rtl="0" eaLnBrk="1" latinLnBrk="0" hangingPunct="1">
        <a:lnSpc>
          <a:spcPct val="100000"/>
        </a:lnSpc>
        <a:spcBef>
          <a:spcPts val="0"/>
        </a:spcBef>
        <a:spcAft>
          <a:spcPts val="1200"/>
        </a:spcAft>
        <a:buFont typeface="Arial" panose="020B0604020202020204" pitchFamily="34" charset="0"/>
        <a:buChar char="•"/>
        <a:defRPr sz="2000" kern="1200">
          <a:solidFill>
            <a:schemeClr val="tx1"/>
          </a:solidFill>
          <a:latin typeface="+mn-lt"/>
          <a:ea typeface="+mn-ea"/>
          <a:cs typeface="+mn-cs"/>
        </a:defRPr>
      </a:lvl3pPr>
      <a:lvl4pPr marL="914377" indent="-228594" algn="l" defTabSz="914377" rtl="0" eaLnBrk="1" latinLnBrk="0" hangingPunct="1">
        <a:lnSpc>
          <a:spcPct val="100000"/>
        </a:lnSpc>
        <a:spcBef>
          <a:spcPts val="0"/>
        </a:spcBef>
        <a:spcAft>
          <a:spcPts val="1200"/>
        </a:spcAft>
        <a:buFont typeface="Calibri" panose="020F0502020204030204" pitchFamily="34" charset="0"/>
        <a:buChar char="–"/>
        <a:defRPr sz="2000" kern="1200">
          <a:solidFill>
            <a:schemeClr val="tx1"/>
          </a:solidFill>
          <a:latin typeface="+mn-lt"/>
          <a:ea typeface="+mn-ea"/>
          <a:cs typeface="+mn-cs"/>
        </a:defRPr>
      </a:lvl4pPr>
      <a:lvl5pPr marL="1142971" indent="-228594" algn="l" defTabSz="914377" rtl="0" eaLnBrk="1" latinLnBrk="0" hangingPunct="1">
        <a:lnSpc>
          <a:spcPct val="100000"/>
        </a:lnSpc>
        <a:spcBef>
          <a:spcPts val="0"/>
        </a:spcBef>
        <a:spcAft>
          <a:spcPts val="1200"/>
        </a:spcAft>
        <a:buFont typeface="Arial" panose="020B0604020202020204" pitchFamily="34" charset="0"/>
        <a:buChar char="•"/>
        <a:defRPr sz="20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32">
          <p15:clr>
            <a:srgbClr val="F26B43"/>
          </p15:clr>
        </p15:guide>
        <p15:guide id="2" pos="432">
          <p15:clr>
            <a:srgbClr val="F26B43"/>
          </p15:clr>
        </p15:guide>
        <p15:guide id="3" pos="7248">
          <p15:clr>
            <a:srgbClr val="F26B43"/>
          </p15:clr>
        </p15:guide>
        <p15:guide id="4" orient="horz" pos="806">
          <p15:clr>
            <a:srgbClr val="F26B43"/>
          </p15:clr>
        </p15:guide>
        <p15:guide id="5" orient="horz" pos="953">
          <p15:clr>
            <a:srgbClr val="F26B43"/>
          </p15:clr>
        </p15:guide>
        <p15:guide id="6" orient="horz" pos="38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0.xml"/><Relationship Id="rId1" Type="http://schemas.openxmlformats.org/officeDocument/2006/relationships/tags" Target="../tags/tag117.xml"/><Relationship Id="rId4" Type="http://schemas.openxmlformats.org/officeDocument/2006/relationships/image" Target="../media/image4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8" Type="http://schemas.openxmlformats.org/officeDocument/2006/relationships/hyperlink" Target="https://www.anthology.com/fycd" TargetMode="External"/><Relationship Id="rId3" Type="http://schemas.openxmlformats.org/officeDocument/2006/relationships/image" Target="../media/image70.png"/><Relationship Id="rId7" Type="http://schemas.openxmlformats.org/officeDocument/2006/relationships/hyperlink" Target="https://www.anthology.com/fix-your-content-day/communications-pack" TargetMode="External"/><Relationship Id="rId2" Type="http://schemas.openxmlformats.org/officeDocument/2006/relationships/notesSlide" Target="../notesSlides/notesSlide11.xml"/><Relationship Id="rId1" Type="http://schemas.openxmlformats.org/officeDocument/2006/relationships/slideLayout" Target="../slideLayouts/slideLayout57.xml"/><Relationship Id="rId6" Type="http://schemas.openxmlformats.org/officeDocument/2006/relationships/image" Target="../media/image72.png"/><Relationship Id="rId5" Type="http://schemas.openxmlformats.org/officeDocument/2006/relationships/hyperlink" Target="https://accessibility.day/" TargetMode="External"/><Relationship Id="rId4" Type="http://schemas.openxmlformats.org/officeDocument/2006/relationships/image" Target="../media/image71.png"/></Relationships>
</file>

<file path=ppt/slides/_rels/slide12.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12.xml"/><Relationship Id="rId1" Type="http://schemas.openxmlformats.org/officeDocument/2006/relationships/slideLayout" Target="../slideLayouts/slideLayout17.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13.xml.rels><?xml version="1.0" encoding="UTF-8" standalone="yes"?>
<Relationships xmlns="http://schemas.openxmlformats.org/package/2006/relationships"><Relationship Id="rId3" Type="http://schemas.openxmlformats.org/officeDocument/2006/relationships/image" Target="../media/image78.gif"/><Relationship Id="rId2" Type="http://schemas.openxmlformats.org/officeDocument/2006/relationships/notesSlide" Target="../notesSlides/notesSlide13.xml"/><Relationship Id="rId1" Type="http://schemas.openxmlformats.org/officeDocument/2006/relationships/slideLayout" Target="../slideLayouts/slideLayout72.xml"/></Relationships>
</file>

<file path=ppt/slides/_rels/slide14.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4.xml"/><Relationship Id="rId1" Type="http://schemas.openxmlformats.org/officeDocument/2006/relationships/slideLayout" Target="../slideLayouts/slideLayout75.xml"/></Relationships>
</file>

<file path=ppt/slides/_rels/slide15.xml.rels><?xml version="1.0" encoding="UTF-8" standalone="yes"?>
<Relationships xmlns="http://schemas.openxmlformats.org/package/2006/relationships"><Relationship Id="rId3" Type="http://schemas.openxmlformats.org/officeDocument/2006/relationships/image" Target="../media/image79.gif"/><Relationship Id="rId2" Type="http://schemas.openxmlformats.org/officeDocument/2006/relationships/notesSlide" Target="../notesSlides/notesSlide15.xml"/><Relationship Id="rId1" Type="http://schemas.openxmlformats.org/officeDocument/2006/relationships/slideLayout" Target="../slideLayouts/slideLayout74.xml"/></Relationships>
</file>

<file path=ppt/slides/_rels/slide16.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16.xml"/><Relationship Id="rId1" Type="http://schemas.openxmlformats.org/officeDocument/2006/relationships/slideLayout" Target="../slideLayouts/slideLayout17.xml"/><Relationship Id="rId4" Type="http://schemas.openxmlformats.org/officeDocument/2006/relationships/image" Target="../media/image77.png"/></Relationships>
</file>

<file path=ppt/slides/_rels/slide17.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7.xml"/><Relationship Id="rId1" Type="http://schemas.openxmlformats.org/officeDocument/2006/relationships/slideLayout" Target="../slideLayouts/slideLayout76.xml"/><Relationship Id="rId4" Type="http://schemas.openxmlformats.org/officeDocument/2006/relationships/image" Target="../media/image7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0.xml"/></Relationships>
</file>

<file path=ppt/slides/_rels/slide19.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19.xml"/><Relationship Id="rId1" Type="http://schemas.openxmlformats.org/officeDocument/2006/relationships/slideLayout" Target="../slideLayouts/slideLayout76.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notesSlide" Target="../notesSlides/notesSlide20.xml"/><Relationship Id="rId1" Type="http://schemas.openxmlformats.org/officeDocument/2006/relationships/slideLayout" Target="../slideLayouts/slideLayout74.xml"/></Relationships>
</file>

<file path=ppt/slides/_rels/slide21.xml.rels><?xml version="1.0" encoding="UTF-8" standalone="yes"?>
<Relationships xmlns="http://schemas.openxmlformats.org/package/2006/relationships"><Relationship Id="rId8" Type="http://schemas.openxmlformats.org/officeDocument/2006/relationships/image" Target="../media/image87.jpeg"/><Relationship Id="rId3" Type="http://schemas.openxmlformats.org/officeDocument/2006/relationships/image" Target="../media/image82.jpeg"/><Relationship Id="rId7" Type="http://schemas.openxmlformats.org/officeDocument/2006/relationships/image" Target="../media/image86.png"/><Relationship Id="rId2" Type="http://schemas.openxmlformats.org/officeDocument/2006/relationships/notesSlide" Target="../notesSlides/notesSlide21.xml"/><Relationship Id="rId1" Type="http://schemas.openxmlformats.org/officeDocument/2006/relationships/slideLayout" Target="../slideLayouts/slideLayout79.xml"/><Relationship Id="rId6" Type="http://schemas.openxmlformats.org/officeDocument/2006/relationships/image" Target="../media/image85.jpeg"/><Relationship Id="rId5" Type="http://schemas.openxmlformats.org/officeDocument/2006/relationships/image" Target="../media/image84.png"/><Relationship Id="rId4" Type="http://schemas.openxmlformats.org/officeDocument/2006/relationships/image" Target="../media/image83.png"/><Relationship Id="rId9" Type="http://schemas.openxmlformats.org/officeDocument/2006/relationships/image" Target="../media/image77.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11.xml"/></Relationships>
</file>

<file path=ppt/slides/_rels/slide23.xml.rels><?xml version="1.0" encoding="UTF-8" standalone="yes"?>
<Relationships xmlns="http://schemas.openxmlformats.org/package/2006/relationships"><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notesSlide" Target="../notesSlides/notesSlide23.xml"/><Relationship Id="rId1" Type="http://schemas.openxmlformats.org/officeDocument/2006/relationships/slideLayout" Target="../slideLayouts/slideLayout17.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24.xml.rels><?xml version="1.0" encoding="UTF-8" standalone="yes"?>
<Relationships xmlns="http://schemas.openxmlformats.org/package/2006/relationships"><Relationship Id="rId3" Type="http://schemas.openxmlformats.org/officeDocument/2006/relationships/image" Target="../media/image88.tiff"/><Relationship Id="rId2" Type="http://schemas.openxmlformats.org/officeDocument/2006/relationships/notesSlide" Target="../notesSlides/notesSlide24.xml"/><Relationship Id="rId1" Type="http://schemas.openxmlformats.org/officeDocument/2006/relationships/slideLayout" Target="../slideLayouts/slideLayout17.xml"/><Relationship Id="rId5" Type="http://schemas.openxmlformats.org/officeDocument/2006/relationships/image" Target="../media/image77.png"/><Relationship Id="rId4" Type="http://schemas.openxmlformats.org/officeDocument/2006/relationships/hyperlink" Target="https://usergroup.ally.ac/"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89.tiff"/><Relationship Id="rId2" Type="http://schemas.openxmlformats.org/officeDocument/2006/relationships/notesSlide" Target="../notesSlides/notesSlide25.xml"/><Relationship Id="rId1" Type="http://schemas.openxmlformats.org/officeDocument/2006/relationships/slideLayout" Target="../slideLayouts/slideLayout17.xml"/><Relationship Id="rId5" Type="http://schemas.openxmlformats.org/officeDocument/2006/relationships/image" Target="../media/image77.png"/><Relationship Id="rId4" Type="http://schemas.openxmlformats.org/officeDocument/2006/relationships/hyperlink" Target="https://help.blackboard.com/Ally" TargetMode="Externa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43.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image" Target="../media/image49.jpeg"/><Relationship Id="rId2" Type="http://schemas.openxmlformats.org/officeDocument/2006/relationships/notesSlide" Target="../notesSlides/notesSlide4.xml"/><Relationship Id="rId1" Type="http://schemas.openxmlformats.org/officeDocument/2006/relationships/slideLayout" Target="../slideLayouts/slideLayout7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8.xml"/></Relationships>
</file>

<file path=ppt/slides/_rels/slide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6.xml"/><Relationship Id="rId1" Type="http://schemas.openxmlformats.org/officeDocument/2006/relationships/slideLayout" Target="../slideLayouts/slideLayout77.xml"/></Relationships>
</file>

<file path=ppt/slides/_rels/slide7.xml.rels><?xml version="1.0" encoding="UTF-8" standalone="yes"?>
<Relationships xmlns="http://schemas.openxmlformats.org/package/2006/relationships"><Relationship Id="rId8" Type="http://schemas.openxmlformats.org/officeDocument/2006/relationships/image" Target="../media/image56.svg"/><Relationship Id="rId13" Type="http://schemas.openxmlformats.org/officeDocument/2006/relationships/image" Target="../media/image61.png"/><Relationship Id="rId18" Type="http://schemas.openxmlformats.org/officeDocument/2006/relationships/image" Target="../media/image66.svg"/><Relationship Id="rId3" Type="http://schemas.openxmlformats.org/officeDocument/2006/relationships/image" Target="../media/image51.png"/><Relationship Id="rId7" Type="http://schemas.openxmlformats.org/officeDocument/2006/relationships/image" Target="../media/image55.png"/><Relationship Id="rId12" Type="http://schemas.openxmlformats.org/officeDocument/2006/relationships/image" Target="../media/image60.svg"/><Relationship Id="rId17" Type="http://schemas.openxmlformats.org/officeDocument/2006/relationships/image" Target="../media/image65.png"/><Relationship Id="rId2" Type="http://schemas.openxmlformats.org/officeDocument/2006/relationships/notesSlide" Target="../notesSlides/notesSlide7.xml"/><Relationship Id="rId16" Type="http://schemas.openxmlformats.org/officeDocument/2006/relationships/image" Target="../media/image64.svg"/><Relationship Id="rId20" Type="http://schemas.openxmlformats.org/officeDocument/2006/relationships/image" Target="../media/image68.svg"/><Relationship Id="rId1" Type="http://schemas.openxmlformats.org/officeDocument/2006/relationships/slideLayout" Target="../slideLayouts/slideLayout72.xml"/><Relationship Id="rId6" Type="http://schemas.openxmlformats.org/officeDocument/2006/relationships/image" Target="../media/image54.svg"/><Relationship Id="rId11" Type="http://schemas.openxmlformats.org/officeDocument/2006/relationships/image" Target="../media/image59.png"/><Relationship Id="rId5" Type="http://schemas.openxmlformats.org/officeDocument/2006/relationships/image" Target="../media/image53.png"/><Relationship Id="rId15" Type="http://schemas.openxmlformats.org/officeDocument/2006/relationships/image" Target="../media/image63.png"/><Relationship Id="rId10" Type="http://schemas.openxmlformats.org/officeDocument/2006/relationships/image" Target="../media/image58.svg"/><Relationship Id="rId19" Type="http://schemas.openxmlformats.org/officeDocument/2006/relationships/image" Target="../media/image67.png"/><Relationship Id="rId4" Type="http://schemas.openxmlformats.org/officeDocument/2006/relationships/image" Target="../media/image52.svg"/><Relationship Id="rId9" Type="http://schemas.openxmlformats.org/officeDocument/2006/relationships/image" Target="../media/image57.png"/><Relationship Id="rId14" Type="http://schemas.openxmlformats.org/officeDocument/2006/relationships/image" Target="../media/image62.sv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69.jpeg"/><Relationship Id="rId2" Type="http://schemas.openxmlformats.org/officeDocument/2006/relationships/notesSlide" Target="../notesSlides/notesSlide9.xml"/><Relationship Id="rId1" Type="http://schemas.openxmlformats.org/officeDocument/2006/relationships/slideLayout" Target="../slideLayouts/slideLayout7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9" descr="Title">
            <a:extLst>
              <a:ext uri="{FF2B5EF4-FFF2-40B4-BE49-F238E27FC236}">
                <a16:creationId xmlns:a16="http://schemas.microsoft.com/office/drawing/2014/main" id="{253ED4F5-EE57-B84B-B14F-03AB0B997AA1}"/>
              </a:ext>
            </a:extLst>
          </p:cNvPr>
          <p:cNvSpPr>
            <a:spLocks noGrp="1"/>
          </p:cNvSpPr>
          <p:nvPr>
            <p:ph type="title" idx="4294967295"/>
          </p:nvPr>
        </p:nvSpPr>
        <p:spPr>
          <a:xfrm>
            <a:off x="0" y="470383"/>
            <a:ext cx="6569075" cy="4586288"/>
          </a:xfrm>
          <a:prstGeom prst="rect">
            <a:avLst/>
          </a:prstGeom>
          <a:solidFill>
            <a:schemeClr val="accent6"/>
          </a:solidFill>
          <a:ln>
            <a:noFill/>
            <a:prstDash/>
          </a:ln>
          <a:effectLst/>
        </p:spPr>
        <p:txBody>
          <a:bodyPr rot="0" spcFirstLastPara="0" vertOverflow="overflow" horzOverflow="overflow" vert="horz" wrap="square" lIns="396000" tIns="288000" rIns="0" bIns="0" numCol="1" spcCol="0" rtlCol="0" fromWordArt="0" anchor="ctr" anchorCtr="0" forceAA="0" compatLnSpc="1">
            <a:prstTxWarp prst="textNoShape">
              <a:avLst/>
            </a:prstTxWarp>
            <a:normAutofit fontScale="90000"/>
          </a:bodyPr>
          <a:lstStyle/>
          <a:p>
            <a:pPr marL="0" marR="0" lvl="0" indent="0" algn="l" defTabSz="914400" rtl="0" eaLnBrk="1" fontAlgn="auto" latinLnBrk="0" hangingPunct="1">
              <a:lnSpc>
                <a:spcPct val="100000"/>
              </a:lnSpc>
              <a:spcBef>
                <a:spcPts val="0"/>
              </a:spcBef>
              <a:spcAft>
                <a:spcPts val="0"/>
              </a:spcAft>
              <a:buClr>
                <a:schemeClr val="accent4"/>
              </a:buClr>
              <a:buSzPct val="120000"/>
              <a:buFontTx/>
              <a:buNone/>
              <a:tabLst/>
              <a:defRPr/>
            </a:pPr>
            <a:r>
              <a:rPr kumimoji="0" lang="en-US" sz="6600" b="0" i="0" u="none" strike="noStrike" kern="1200" cap="none" spc="-40" normalizeH="0" baseline="0" noProof="0" dirty="0">
                <a:ln>
                  <a:noFill/>
                </a:ln>
                <a:solidFill>
                  <a:schemeClr val="bg1"/>
                </a:solidFill>
                <a:effectLst/>
                <a:uLnTx/>
                <a:uFillTx/>
                <a:latin typeface="+mj-lt"/>
                <a:ea typeface="Roboto Slab Light" pitchFamily="2" charset="0"/>
                <a:cs typeface="+mn-cs"/>
              </a:rPr>
              <a:t>A practical solution to increasing accessible content with Anthology Ally</a:t>
            </a:r>
          </a:p>
        </p:txBody>
      </p:sp>
      <p:sp>
        <p:nvSpPr>
          <p:cNvPr id="5" name="Text Placeholder 4">
            <a:extLst>
              <a:ext uri="{FF2B5EF4-FFF2-40B4-BE49-F238E27FC236}">
                <a16:creationId xmlns:a16="http://schemas.microsoft.com/office/drawing/2014/main" id="{935ED06F-20D6-AE4E-B6D4-6224237C8A73}"/>
              </a:ext>
            </a:extLst>
          </p:cNvPr>
          <p:cNvSpPr>
            <a:spLocks noGrp="1"/>
          </p:cNvSpPr>
          <p:nvPr>
            <p:ph type="body" sz="quarter" idx="14"/>
          </p:nvPr>
        </p:nvSpPr>
        <p:spPr/>
        <p:txBody>
          <a:bodyPr/>
          <a:lstStyle/>
          <a:p>
            <a:r>
              <a:rPr lang="en-US" dirty="0"/>
              <a:t>ADCET Webinar Series</a:t>
            </a:r>
          </a:p>
        </p:txBody>
      </p:sp>
      <p:sp>
        <p:nvSpPr>
          <p:cNvPr id="12" name="Text Placeholder 11">
            <a:extLst>
              <a:ext uri="{FF2B5EF4-FFF2-40B4-BE49-F238E27FC236}">
                <a16:creationId xmlns:a16="http://schemas.microsoft.com/office/drawing/2014/main" id="{A5BA191A-C42D-8148-ABAB-7BEDA786389F}"/>
              </a:ext>
            </a:extLst>
          </p:cNvPr>
          <p:cNvSpPr>
            <a:spLocks noGrp="1"/>
          </p:cNvSpPr>
          <p:nvPr>
            <p:ph type="body" sz="quarter" idx="15"/>
          </p:nvPr>
        </p:nvSpPr>
        <p:spPr/>
        <p:txBody>
          <a:bodyPr>
            <a:normAutofit/>
          </a:bodyPr>
          <a:lstStyle/>
          <a:p>
            <a:r>
              <a:rPr lang="en-US" dirty="0"/>
              <a:t>Michael Garner</a:t>
            </a:r>
          </a:p>
          <a:p>
            <a:r>
              <a:rPr lang="en-US" dirty="0"/>
              <a:t>May 2023</a:t>
            </a:r>
          </a:p>
        </p:txBody>
      </p:sp>
      <p:pic>
        <p:nvPicPr>
          <p:cNvPr id="3" name="Picture 2" descr="Anthology Ally logo&#10;">
            <a:extLst>
              <a:ext uri="{FF2B5EF4-FFF2-40B4-BE49-F238E27FC236}">
                <a16:creationId xmlns:a16="http://schemas.microsoft.com/office/drawing/2014/main" id="{65B94EEA-5642-78F5-7E8E-CFECB16BA120}"/>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9425222" y="4876470"/>
            <a:ext cx="2333391" cy="1079193"/>
          </a:xfrm>
          <a:prstGeom prst="rect">
            <a:avLst/>
          </a:prstGeom>
        </p:spPr>
      </p:pic>
    </p:spTree>
    <p:custDataLst>
      <p:tags r:id="rId1"/>
    </p:custDataLst>
    <p:extLst>
      <p:ext uri="{BB962C8B-B14F-4D97-AF65-F5344CB8AC3E}">
        <p14:creationId xmlns:p14="http://schemas.microsoft.com/office/powerpoint/2010/main" val="31411280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E23B5CF7-8222-BAB3-69BA-FE73C292AD75}"/>
              </a:ext>
            </a:extLst>
          </p:cNvPr>
          <p:cNvSpPr>
            <a:spLocks noGrp="1"/>
          </p:cNvSpPr>
          <p:nvPr>
            <p:ph type="title"/>
          </p:nvPr>
        </p:nvSpPr>
        <p:spPr/>
        <p:txBody>
          <a:bodyPr/>
          <a:lstStyle/>
          <a:p>
            <a:r>
              <a:rPr lang="en-US" dirty="0"/>
              <a:t>Ally in numbers</a:t>
            </a:r>
          </a:p>
        </p:txBody>
      </p:sp>
      <p:sp>
        <p:nvSpPr>
          <p:cNvPr id="16" name="Round Same Side Corner Rectangle 18">
            <a:extLst>
              <a:ext uri="{FF2B5EF4-FFF2-40B4-BE49-F238E27FC236}">
                <a16:creationId xmlns:a16="http://schemas.microsoft.com/office/drawing/2014/main" id="{679D2955-DCBC-674F-389F-045ACD494BF9}"/>
              </a:ext>
              <a:ext uri="{C183D7F6-B498-43B3-948B-1728B52AA6E4}">
                <adec:decorative xmlns:adec="http://schemas.microsoft.com/office/drawing/2017/decorative" val="1"/>
              </a:ext>
            </a:extLst>
          </p:cNvPr>
          <p:cNvSpPr/>
          <p:nvPr/>
        </p:nvSpPr>
        <p:spPr>
          <a:xfrm>
            <a:off x="6553198" y="951000"/>
            <a:ext cx="2232000" cy="5292626"/>
          </a:xfrm>
          <a:prstGeom prst="round2SameRect">
            <a:avLst>
              <a:gd name="adj1" fmla="val 50000"/>
              <a:gd name="adj2" fmla="val 0"/>
            </a:avLst>
          </a:prstGeom>
          <a:solidFill>
            <a:srgbClr val="5DC300">
              <a:alpha val="56863"/>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gn="ctr"/>
            <a:endParaRPr lang="en-US" sz="1349"/>
          </a:p>
        </p:txBody>
      </p:sp>
      <p:sp>
        <p:nvSpPr>
          <p:cNvPr id="18" name="Round Same Side Corner Rectangle 19">
            <a:extLst>
              <a:ext uri="{FF2B5EF4-FFF2-40B4-BE49-F238E27FC236}">
                <a16:creationId xmlns:a16="http://schemas.microsoft.com/office/drawing/2014/main" id="{E4F5561E-11F1-B701-E846-234F8F936AC3}"/>
              </a:ext>
              <a:ext uri="{C183D7F6-B498-43B3-948B-1728B52AA6E4}">
                <adec:decorative xmlns:adec="http://schemas.microsoft.com/office/drawing/2017/decorative" val="1"/>
              </a:ext>
            </a:extLst>
          </p:cNvPr>
          <p:cNvSpPr/>
          <p:nvPr/>
        </p:nvSpPr>
        <p:spPr>
          <a:xfrm>
            <a:off x="9070009" y="951000"/>
            <a:ext cx="2232000" cy="5292626"/>
          </a:xfrm>
          <a:prstGeom prst="round2SameRect">
            <a:avLst>
              <a:gd name="adj1" fmla="val 50000"/>
              <a:gd name="adj2" fmla="val 0"/>
            </a:avLst>
          </a:prstGeom>
          <a:solidFill>
            <a:srgbClr val="5DC300">
              <a:alpha val="5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gn="ctr"/>
            <a:endParaRPr lang="en-US" sz="1349"/>
          </a:p>
        </p:txBody>
      </p:sp>
      <p:sp>
        <p:nvSpPr>
          <p:cNvPr id="19" name="Round Same Side Corner Rectangle 20">
            <a:extLst>
              <a:ext uri="{FF2B5EF4-FFF2-40B4-BE49-F238E27FC236}">
                <a16:creationId xmlns:a16="http://schemas.microsoft.com/office/drawing/2014/main" id="{1DF91A8F-82D1-EE1B-5B36-173A1C201D7B}"/>
              </a:ext>
              <a:ext uri="{C183D7F6-B498-43B3-948B-1728B52AA6E4}">
                <adec:decorative xmlns:adec="http://schemas.microsoft.com/office/drawing/2017/decorative" val="1"/>
              </a:ext>
            </a:extLst>
          </p:cNvPr>
          <p:cNvSpPr/>
          <p:nvPr/>
        </p:nvSpPr>
        <p:spPr>
          <a:xfrm>
            <a:off x="4060368" y="938647"/>
            <a:ext cx="2232000" cy="5345863"/>
          </a:xfrm>
          <a:prstGeom prst="round2SameRect">
            <a:avLst>
              <a:gd name="adj1" fmla="val 50000"/>
              <a:gd name="adj2" fmla="val 0"/>
            </a:avLst>
          </a:prstGeom>
          <a:solidFill>
            <a:srgbClr val="01C2CE">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gn="ctr"/>
            <a:endParaRPr lang="en-US" sz="1349"/>
          </a:p>
        </p:txBody>
      </p:sp>
      <p:sp>
        <p:nvSpPr>
          <p:cNvPr id="20" name="Round Same Side Corner Rectangle 15">
            <a:extLst>
              <a:ext uri="{FF2B5EF4-FFF2-40B4-BE49-F238E27FC236}">
                <a16:creationId xmlns:a16="http://schemas.microsoft.com/office/drawing/2014/main" id="{1438FA10-F913-C506-FFE9-221E290BE474}"/>
              </a:ext>
              <a:ext uri="{C183D7F6-B498-43B3-948B-1728B52AA6E4}">
                <adec:decorative xmlns:adec="http://schemas.microsoft.com/office/drawing/2017/decorative" val="1"/>
              </a:ext>
            </a:extLst>
          </p:cNvPr>
          <p:cNvSpPr/>
          <p:nvPr/>
        </p:nvSpPr>
        <p:spPr>
          <a:xfrm>
            <a:off x="6553198" y="4650737"/>
            <a:ext cx="2232000" cy="1992135"/>
          </a:xfrm>
          <a:prstGeom prst="round2SameRect">
            <a:avLst>
              <a:gd name="adj1" fmla="val 50000"/>
              <a:gd name="adj2" fmla="val 0"/>
            </a:avLst>
          </a:prstGeom>
          <a:solidFill>
            <a:srgbClr val="8CC63F"/>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gn="ctr"/>
            <a:endParaRPr lang="en-US" sz="1349"/>
          </a:p>
        </p:txBody>
      </p:sp>
      <p:sp>
        <p:nvSpPr>
          <p:cNvPr id="21" name="Round Same Side Corner Rectangle 16">
            <a:extLst>
              <a:ext uri="{FF2B5EF4-FFF2-40B4-BE49-F238E27FC236}">
                <a16:creationId xmlns:a16="http://schemas.microsoft.com/office/drawing/2014/main" id="{827464F6-4D72-849E-7EC9-C94DA86D8B8A}"/>
              </a:ext>
              <a:ext uri="{C183D7F6-B498-43B3-948B-1728B52AA6E4}">
                <adec:decorative xmlns:adec="http://schemas.microsoft.com/office/drawing/2017/decorative" val="1"/>
              </a:ext>
            </a:extLst>
          </p:cNvPr>
          <p:cNvSpPr/>
          <p:nvPr/>
        </p:nvSpPr>
        <p:spPr>
          <a:xfrm>
            <a:off x="9070009" y="4650737"/>
            <a:ext cx="2232000" cy="1992135"/>
          </a:xfrm>
          <a:prstGeom prst="round2SameRect">
            <a:avLst>
              <a:gd name="adj1" fmla="val 50000"/>
              <a:gd name="adj2" fmla="val 0"/>
            </a:avLst>
          </a:prstGeom>
          <a:solidFill>
            <a:srgbClr val="FFC20E"/>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gn="ctr"/>
            <a:endParaRPr lang="en-US" sz="1349"/>
          </a:p>
        </p:txBody>
      </p:sp>
      <p:sp>
        <p:nvSpPr>
          <p:cNvPr id="22" name="Round Same Side Corner Rectangle 17">
            <a:extLst>
              <a:ext uri="{FF2B5EF4-FFF2-40B4-BE49-F238E27FC236}">
                <a16:creationId xmlns:a16="http://schemas.microsoft.com/office/drawing/2014/main" id="{81A7A3E6-9A5E-DBEF-620C-532F14B23738}"/>
              </a:ext>
              <a:ext uri="{C183D7F6-B498-43B3-948B-1728B52AA6E4}">
                <adec:decorative xmlns:adec="http://schemas.microsoft.com/office/drawing/2017/decorative" val="1"/>
              </a:ext>
            </a:extLst>
          </p:cNvPr>
          <p:cNvSpPr/>
          <p:nvPr/>
        </p:nvSpPr>
        <p:spPr>
          <a:xfrm>
            <a:off x="4060368" y="4638383"/>
            <a:ext cx="2232000" cy="2006113"/>
          </a:xfrm>
          <a:prstGeom prst="round2SameRect">
            <a:avLst>
              <a:gd name="adj1" fmla="val 50000"/>
              <a:gd name="adj2" fmla="val 0"/>
            </a:avLst>
          </a:prstGeom>
          <a:solidFill>
            <a:srgbClr val="00B1EB"/>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gn="ctr"/>
            <a:endParaRPr lang="en-US" sz="1349"/>
          </a:p>
        </p:txBody>
      </p:sp>
      <p:sp>
        <p:nvSpPr>
          <p:cNvPr id="23" name="Rounded Rectangle 13">
            <a:extLst>
              <a:ext uri="{FF2B5EF4-FFF2-40B4-BE49-F238E27FC236}">
                <a16:creationId xmlns:a16="http://schemas.microsoft.com/office/drawing/2014/main" id="{2E7D26BF-154D-46B1-C9B4-44C43A81DFA2}"/>
              </a:ext>
              <a:ext uri="{C183D7F6-B498-43B3-948B-1728B52AA6E4}">
                <adec:decorative xmlns:adec="http://schemas.microsoft.com/office/drawing/2017/decorative" val="1"/>
              </a:ext>
            </a:extLst>
          </p:cNvPr>
          <p:cNvSpPr/>
          <p:nvPr/>
        </p:nvSpPr>
        <p:spPr>
          <a:xfrm>
            <a:off x="4404361" y="5003295"/>
            <a:ext cx="6540694" cy="1520023"/>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gn="ctr"/>
            <a:endParaRPr lang="en-US" sz="1349"/>
          </a:p>
        </p:txBody>
      </p:sp>
      <p:grpSp>
        <p:nvGrpSpPr>
          <p:cNvPr id="35" name="Group 34">
            <a:extLst>
              <a:ext uri="{FF2B5EF4-FFF2-40B4-BE49-F238E27FC236}">
                <a16:creationId xmlns:a16="http://schemas.microsoft.com/office/drawing/2014/main" id="{5C8128B8-A37E-5E3C-E415-E605CCD04799}"/>
              </a:ext>
              <a:ext uri="{C183D7F6-B498-43B3-948B-1728B52AA6E4}">
                <adec:decorative xmlns:adec="http://schemas.microsoft.com/office/drawing/2017/decorative" val="1"/>
              </a:ext>
            </a:extLst>
          </p:cNvPr>
          <p:cNvGrpSpPr>
            <a:grpSpLocks noChangeAspect="1"/>
          </p:cNvGrpSpPr>
          <p:nvPr/>
        </p:nvGrpSpPr>
        <p:grpSpPr>
          <a:xfrm>
            <a:off x="4060368" y="923531"/>
            <a:ext cx="2232000" cy="2232000"/>
            <a:chOff x="3790950" y="2520950"/>
            <a:chExt cx="2530475" cy="2530475"/>
          </a:xfrm>
        </p:grpSpPr>
        <p:sp>
          <p:nvSpPr>
            <p:cNvPr id="36" name="Freeform 3">
              <a:extLst>
                <a:ext uri="{FF2B5EF4-FFF2-40B4-BE49-F238E27FC236}">
                  <a16:creationId xmlns:a16="http://schemas.microsoft.com/office/drawing/2014/main" id="{0D89AD73-2143-54F9-95E8-566F91A67EF8}"/>
                </a:ext>
              </a:extLst>
            </p:cNvPr>
            <p:cNvSpPr>
              <a:spLocks noChangeArrowheads="1"/>
            </p:cNvSpPr>
            <p:nvPr/>
          </p:nvSpPr>
          <p:spPr bwMode="auto">
            <a:xfrm>
              <a:off x="3790950" y="2520950"/>
              <a:ext cx="2530475" cy="2530475"/>
            </a:xfrm>
            <a:custGeom>
              <a:avLst/>
              <a:gdLst>
                <a:gd name="T0" fmla="*/ 7026 w 7027"/>
                <a:gd name="T1" fmla="*/ 3514 h 7027"/>
                <a:gd name="T2" fmla="*/ 6555 w 7027"/>
                <a:gd name="T3" fmla="*/ 5269 h 7027"/>
                <a:gd name="T4" fmla="*/ 5269 w 7027"/>
                <a:gd name="T5" fmla="*/ 6555 h 7027"/>
                <a:gd name="T6" fmla="*/ 3514 w 7027"/>
                <a:gd name="T7" fmla="*/ 7026 h 7027"/>
                <a:gd name="T8" fmla="*/ 1757 w 7027"/>
                <a:gd name="T9" fmla="*/ 6555 h 7027"/>
                <a:gd name="T10" fmla="*/ 471 w 7027"/>
                <a:gd name="T11" fmla="*/ 5269 h 7027"/>
                <a:gd name="T12" fmla="*/ 0 w 7027"/>
                <a:gd name="T13" fmla="*/ 3514 h 7027"/>
                <a:gd name="T14" fmla="*/ 471 w 7027"/>
                <a:gd name="T15" fmla="*/ 1757 h 7027"/>
                <a:gd name="T16" fmla="*/ 1757 w 7027"/>
                <a:gd name="T17" fmla="*/ 471 h 7027"/>
                <a:gd name="T18" fmla="*/ 3513 w 7027"/>
                <a:gd name="T19" fmla="*/ 0 h 7027"/>
                <a:gd name="T20" fmla="*/ 5269 w 7027"/>
                <a:gd name="T21" fmla="*/ 471 h 7027"/>
                <a:gd name="T22" fmla="*/ 6555 w 7027"/>
                <a:gd name="T23" fmla="*/ 1757 h 7027"/>
                <a:gd name="T24" fmla="*/ 7026 w 7027"/>
                <a:gd name="T25" fmla="*/ 3513 h 7027"/>
                <a:gd name="T26" fmla="*/ 7026 w 7027"/>
                <a:gd name="T27" fmla="*/ 3514 h 7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27" h="7027">
                  <a:moveTo>
                    <a:pt x="7026" y="3514"/>
                  </a:moveTo>
                  <a:cubicBezTo>
                    <a:pt x="7026" y="4159"/>
                    <a:pt x="6879" y="4709"/>
                    <a:pt x="6555" y="5269"/>
                  </a:cubicBezTo>
                  <a:cubicBezTo>
                    <a:pt x="6232" y="5829"/>
                    <a:pt x="5829" y="6232"/>
                    <a:pt x="5269" y="6555"/>
                  </a:cubicBezTo>
                  <a:cubicBezTo>
                    <a:pt x="4709" y="6879"/>
                    <a:pt x="4160" y="7026"/>
                    <a:pt x="3514" y="7026"/>
                  </a:cubicBezTo>
                  <a:cubicBezTo>
                    <a:pt x="2867" y="7026"/>
                    <a:pt x="2317" y="6879"/>
                    <a:pt x="1757" y="6555"/>
                  </a:cubicBezTo>
                  <a:cubicBezTo>
                    <a:pt x="1197" y="6232"/>
                    <a:pt x="794" y="5829"/>
                    <a:pt x="471" y="5269"/>
                  </a:cubicBezTo>
                  <a:cubicBezTo>
                    <a:pt x="147" y="4709"/>
                    <a:pt x="0" y="4160"/>
                    <a:pt x="0" y="3514"/>
                  </a:cubicBezTo>
                  <a:cubicBezTo>
                    <a:pt x="0" y="2867"/>
                    <a:pt x="147" y="2317"/>
                    <a:pt x="471" y="1757"/>
                  </a:cubicBezTo>
                  <a:cubicBezTo>
                    <a:pt x="794" y="1197"/>
                    <a:pt x="1197" y="794"/>
                    <a:pt x="1757" y="471"/>
                  </a:cubicBezTo>
                  <a:cubicBezTo>
                    <a:pt x="2317" y="147"/>
                    <a:pt x="2867" y="0"/>
                    <a:pt x="3513" y="0"/>
                  </a:cubicBezTo>
                  <a:cubicBezTo>
                    <a:pt x="4159" y="0"/>
                    <a:pt x="4709" y="147"/>
                    <a:pt x="5269" y="471"/>
                  </a:cubicBezTo>
                  <a:cubicBezTo>
                    <a:pt x="5829" y="794"/>
                    <a:pt x="6232" y="1197"/>
                    <a:pt x="6555" y="1757"/>
                  </a:cubicBezTo>
                  <a:cubicBezTo>
                    <a:pt x="6879" y="2317"/>
                    <a:pt x="7026" y="2867"/>
                    <a:pt x="7026" y="3513"/>
                  </a:cubicBezTo>
                  <a:lnTo>
                    <a:pt x="7026" y="3514"/>
                  </a:lnTo>
                </a:path>
              </a:pathLst>
            </a:custGeom>
            <a:solidFill>
              <a:srgbClr val="1E1E1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37" name="Freeform 4">
              <a:extLst>
                <a:ext uri="{FF2B5EF4-FFF2-40B4-BE49-F238E27FC236}">
                  <a16:creationId xmlns:a16="http://schemas.microsoft.com/office/drawing/2014/main" id="{052E9398-2908-3E72-E15E-49144252C66C}"/>
                </a:ext>
              </a:extLst>
            </p:cNvPr>
            <p:cNvSpPr>
              <a:spLocks noChangeArrowheads="1"/>
            </p:cNvSpPr>
            <p:nvPr/>
          </p:nvSpPr>
          <p:spPr bwMode="auto">
            <a:xfrm>
              <a:off x="4279900" y="3375025"/>
              <a:ext cx="1554163" cy="822325"/>
            </a:xfrm>
            <a:custGeom>
              <a:avLst/>
              <a:gdLst>
                <a:gd name="T0" fmla="*/ 863 w 4317"/>
                <a:gd name="T1" fmla="*/ 434 h 2285"/>
                <a:gd name="T2" fmla="*/ 463 w 4317"/>
                <a:gd name="T3" fmla="*/ 689 h 2285"/>
                <a:gd name="T4" fmla="*/ 0 w 4317"/>
                <a:gd name="T5" fmla="*/ 536 h 2285"/>
                <a:gd name="T6" fmla="*/ 1309 w 4317"/>
                <a:gd name="T7" fmla="*/ 306 h 2285"/>
                <a:gd name="T8" fmla="*/ 896 w 4317"/>
                <a:gd name="T9" fmla="*/ 1241 h 2285"/>
                <a:gd name="T10" fmla="*/ 716 w 4317"/>
                <a:gd name="T11" fmla="*/ 1623 h 2285"/>
                <a:gd name="T12" fmla="*/ 126 w 4317"/>
                <a:gd name="T13" fmla="*/ 774 h 2285"/>
                <a:gd name="T14" fmla="*/ 896 w 4317"/>
                <a:gd name="T15" fmla="*/ 902 h 2285"/>
                <a:gd name="T16" fmla="*/ 800 w 4317"/>
                <a:gd name="T17" fmla="*/ 1072 h 2285"/>
                <a:gd name="T18" fmla="*/ 896 w 4317"/>
                <a:gd name="T19" fmla="*/ 1241 h 2285"/>
                <a:gd name="T20" fmla="*/ 896 w 4317"/>
                <a:gd name="T21" fmla="*/ 1921 h 2285"/>
                <a:gd name="T22" fmla="*/ 0 w 4317"/>
                <a:gd name="T23" fmla="*/ 1708 h 2285"/>
                <a:gd name="T24" fmla="*/ 295 w 4317"/>
                <a:gd name="T25" fmla="*/ 1453 h 2285"/>
                <a:gd name="T26" fmla="*/ 463 w 4317"/>
                <a:gd name="T27" fmla="*/ 1283 h 2285"/>
                <a:gd name="T28" fmla="*/ 295 w 4317"/>
                <a:gd name="T29" fmla="*/ 1453 h 2285"/>
                <a:gd name="T30" fmla="*/ 463 w 4317"/>
                <a:gd name="T31" fmla="*/ 1072 h 2285"/>
                <a:gd name="T32" fmla="*/ 295 w 4317"/>
                <a:gd name="T33" fmla="*/ 902 h 2285"/>
                <a:gd name="T34" fmla="*/ 3319 w 4317"/>
                <a:gd name="T35" fmla="*/ 469 h 2285"/>
                <a:gd name="T36" fmla="*/ 3432 w 4317"/>
                <a:gd name="T37" fmla="*/ 94 h 2285"/>
                <a:gd name="T38" fmla="*/ 4316 w 4317"/>
                <a:gd name="T39" fmla="*/ 689 h 2285"/>
                <a:gd name="T40" fmla="*/ 3811 w 4317"/>
                <a:gd name="T41" fmla="*/ 587 h 2285"/>
                <a:gd name="T42" fmla="*/ 3319 w 4317"/>
                <a:gd name="T43" fmla="*/ 469 h 2285"/>
                <a:gd name="T44" fmla="*/ 3420 w 4317"/>
                <a:gd name="T45" fmla="*/ 1072 h 2285"/>
                <a:gd name="T46" fmla="*/ 3516 w 4317"/>
                <a:gd name="T47" fmla="*/ 902 h 2285"/>
                <a:gd name="T48" fmla="*/ 3420 w 4317"/>
                <a:gd name="T49" fmla="*/ 774 h 2285"/>
                <a:gd name="T50" fmla="*/ 4190 w 4317"/>
                <a:gd name="T51" fmla="*/ 1623 h 2285"/>
                <a:gd name="T52" fmla="*/ 3558 w 4317"/>
                <a:gd name="T53" fmla="*/ 1241 h 2285"/>
                <a:gd name="T54" fmla="*/ 3420 w 4317"/>
                <a:gd name="T55" fmla="*/ 1708 h 2285"/>
                <a:gd name="T56" fmla="*/ 4316 w 4317"/>
                <a:gd name="T57" fmla="*/ 1921 h 2285"/>
                <a:gd name="T58" fmla="*/ 3420 w 4317"/>
                <a:gd name="T59" fmla="*/ 1708 h 2285"/>
                <a:gd name="T60" fmla="*/ 4021 w 4317"/>
                <a:gd name="T61" fmla="*/ 1072 h 2285"/>
                <a:gd name="T62" fmla="*/ 3853 w 4317"/>
                <a:gd name="T63" fmla="*/ 902 h 2285"/>
                <a:gd name="T64" fmla="*/ 3853 w 4317"/>
                <a:gd name="T65" fmla="*/ 1453 h 2285"/>
                <a:gd name="T66" fmla="*/ 4021 w 4317"/>
                <a:gd name="T67" fmla="*/ 1283 h 2285"/>
                <a:gd name="T68" fmla="*/ 3853 w 4317"/>
                <a:gd name="T69" fmla="*/ 1453 h 2285"/>
                <a:gd name="T70" fmla="*/ 2621 w 4317"/>
                <a:gd name="T71" fmla="*/ 616 h 2285"/>
                <a:gd name="T72" fmla="*/ 1619 w 4317"/>
                <a:gd name="T73" fmla="*/ 616 h 2285"/>
                <a:gd name="T74" fmla="*/ 1038 w 4317"/>
                <a:gd name="T75" fmla="*/ 744 h 2285"/>
                <a:gd name="T76" fmla="*/ 2147 w 4317"/>
                <a:gd name="T77" fmla="*/ 0 h 2285"/>
                <a:gd name="T78" fmla="*/ 3255 w 4317"/>
                <a:gd name="T79" fmla="*/ 744 h 2285"/>
                <a:gd name="T80" fmla="*/ 2304 w 4317"/>
                <a:gd name="T81" fmla="*/ 1912 h 2285"/>
                <a:gd name="T82" fmla="*/ 1936 w 4317"/>
                <a:gd name="T83" fmla="*/ 1434 h 2285"/>
                <a:gd name="T84" fmla="*/ 1196 w 4317"/>
                <a:gd name="T85" fmla="*/ 1912 h 2285"/>
                <a:gd name="T86" fmla="*/ 3096 w 4317"/>
                <a:gd name="T87" fmla="*/ 850 h 2285"/>
                <a:gd name="T88" fmla="*/ 2304 w 4317"/>
                <a:gd name="T89" fmla="*/ 1912 h 2285"/>
                <a:gd name="T90" fmla="*/ 1619 w 4317"/>
                <a:gd name="T91" fmla="*/ 1700 h 2285"/>
                <a:gd name="T92" fmla="*/ 1408 w 4317"/>
                <a:gd name="T93" fmla="*/ 1487 h 2285"/>
                <a:gd name="T94" fmla="*/ 1408 w 4317"/>
                <a:gd name="T95" fmla="*/ 1221 h 2285"/>
                <a:gd name="T96" fmla="*/ 1619 w 4317"/>
                <a:gd name="T97" fmla="*/ 1010 h 2285"/>
                <a:gd name="T98" fmla="*/ 1408 w 4317"/>
                <a:gd name="T99" fmla="*/ 1221 h 2285"/>
                <a:gd name="T100" fmla="*/ 2885 w 4317"/>
                <a:gd name="T101" fmla="*/ 1221 h 2285"/>
                <a:gd name="T102" fmla="*/ 2674 w 4317"/>
                <a:gd name="T103" fmla="*/ 1010 h 2285"/>
                <a:gd name="T104" fmla="*/ 2041 w 4317"/>
                <a:gd name="T105" fmla="*/ 1221 h 2285"/>
                <a:gd name="T106" fmla="*/ 2251 w 4317"/>
                <a:gd name="T107" fmla="*/ 1010 h 2285"/>
                <a:gd name="T108" fmla="*/ 2041 w 4317"/>
                <a:gd name="T109" fmla="*/ 1221 h 2285"/>
                <a:gd name="T110" fmla="*/ 2885 w 4317"/>
                <a:gd name="T111" fmla="*/ 1700 h 2285"/>
                <a:gd name="T112" fmla="*/ 2674 w 4317"/>
                <a:gd name="T113" fmla="*/ 1487 h 2285"/>
                <a:gd name="T114" fmla="*/ 1038 w 4317"/>
                <a:gd name="T115" fmla="*/ 2019 h 2285"/>
                <a:gd name="T116" fmla="*/ 3255 w 4317"/>
                <a:gd name="T117" fmla="*/ 2284 h 2285"/>
                <a:gd name="T118" fmla="*/ 1038 w 4317"/>
                <a:gd name="T119" fmla="*/ 2019 h 2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4317" h="2285">
                  <a:moveTo>
                    <a:pt x="979" y="479"/>
                  </a:moveTo>
                  <a:lnTo>
                    <a:pt x="863" y="434"/>
                  </a:lnTo>
                  <a:lnTo>
                    <a:pt x="463" y="587"/>
                  </a:lnTo>
                  <a:lnTo>
                    <a:pt x="463" y="689"/>
                  </a:lnTo>
                  <a:lnTo>
                    <a:pt x="0" y="689"/>
                  </a:lnTo>
                  <a:lnTo>
                    <a:pt x="0" y="536"/>
                  </a:lnTo>
                  <a:lnTo>
                    <a:pt x="884" y="94"/>
                  </a:lnTo>
                  <a:lnTo>
                    <a:pt x="1309" y="306"/>
                  </a:lnTo>
                  <a:lnTo>
                    <a:pt x="979" y="479"/>
                  </a:lnTo>
                  <a:close/>
                  <a:moveTo>
                    <a:pt x="896" y="1241"/>
                  </a:moveTo>
                  <a:lnTo>
                    <a:pt x="716" y="1241"/>
                  </a:lnTo>
                  <a:lnTo>
                    <a:pt x="716" y="1623"/>
                  </a:lnTo>
                  <a:lnTo>
                    <a:pt x="126" y="1623"/>
                  </a:lnTo>
                  <a:lnTo>
                    <a:pt x="126" y="774"/>
                  </a:lnTo>
                  <a:lnTo>
                    <a:pt x="896" y="774"/>
                  </a:lnTo>
                  <a:lnTo>
                    <a:pt x="896" y="902"/>
                  </a:lnTo>
                  <a:lnTo>
                    <a:pt x="800" y="902"/>
                  </a:lnTo>
                  <a:lnTo>
                    <a:pt x="800" y="1072"/>
                  </a:lnTo>
                  <a:lnTo>
                    <a:pt x="896" y="1072"/>
                  </a:lnTo>
                  <a:lnTo>
                    <a:pt x="896" y="1241"/>
                  </a:lnTo>
                  <a:close/>
                  <a:moveTo>
                    <a:pt x="896" y="1708"/>
                  </a:moveTo>
                  <a:lnTo>
                    <a:pt x="896" y="1921"/>
                  </a:lnTo>
                  <a:lnTo>
                    <a:pt x="0" y="1921"/>
                  </a:lnTo>
                  <a:lnTo>
                    <a:pt x="0" y="1708"/>
                  </a:lnTo>
                  <a:lnTo>
                    <a:pt x="896" y="1708"/>
                  </a:lnTo>
                  <a:close/>
                  <a:moveTo>
                    <a:pt x="295" y="1453"/>
                  </a:moveTo>
                  <a:lnTo>
                    <a:pt x="463" y="1453"/>
                  </a:lnTo>
                  <a:lnTo>
                    <a:pt x="463" y="1283"/>
                  </a:lnTo>
                  <a:lnTo>
                    <a:pt x="295" y="1283"/>
                  </a:lnTo>
                  <a:lnTo>
                    <a:pt x="295" y="1453"/>
                  </a:lnTo>
                  <a:close/>
                  <a:moveTo>
                    <a:pt x="295" y="1072"/>
                  </a:moveTo>
                  <a:lnTo>
                    <a:pt x="463" y="1072"/>
                  </a:lnTo>
                  <a:lnTo>
                    <a:pt x="463" y="902"/>
                  </a:lnTo>
                  <a:lnTo>
                    <a:pt x="295" y="902"/>
                  </a:lnTo>
                  <a:lnTo>
                    <a:pt x="295" y="1072"/>
                  </a:lnTo>
                  <a:close/>
                  <a:moveTo>
                    <a:pt x="3319" y="469"/>
                  </a:moveTo>
                  <a:lnTo>
                    <a:pt x="3008" y="306"/>
                  </a:lnTo>
                  <a:lnTo>
                    <a:pt x="3432" y="94"/>
                  </a:lnTo>
                  <a:lnTo>
                    <a:pt x="4316" y="536"/>
                  </a:lnTo>
                  <a:lnTo>
                    <a:pt x="4316" y="689"/>
                  </a:lnTo>
                  <a:lnTo>
                    <a:pt x="3811" y="689"/>
                  </a:lnTo>
                  <a:lnTo>
                    <a:pt x="3811" y="587"/>
                  </a:lnTo>
                  <a:lnTo>
                    <a:pt x="3411" y="434"/>
                  </a:lnTo>
                  <a:lnTo>
                    <a:pt x="3319" y="469"/>
                  </a:lnTo>
                  <a:close/>
                  <a:moveTo>
                    <a:pt x="3420" y="1241"/>
                  </a:moveTo>
                  <a:lnTo>
                    <a:pt x="3420" y="1072"/>
                  </a:lnTo>
                  <a:lnTo>
                    <a:pt x="3516" y="1072"/>
                  </a:lnTo>
                  <a:lnTo>
                    <a:pt x="3516" y="902"/>
                  </a:lnTo>
                  <a:lnTo>
                    <a:pt x="3420" y="902"/>
                  </a:lnTo>
                  <a:lnTo>
                    <a:pt x="3420" y="774"/>
                  </a:lnTo>
                  <a:lnTo>
                    <a:pt x="4190" y="774"/>
                  </a:lnTo>
                  <a:lnTo>
                    <a:pt x="4190" y="1623"/>
                  </a:lnTo>
                  <a:lnTo>
                    <a:pt x="3558" y="1623"/>
                  </a:lnTo>
                  <a:lnTo>
                    <a:pt x="3558" y="1241"/>
                  </a:lnTo>
                  <a:lnTo>
                    <a:pt x="3420" y="1241"/>
                  </a:lnTo>
                  <a:close/>
                  <a:moveTo>
                    <a:pt x="3420" y="1708"/>
                  </a:moveTo>
                  <a:lnTo>
                    <a:pt x="4316" y="1708"/>
                  </a:lnTo>
                  <a:lnTo>
                    <a:pt x="4316" y="1921"/>
                  </a:lnTo>
                  <a:lnTo>
                    <a:pt x="3420" y="1921"/>
                  </a:lnTo>
                  <a:lnTo>
                    <a:pt x="3420" y="1708"/>
                  </a:lnTo>
                  <a:close/>
                  <a:moveTo>
                    <a:pt x="3853" y="1072"/>
                  </a:moveTo>
                  <a:lnTo>
                    <a:pt x="4021" y="1072"/>
                  </a:lnTo>
                  <a:lnTo>
                    <a:pt x="4021" y="902"/>
                  </a:lnTo>
                  <a:lnTo>
                    <a:pt x="3853" y="902"/>
                  </a:lnTo>
                  <a:lnTo>
                    <a:pt x="3853" y="1072"/>
                  </a:lnTo>
                  <a:close/>
                  <a:moveTo>
                    <a:pt x="3853" y="1453"/>
                  </a:moveTo>
                  <a:lnTo>
                    <a:pt x="4021" y="1453"/>
                  </a:lnTo>
                  <a:lnTo>
                    <a:pt x="4021" y="1283"/>
                  </a:lnTo>
                  <a:lnTo>
                    <a:pt x="3853" y="1283"/>
                  </a:lnTo>
                  <a:lnTo>
                    <a:pt x="3853" y="1453"/>
                  </a:lnTo>
                  <a:close/>
                  <a:moveTo>
                    <a:pt x="2621" y="744"/>
                  </a:moveTo>
                  <a:lnTo>
                    <a:pt x="2621" y="616"/>
                  </a:lnTo>
                  <a:lnTo>
                    <a:pt x="2120" y="425"/>
                  </a:lnTo>
                  <a:lnTo>
                    <a:pt x="1619" y="616"/>
                  </a:lnTo>
                  <a:lnTo>
                    <a:pt x="1619" y="744"/>
                  </a:lnTo>
                  <a:lnTo>
                    <a:pt x="1038" y="744"/>
                  </a:lnTo>
                  <a:lnTo>
                    <a:pt x="1038" y="552"/>
                  </a:lnTo>
                  <a:lnTo>
                    <a:pt x="2147" y="0"/>
                  </a:lnTo>
                  <a:lnTo>
                    <a:pt x="3255" y="552"/>
                  </a:lnTo>
                  <a:lnTo>
                    <a:pt x="3255" y="744"/>
                  </a:lnTo>
                  <a:lnTo>
                    <a:pt x="2621" y="744"/>
                  </a:lnTo>
                  <a:close/>
                  <a:moveTo>
                    <a:pt x="2304" y="1912"/>
                  </a:moveTo>
                  <a:lnTo>
                    <a:pt x="2304" y="1434"/>
                  </a:lnTo>
                  <a:lnTo>
                    <a:pt x="1936" y="1434"/>
                  </a:lnTo>
                  <a:lnTo>
                    <a:pt x="1936" y="1912"/>
                  </a:lnTo>
                  <a:lnTo>
                    <a:pt x="1196" y="1912"/>
                  </a:lnTo>
                  <a:lnTo>
                    <a:pt x="1196" y="850"/>
                  </a:lnTo>
                  <a:lnTo>
                    <a:pt x="3096" y="850"/>
                  </a:lnTo>
                  <a:lnTo>
                    <a:pt x="3096" y="1912"/>
                  </a:lnTo>
                  <a:lnTo>
                    <a:pt x="2304" y="1912"/>
                  </a:lnTo>
                  <a:close/>
                  <a:moveTo>
                    <a:pt x="1408" y="1700"/>
                  </a:moveTo>
                  <a:lnTo>
                    <a:pt x="1619" y="1700"/>
                  </a:lnTo>
                  <a:lnTo>
                    <a:pt x="1619" y="1487"/>
                  </a:lnTo>
                  <a:lnTo>
                    <a:pt x="1408" y="1487"/>
                  </a:lnTo>
                  <a:lnTo>
                    <a:pt x="1408" y="1700"/>
                  </a:lnTo>
                  <a:close/>
                  <a:moveTo>
                    <a:pt x="1408" y="1221"/>
                  </a:moveTo>
                  <a:lnTo>
                    <a:pt x="1619" y="1221"/>
                  </a:lnTo>
                  <a:lnTo>
                    <a:pt x="1619" y="1010"/>
                  </a:lnTo>
                  <a:lnTo>
                    <a:pt x="1408" y="1010"/>
                  </a:lnTo>
                  <a:lnTo>
                    <a:pt x="1408" y="1221"/>
                  </a:lnTo>
                  <a:close/>
                  <a:moveTo>
                    <a:pt x="2674" y="1221"/>
                  </a:moveTo>
                  <a:lnTo>
                    <a:pt x="2885" y="1221"/>
                  </a:lnTo>
                  <a:lnTo>
                    <a:pt x="2885" y="1010"/>
                  </a:lnTo>
                  <a:lnTo>
                    <a:pt x="2674" y="1010"/>
                  </a:lnTo>
                  <a:lnTo>
                    <a:pt x="2674" y="1221"/>
                  </a:lnTo>
                  <a:close/>
                  <a:moveTo>
                    <a:pt x="2041" y="1221"/>
                  </a:moveTo>
                  <a:lnTo>
                    <a:pt x="2251" y="1221"/>
                  </a:lnTo>
                  <a:lnTo>
                    <a:pt x="2251" y="1010"/>
                  </a:lnTo>
                  <a:lnTo>
                    <a:pt x="2041" y="1010"/>
                  </a:lnTo>
                  <a:lnTo>
                    <a:pt x="2041" y="1221"/>
                  </a:lnTo>
                  <a:close/>
                  <a:moveTo>
                    <a:pt x="2674" y="1700"/>
                  </a:moveTo>
                  <a:lnTo>
                    <a:pt x="2885" y="1700"/>
                  </a:lnTo>
                  <a:lnTo>
                    <a:pt x="2885" y="1487"/>
                  </a:lnTo>
                  <a:lnTo>
                    <a:pt x="2674" y="1487"/>
                  </a:lnTo>
                  <a:lnTo>
                    <a:pt x="2674" y="1700"/>
                  </a:lnTo>
                  <a:close/>
                  <a:moveTo>
                    <a:pt x="1038" y="2019"/>
                  </a:moveTo>
                  <a:lnTo>
                    <a:pt x="3255" y="2019"/>
                  </a:lnTo>
                  <a:lnTo>
                    <a:pt x="3255" y="2284"/>
                  </a:lnTo>
                  <a:lnTo>
                    <a:pt x="1038" y="2284"/>
                  </a:lnTo>
                  <a:lnTo>
                    <a:pt x="1038" y="2019"/>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38" name="Freeform 5">
              <a:extLst>
                <a:ext uri="{FF2B5EF4-FFF2-40B4-BE49-F238E27FC236}">
                  <a16:creationId xmlns:a16="http://schemas.microsoft.com/office/drawing/2014/main" id="{368930DA-0BE4-28F3-38C3-8B642C2D8A2C}"/>
                </a:ext>
              </a:extLst>
            </p:cNvPr>
            <p:cNvSpPr>
              <a:spLocks noChangeArrowheads="1"/>
            </p:cNvSpPr>
            <p:nvPr/>
          </p:nvSpPr>
          <p:spPr bwMode="auto">
            <a:xfrm>
              <a:off x="5040313" y="3206750"/>
              <a:ext cx="136525" cy="152400"/>
            </a:xfrm>
            <a:custGeom>
              <a:avLst/>
              <a:gdLst>
                <a:gd name="T0" fmla="*/ 238 w 381"/>
                <a:gd name="T1" fmla="*/ 50 h 424"/>
                <a:gd name="T2" fmla="*/ 228 w 381"/>
                <a:gd name="T3" fmla="*/ 0 h 424"/>
                <a:gd name="T4" fmla="*/ 0 w 381"/>
                <a:gd name="T5" fmla="*/ 0 h 424"/>
                <a:gd name="T6" fmla="*/ 0 w 381"/>
                <a:gd name="T7" fmla="*/ 423 h 424"/>
                <a:gd name="T8" fmla="*/ 50 w 381"/>
                <a:gd name="T9" fmla="*/ 423 h 424"/>
                <a:gd name="T10" fmla="*/ 50 w 381"/>
                <a:gd name="T11" fmla="*/ 249 h 424"/>
                <a:gd name="T12" fmla="*/ 192 w 381"/>
                <a:gd name="T13" fmla="*/ 249 h 424"/>
                <a:gd name="T14" fmla="*/ 202 w 381"/>
                <a:gd name="T15" fmla="*/ 299 h 424"/>
                <a:gd name="T16" fmla="*/ 380 w 381"/>
                <a:gd name="T17" fmla="*/ 299 h 424"/>
                <a:gd name="T18" fmla="*/ 380 w 381"/>
                <a:gd name="T19" fmla="*/ 50 h 424"/>
                <a:gd name="T20" fmla="*/ 238 w 381"/>
                <a:gd name="T21" fmla="*/ 50 h 4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81" h="424">
                  <a:moveTo>
                    <a:pt x="238" y="50"/>
                  </a:moveTo>
                  <a:lnTo>
                    <a:pt x="228" y="0"/>
                  </a:lnTo>
                  <a:lnTo>
                    <a:pt x="0" y="0"/>
                  </a:lnTo>
                  <a:lnTo>
                    <a:pt x="0" y="423"/>
                  </a:lnTo>
                  <a:lnTo>
                    <a:pt x="50" y="423"/>
                  </a:lnTo>
                  <a:lnTo>
                    <a:pt x="50" y="249"/>
                  </a:lnTo>
                  <a:lnTo>
                    <a:pt x="192" y="249"/>
                  </a:lnTo>
                  <a:lnTo>
                    <a:pt x="202" y="299"/>
                  </a:lnTo>
                  <a:lnTo>
                    <a:pt x="380" y="299"/>
                  </a:lnTo>
                  <a:lnTo>
                    <a:pt x="380" y="50"/>
                  </a:lnTo>
                  <a:lnTo>
                    <a:pt x="238" y="5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39" name="Freeform 6">
              <a:extLst>
                <a:ext uri="{FF2B5EF4-FFF2-40B4-BE49-F238E27FC236}">
                  <a16:creationId xmlns:a16="http://schemas.microsoft.com/office/drawing/2014/main" id="{1355062F-3BBF-CB16-FE35-2F373D96B785}"/>
                </a:ext>
              </a:extLst>
            </p:cNvPr>
            <p:cNvSpPr>
              <a:spLocks noChangeArrowheads="1"/>
            </p:cNvSpPr>
            <p:nvPr/>
          </p:nvSpPr>
          <p:spPr bwMode="auto">
            <a:xfrm>
              <a:off x="4583113" y="3268663"/>
              <a:ext cx="107950" cy="122237"/>
            </a:xfrm>
            <a:custGeom>
              <a:avLst/>
              <a:gdLst>
                <a:gd name="T0" fmla="*/ 186 w 298"/>
                <a:gd name="T1" fmla="*/ 40 h 340"/>
                <a:gd name="T2" fmla="*/ 178 w 298"/>
                <a:gd name="T3" fmla="*/ 0 h 340"/>
                <a:gd name="T4" fmla="*/ 0 w 298"/>
                <a:gd name="T5" fmla="*/ 0 h 340"/>
                <a:gd name="T6" fmla="*/ 0 w 298"/>
                <a:gd name="T7" fmla="*/ 339 h 340"/>
                <a:gd name="T8" fmla="*/ 40 w 298"/>
                <a:gd name="T9" fmla="*/ 339 h 340"/>
                <a:gd name="T10" fmla="*/ 40 w 298"/>
                <a:gd name="T11" fmla="*/ 199 h 340"/>
                <a:gd name="T12" fmla="*/ 150 w 298"/>
                <a:gd name="T13" fmla="*/ 199 h 340"/>
                <a:gd name="T14" fmla="*/ 158 w 298"/>
                <a:gd name="T15" fmla="*/ 239 h 340"/>
                <a:gd name="T16" fmla="*/ 297 w 298"/>
                <a:gd name="T17" fmla="*/ 239 h 340"/>
                <a:gd name="T18" fmla="*/ 297 w 298"/>
                <a:gd name="T19" fmla="*/ 40 h 340"/>
                <a:gd name="T20" fmla="*/ 186 w 298"/>
                <a:gd name="T21" fmla="*/ 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8" h="340">
                  <a:moveTo>
                    <a:pt x="186" y="40"/>
                  </a:moveTo>
                  <a:lnTo>
                    <a:pt x="178" y="0"/>
                  </a:lnTo>
                  <a:lnTo>
                    <a:pt x="0" y="0"/>
                  </a:lnTo>
                  <a:lnTo>
                    <a:pt x="0" y="339"/>
                  </a:lnTo>
                  <a:lnTo>
                    <a:pt x="40" y="339"/>
                  </a:lnTo>
                  <a:lnTo>
                    <a:pt x="40" y="199"/>
                  </a:lnTo>
                  <a:lnTo>
                    <a:pt x="150" y="199"/>
                  </a:lnTo>
                  <a:lnTo>
                    <a:pt x="158" y="239"/>
                  </a:lnTo>
                  <a:lnTo>
                    <a:pt x="297" y="239"/>
                  </a:lnTo>
                  <a:lnTo>
                    <a:pt x="297" y="40"/>
                  </a:lnTo>
                  <a:lnTo>
                    <a:pt x="186" y="4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40" name="Freeform 7">
              <a:extLst>
                <a:ext uri="{FF2B5EF4-FFF2-40B4-BE49-F238E27FC236}">
                  <a16:creationId xmlns:a16="http://schemas.microsoft.com/office/drawing/2014/main" id="{8F29B1DC-AD69-3CE9-73C2-F728AE3D3927}"/>
                </a:ext>
              </a:extLst>
            </p:cNvPr>
            <p:cNvSpPr>
              <a:spLocks noChangeArrowheads="1"/>
            </p:cNvSpPr>
            <p:nvPr/>
          </p:nvSpPr>
          <p:spPr bwMode="auto">
            <a:xfrm>
              <a:off x="5497513" y="3268663"/>
              <a:ext cx="106362" cy="122237"/>
            </a:xfrm>
            <a:custGeom>
              <a:avLst/>
              <a:gdLst>
                <a:gd name="T0" fmla="*/ 186 w 297"/>
                <a:gd name="T1" fmla="*/ 40 h 340"/>
                <a:gd name="T2" fmla="*/ 178 w 297"/>
                <a:gd name="T3" fmla="*/ 0 h 340"/>
                <a:gd name="T4" fmla="*/ 0 w 297"/>
                <a:gd name="T5" fmla="*/ 0 h 340"/>
                <a:gd name="T6" fmla="*/ 0 w 297"/>
                <a:gd name="T7" fmla="*/ 339 h 340"/>
                <a:gd name="T8" fmla="*/ 40 w 297"/>
                <a:gd name="T9" fmla="*/ 339 h 340"/>
                <a:gd name="T10" fmla="*/ 40 w 297"/>
                <a:gd name="T11" fmla="*/ 199 h 340"/>
                <a:gd name="T12" fmla="*/ 150 w 297"/>
                <a:gd name="T13" fmla="*/ 199 h 340"/>
                <a:gd name="T14" fmla="*/ 158 w 297"/>
                <a:gd name="T15" fmla="*/ 239 h 340"/>
                <a:gd name="T16" fmla="*/ 296 w 297"/>
                <a:gd name="T17" fmla="*/ 239 h 340"/>
                <a:gd name="T18" fmla="*/ 296 w 297"/>
                <a:gd name="T19" fmla="*/ 40 h 340"/>
                <a:gd name="T20" fmla="*/ 186 w 297"/>
                <a:gd name="T21" fmla="*/ 40 h 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97" h="340">
                  <a:moveTo>
                    <a:pt x="186" y="40"/>
                  </a:moveTo>
                  <a:lnTo>
                    <a:pt x="178" y="0"/>
                  </a:lnTo>
                  <a:lnTo>
                    <a:pt x="0" y="0"/>
                  </a:lnTo>
                  <a:lnTo>
                    <a:pt x="0" y="339"/>
                  </a:lnTo>
                  <a:lnTo>
                    <a:pt x="40" y="339"/>
                  </a:lnTo>
                  <a:lnTo>
                    <a:pt x="40" y="199"/>
                  </a:lnTo>
                  <a:lnTo>
                    <a:pt x="150" y="199"/>
                  </a:lnTo>
                  <a:lnTo>
                    <a:pt x="158" y="239"/>
                  </a:lnTo>
                  <a:lnTo>
                    <a:pt x="296" y="239"/>
                  </a:lnTo>
                  <a:lnTo>
                    <a:pt x="296" y="40"/>
                  </a:lnTo>
                  <a:lnTo>
                    <a:pt x="186" y="40"/>
                  </a:lnTo>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grpSp>
      <p:grpSp>
        <p:nvGrpSpPr>
          <p:cNvPr id="41" name="Group 40">
            <a:extLst>
              <a:ext uri="{FF2B5EF4-FFF2-40B4-BE49-F238E27FC236}">
                <a16:creationId xmlns:a16="http://schemas.microsoft.com/office/drawing/2014/main" id="{57A8F14C-5F1A-CE38-664B-14FE1C8BD183}"/>
              </a:ext>
              <a:ext uri="{C183D7F6-B498-43B3-948B-1728B52AA6E4}">
                <adec:decorative xmlns:adec="http://schemas.microsoft.com/office/drawing/2017/decorative" val="1"/>
              </a:ext>
            </a:extLst>
          </p:cNvPr>
          <p:cNvGrpSpPr>
            <a:grpSpLocks noChangeAspect="1"/>
          </p:cNvGrpSpPr>
          <p:nvPr/>
        </p:nvGrpSpPr>
        <p:grpSpPr>
          <a:xfrm>
            <a:off x="6559817" y="923531"/>
            <a:ext cx="2232000" cy="2232000"/>
            <a:chOff x="3790950" y="2520950"/>
            <a:chExt cx="2530475" cy="2530475"/>
          </a:xfrm>
        </p:grpSpPr>
        <p:sp>
          <p:nvSpPr>
            <p:cNvPr id="42" name="Freeform 3">
              <a:extLst>
                <a:ext uri="{FF2B5EF4-FFF2-40B4-BE49-F238E27FC236}">
                  <a16:creationId xmlns:a16="http://schemas.microsoft.com/office/drawing/2014/main" id="{334AA48D-816C-12C1-CF31-4BE529DCC273}"/>
                </a:ext>
              </a:extLst>
            </p:cNvPr>
            <p:cNvSpPr>
              <a:spLocks noChangeArrowheads="1"/>
            </p:cNvSpPr>
            <p:nvPr/>
          </p:nvSpPr>
          <p:spPr bwMode="auto">
            <a:xfrm>
              <a:off x="3790950" y="2520950"/>
              <a:ext cx="2530475" cy="2530475"/>
            </a:xfrm>
            <a:custGeom>
              <a:avLst/>
              <a:gdLst>
                <a:gd name="T0" fmla="*/ 2530115 w 7027"/>
                <a:gd name="T1" fmla="*/ 1265418 h 7027"/>
                <a:gd name="T2" fmla="*/ 2360504 w 7027"/>
                <a:gd name="T3" fmla="*/ 1897406 h 7027"/>
                <a:gd name="T4" fmla="*/ 1897406 w 7027"/>
                <a:gd name="T5" fmla="*/ 2360504 h 7027"/>
                <a:gd name="T6" fmla="*/ 1265418 w 7027"/>
                <a:gd name="T7" fmla="*/ 2530115 h 7027"/>
                <a:gd name="T8" fmla="*/ 632709 w 7027"/>
                <a:gd name="T9" fmla="*/ 2360504 h 7027"/>
                <a:gd name="T10" fmla="*/ 169611 w 7027"/>
                <a:gd name="T11" fmla="*/ 1897406 h 7027"/>
                <a:gd name="T12" fmla="*/ 0 w 7027"/>
                <a:gd name="T13" fmla="*/ 1265418 h 7027"/>
                <a:gd name="T14" fmla="*/ 169611 w 7027"/>
                <a:gd name="T15" fmla="*/ 632709 h 7027"/>
                <a:gd name="T16" fmla="*/ 632709 w 7027"/>
                <a:gd name="T17" fmla="*/ 169611 h 7027"/>
                <a:gd name="T18" fmla="*/ 1265057 w 7027"/>
                <a:gd name="T19" fmla="*/ 0 h 7027"/>
                <a:gd name="T20" fmla="*/ 1897406 w 7027"/>
                <a:gd name="T21" fmla="*/ 169611 h 7027"/>
                <a:gd name="T22" fmla="*/ 2360504 w 7027"/>
                <a:gd name="T23" fmla="*/ 632709 h 7027"/>
                <a:gd name="T24" fmla="*/ 2530115 w 7027"/>
                <a:gd name="T25" fmla="*/ 1265057 h 7027"/>
                <a:gd name="T26" fmla="*/ 2530115 w 7027"/>
                <a:gd name="T27" fmla="*/ 1265418 h 70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7027" h="7027">
                  <a:moveTo>
                    <a:pt x="7026" y="3514"/>
                  </a:moveTo>
                  <a:cubicBezTo>
                    <a:pt x="7026" y="4159"/>
                    <a:pt x="6879" y="4709"/>
                    <a:pt x="6555" y="5269"/>
                  </a:cubicBezTo>
                  <a:cubicBezTo>
                    <a:pt x="6232" y="5829"/>
                    <a:pt x="5829" y="6232"/>
                    <a:pt x="5269" y="6555"/>
                  </a:cubicBezTo>
                  <a:cubicBezTo>
                    <a:pt x="4709" y="6879"/>
                    <a:pt x="4160" y="7026"/>
                    <a:pt x="3514" y="7026"/>
                  </a:cubicBezTo>
                  <a:cubicBezTo>
                    <a:pt x="2867" y="7026"/>
                    <a:pt x="2317" y="6879"/>
                    <a:pt x="1757" y="6555"/>
                  </a:cubicBezTo>
                  <a:cubicBezTo>
                    <a:pt x="1197" y="6232"/>
                    <a:pt x="794" y="5829"/>
                    <a:pt x="471" y="5269"/>
                  </a:cubicBezTo>
                  <a:cubicBezTo>
                    <a:pt x="147" y="4709"/>
                    <a:pt x="0" y="4160"/>
                    <a:pt x="0" y="3514"/>
                  </a:cubicBezTo>
                  <a:cubicBezTo>
                    <a:pt x="0" y="2867"/>
                    <a:pt x="147" y="2317"/>
                    <a:pt x="471" y="1757"/>
                  </a:cubicBezTo>
                  <a:cubicBezTo>
                    <a:pt x="794" y="1197"/>
                    <a:pt x="1197" y="794"/>
                    <a:pt x="1757" y="471"/>
                  </a:cubicBezTo>
                  <a:cubicBezTo>
                    <a:pt x="2317" y="147"/>
                    <a:pt x="2867" y="0"/>
                    <a:pt x="3513" y="0"/>
                  </a:cubicBezTo>
                  <a:cubicBezTo>
                    <a:pt x="4159" y="0"/>
                    <a:pt x="4709" y="147"/>
                    <a:pt x="5269" y="471"/>
                  </a:cubicBezTo>
                  <a:cubicBezTo>
                    <a:pt x="5829" y="794"/>
                    <a:pt x="6232" y="1197"/>
                    <a:pt x="6555" y="1757"/>
                  </a:cubicBezTo>
                  <a:cubicBezTo>
                    <a:pt x="6879" y="2317"/>
                    <a:pt x="7026" y="2867"/>
                    <a:pt x="7026" y="3513"/>
                  </a:cubicBezTo>
                  <a:lnTo>
                    <a:pt x="7026" y="3514"/>
                  </a:lnTo>
                </a:path>
              </a:pathLst>
            </a:custGeom>
            <a:solidFill>
              <a:srgbClr val="1E1E1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43" name="Freeform 4">
              <a:extLst>
                <a:ext uri="{FF2B5EF4-FFF2-40B4-BE49-F238E27FC236}">
                  <a16:creationId xmlns:a16="http://schemas.microsoft.com/office/drawing/2014/main" id="{133520D6-D59D-8632-902B-DCB5FF165255}"/>
                </a:ext>
              </a:extLst>
            </p:cNvPr>
            <p:cNvSpPr>
              <a:spLocks noChangeArrowheads="1"/>
            </p:cNvSpPr>
            <p:nvPr/>
          </p:nvSpPr>
          <p:spPr bwMode="auto">
            <a:xfrm>
              <a:off x="4826000" y="3349625"/>
              <a:ext cx="149225" cy="157163"/>
            </a:xfrm>
            <a:custGeom>
              <a:avLst/>
              <a:gdLst>
                <a:gd name="T0" fmla="*/ 723 w 413"/>
                <a:gd name="T1" fmla="*/ 122198 h 436"/>
                <a:gd name="T2" fmla="*/ 38661 w 413"/>
                <a:gd name="T3" fmla="*/ 59477 h 436"/>
                <a:gd name="T4" fmla="*/ 38661 w 413"/>
                <a:gd name="T5" fmla="*/ 58395 h 436"/>
                <a:gd name="T6" fmla="*/ 39023 w 413"/>
                <a:gd name="T7" fmla="*/ 58395 h 436"/>
                <a:gd name="T8" fmla="*/ 39384 w 413"/>
                <a:gd name="T9" fmla="*/ 57674 h 436"/>
                <a:gd name="T10" fmla="*/ 40829 w 413"/>
                <a:gd name="T11" fmla="*/ 58395 h 436"/>
                <a:gd name="T12" fmla="*/ 73709 w 413"/>
                <a:gd name="T13" fmla="*/ 58395 h 436"/>
                <a:gd name="T14" fmla="*/ 109119 w 413"/>
                <a:gd name="T15" fmla="*/ 58395 h 436"/>
                <a:gd name="T16" fmla="*/ 109119 w 413"/>
                <a:gd name="T17" fmla="*/ 58756 h 436"/>
                <a:gd name="T18" fmla="*/ 109480 w 413"/>
                <a:gd name="T19" fmla="*/ 58395 h 436"/>
                <a:gd name="T20" fmla="*/ 148864 w 413"/>
                <a:gd name="T21" fmla="*/ 124000 h 436"/>
                <a:gd name="T22" fmla="*/ 146696 w 413"/>
                <a:gd name="T23" fmla="*/ 125442 h 436"/>
                <a:gd name="T24" fmla="*/ 146696 w 413"/>
                <a:gd name="T25" fmla="*/ 122198 h 436"/>
                <a:gd name="T26" fmla="*/ 120681 w 413"/>
                <a:gd name="T27" fmla="*/ 122198 h 436"/>
                <a:gd name="T28" fmla="*/ 109119 w 413"/>
                <a:gd name="T29" fmla="*/ 103093 h 436"/>
                <a:gd name="T30" fmla="*/ 109119 w 413"/>
                <a:gd name="T31" fmla="*/ 122198 h 436"/>
                <a:gd name="T32" fmla="*/ 38661 w 413"/>
                <a:gd name="T33" fmla="*/ 122198 h 436"/>
                <a:gd name="T34" fmla="*/ 38661 w 413"/>
                <a:gd name="T35" fmla="*/ 104535 h 436"/>
                <a:gd name="T36" fmla="*/ 28183 w 413"/>
                <a:gd name="T37" fmla="*/ 122198 h 436"/>
                <a:gd name="T38" fmla="*/ 723 w 413"/>
                <a:gd name="T39" fmla="*/ 122198 h 436"/>
                <a:gd name="T40" fmla="*/ 97195 w 413"/>
                <a:gd name="T41" fmla="*/ 23430 h 436"/>
                <a:gd name="T42" fmla="*/ 73709 w 413"/>
                <a:gd name="T43" fmla="*/ 46861 h 436"/>
                <a:gd name="T44" fmla="*/ 50223 w 413"/>
                <a:gd name="T45" fmla="*/ 23430 h 436"/>
                <a:gd name="T46" fmla="*/ 73709 w 413"/>
                <a:gd name="T47" fmla="*/ 0 h 436"/>
                <a:gd name="T48" fmla="*/ 97195 w 413"/>
                <a:gd name="T49" fmla="*/ 23430 h 436"/>
                <a:gd name="T50" fmla="*/ 0 w 413"/>
                <a:gd name="T51" fmla="*/ 133733 h 436"/>
                <a:gd name="T52" fmla="*/ 146696 w 413"/>
                <a:gd name="T53" fmla="*/ 133733 h 436"/>
                <a:gd name="T54" fmla="*/ 146696 w 413"/>
                <a:gd name="T55" fmla="*/ 156803 h 436"/>
                <a:gd name="T56" fmla="*/ 0 w 413"/>
                <a:gd name="T57" fmla="*/ 156803 h 436"/>
                <a:gd name="T58" fmla="*/ 0 w 413"/>
                <a:gd name="T59" fmla="*/ 133733 h 4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13" h="436">
                  <a:moveTo>
                    <a:pt x="2" y="339"/>
                  </a:moveTo>
                  <a:lnTo>
                    <a:pt x="107" y="165"/>
                  </a:lnTo>
                  <a:lnTo>
                    <a:pt x="107" y="162"/>
                  </a:lnTo>
                  <a:lnTo>
                    <a:pt x="108" y="162"/>
                  </a:lnTo>
                  <a:lnTo>
                    <a:pt x="109" y="160"/>
                  </a:lnTo>
                  <a:lnTo>
                    <a:pt x="113" y="162"/>
                  </a:lnTo>
                  <a:lnTo>
                    <a:pt x="204" y="162"/>
                  </a:lnTo>
                  <a:lnTo>
                    <a:pt x="302" y="162"/>
                  </a:lnTo>
                  <a:lnTo>
                    <a:pt x="302" y="163"/>
                  </a:lnTo>
                  <a:lnTo>
                    <a:pt x="303" y="162"/>
                  </a:lnTo>
                  <a:lnTo>
                    <a:pt x="412" y="344"/>
                  </a:lnTo>
                  <a:lnTo>
                    <a:pt x="406" y="348"/>
                  </a:lnTo>
                  <a:lnTo>
                    <a:pt x="406" y="339"/>
                  </a:lnTo>
                  <a:lnTo>
                    <a:pt x="334" y="339"/>
                  </a:lnTo>
                  <a:lnTo>
                    <a:pt x="302" y="286"/>
                  </a:lnTo>
                  <a:lnTo>
                    <a:pt x="302" y="339"/>
                  </a:lnTo>
                  <a:lnTo>
                    <a:pt x="107" y="339"/>
                  </a:lnTo>
                  <a:lnTo>
                    <a:pt x="107" y="290"/>
                  </a:lnTo>
                  <a:lnTo>
                    <a:pt x="78" y="339"/>
                  </a:lnTo>
                  <a:lnTo>
                    <a:pt x="2" y="339"/>
                  </a:lnTo>
                  <a:close/>
                  <a:moveTo>
                    <a:pt x="269" y="65"/>
                  </a:moveTo>
                  <a:cubicBezTo>
                    <a:pt x="269" y="101"/>
                    <a:pt x="240" y="130"/>
                    <a:pt x="204" y="130"/>
                  </a:cubicBezTo>
                  <a:cubicBezTo>
                    <a:pt x="168" y="130"/>
                    <a:pt x="139" y="101"/>
                    <a:pt x="139" y="65"/>
                  </a:cubicBezTo>
                  <a:cubicBezTo>
                    <a:pt x="139" y="29"/>
                    <a:pt x="168" y="0"/>
                    <a:pt x="204" y="0"/>
                  </a:cubicBezTo>
                  <a:cubicBezTo>
                    <a:pt x="240" y="0"/>
                    <a:pt x="269" y="29"/>
                    <a:pt x="269" y="65"/>
                  </a:cubicBezTo>
                  <a:close/>
                  <a:moveTo>
                    <a:pt x="0" y="371"/>
                  </a:moveTo>
                  <a:lnTo>
                    <a:pt x="406" y="371"/>
                  </a:lnTo>
                  <a:lnTo>
                    <a:pt x="406" y="435"/>
                  </a:lnTo>
                  <a:lnTo>
                    <a:pt x="0" y="435"/>
                  </a:lnTo>
                  <a:lnTo>
                    <a:pt x="0" y="371"/>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44" name="Freeform 5">
              <a:extLst>
                <a:ext uri="{FF2B5EF4-FFF2-40B4-BE49-F238E27FC236}">
                  <a16:creationId xmlns:a16="http://schemas.microsoft.com/office/drawing/2014/main" id="{05F214FB-612E-4D5E-1D20-301CFB15D796}"/>
                </a:ext>
              </a:extLst>
            </p:cNvPr>
            <p:cNvSpPr>
              <a:spLocks noChangeArrowheads="1"/>
            </p:cNvSpPr>
            <p:nvPr/>
          </p:nvSpPr>
          <p:spPr bwMode="auto">
            <a:xfrm>
              <a:off x="4986338" y="3349625"/>
              <a:ext cx="149225" cy="157163"/>
            </a:xfrm>
            <a:custGeom>
              <a:avLst/>
              <a:gdLst>
                <a:gd name="T0" fmla="*/ 723 w 413"/>
                <a:gd name="T1" fmla="*/ 122198 h 436"/>
                <a:gd name="T2" fmla="*/ 38661 w 413"/>
                <a:gd name="T3" fmla="*/ 59477 h 436"/>
                <a:gd name="T4" fmla="*/ 38661 w 413"/>
                <a:gd name="T5" fmla="*/ 58395 h 436"/>
                <a:gd name="T6" fmla="*/ 39023 w 413"/>
                <a:gd name="T7" fmla="*/ 58395 h 436"/>
                <a:gd name="T8" fmla="*/ 39745 w 413"/>
                <a:gd name="T9" fmla="*/ 57674 h 436"/>
                <a:gd name="T10" fmla="*/ 40829 w 413"/>
                <a:gd name="T11" fmla="*/ 58395 h 436"/>
                <a:gd name="T12" fmla="*/ 73348 w 413"/>
                <a:gd name="T13" fmla="*/ 58395 h 436"/>
                <a:gd name="T14" fmla="*/ 108757 w 413"/>
                <a:gd name="T15" fmla="*/ 58395 h 436"/>
                <a:gd name="T16" fmla="*/ 108757 w 413"/>
                <a:gd name="T17" fmla="*/ 58756 h 436"/>
                <a:gd name="T18" fmla="*/ 109119 w 413"/>
                <a:gd name="T19" fmla="*/ 58395 h 436"/>
                <a:gd name="T20" fmla="*/ 148864 w 413"/>
                <a:gd name="T21" fmla="*/ 124000 h 436"/>
                <a:gd name="T22" fmla="*/ 146334 w 413"/>
                <a:gd name="T23" fmla="*/ 125442 h 436"/>
                <a:gd name="T24" fmla="*/ 146334 w 413"/>
                <a:gd name="T25" fmla="*/ 122198 h 436"/>
                <a:gd name="T26" fmla="*/ 120319 w 413"/>
                <a:gd name="T27" fmla="*/ 122198 h 436"/>
                <a:gd name="T28" fmla="*/ 108757 w 413"/>
                <a:gd name="T29" fmla="*/ 103093 h 436"/>
                <a:gd name="T30" fmla="*/ 108757 w 413"/>
                <a:gd name="T31" fmla="*/ 122198 h 436"/>
                <a:gd name="T32" fmla="*/ 38661 w 413"/>
                <a:gd name="T33" fmla="*/ 122198 h 436"/>
                <a:gd name="T34" fmla="*/ 38661 w 413"/>
                <a:gd name="T35" fmla="*/ 104535 h 436"/>
                <a:gd name="T36" fmla="*/ 28183 w 413"/>
                <a:gd name="T37" fmla="*/ 122198 h 436"/>
                <a:gd name="T38" fmla="*/ 723 w 413"/>
                <a:gd name="T39" fmla="*/ 122198 h 436"/>
                <a:gd name="T40" fmla="*/ 96834 w 413"/>
                <a:gd name="T41" fmla="*/ 23430 h 436"/>
                <a:gd name="T42" fmla="*/ 73348 w 413"/>
                <a:gd name="T43" fmla="*/ 46861 h 436"/>
                <a:gd name="T44" fmla="*/ 50585 w 413"/>
                <a:gd name="T45" fmla="*/ 23430 h 436"/>
                <a:gd name="T46" fmla="*/ 73348 w 413"/>
                <a:gd name="T47" fmla="*/ 0 h 436"/>
                <a:gd name="T48" fmla="*/ 96834 w 413"/>
                <a:gd name="T49" fmla="*/ 23430 h 436"/>
                <a:gd name="T50" fmla="*/ 0 w 413"/>
                <a:gd name="T51" fmla="*/ 133733 h 436"/>
                <a:gd name="T52" fmla="*/ 146334 w 413"/>
                <a:gd name="T53" fmla="*/ 133733 h 436"/>
                <a:gd name="T54" fmla="*/ 146334 w 413"/>
                <a:gd name="T55" fmla="*/ 156803 h 436"/>
                <a:gd name="T56" fmla="*/ 0 w 413"/>
                <a:gd name="T57" fmla="*/ 156803 h 436"/>
                <a:gd name="T58" fmla="*/ 0 w 413"/>
                <a:gd name="T59" fmla="*/ 133733 h 4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13" h="436">
                  <a:moveTo>
                    <a:pt x="2" y="339"/>
                  </a:moveTo>
                  <a:lnTo>
                    <a:pt x="107" y="165"/>
                  </a:lnTo>
                  <a:lnTo>
                    <a:pt x="107" y="162"/>
                  </a:lnTo>
                  <a:lnTo>
                    <a:pt x="108" y="162"/>
                  </a:lnTo>
                  <a:lnTo>
                    <a:pt x="110" y="160"/>
                  </a:lnTo>
                  <a:lnTo>
                    <a:pt x="113" y="162"/>
                  </a:lnTo>
                  <a:lnTo>
                    <a:pt x="203" y="162"/>
                  </a:lnTo>
                  <a:lnTo>
                    <a:pt x="301" y="162"/>
                  </a:lnTo>
                  <a:lnTo>
                    <a:pt x="301" y="163"/>
                  </a:lnTo>
                  <a:lnTo>
                    <a:pt x="302" y="162"/>
                  </a:lnTo>
                  <a:lnTo>
                    <a:pt x="412" y="344"/>
                  </a:lnTo>
                  <a:lnTo>
                    <a:pt x="405" y="348"/>
                  </a:lnTo>
                  <a:lnTo>
                    <a:pt x="405" y="339"/>
                  </a:lnTo>
                  <a:lnTo>
                    <a:pt x="333" y="339"/>
                  </a:lnTo>
                  <a:lnTo>
                    <a:pt x="301" y="286"/>
                  </a:lnTo>
                  <a:lnTo>
                    <a:pt x="301" y="339"/>
                  </a:lnTo>
                  <a:lnTo>
                    <a:pt x="107" y="339"/>
                  </a:lnTo>
                  <a:lnTo>
                    <a:pt x="107" y="290"/>
                  </a:lnTo>
                  <a:lnTo>
                    <a:pt x="78" y="339"/>
                  </a:lnTo>
                  <a:lnTo>
                    <a:pt x="2" y="339"/>
                  </a:lnTo>
                  <a:close/>
                  <a:moveTo>
                    <a:pt x="268" y="65"/>
                  </a:moveTo>
                  <a:cubicBezTo>
                    <a:pt x="268" y="101"/>
                    <a:pt x="239" y="130"/>
                    <a:pt x="203" y="130"/>
                  </a:cubicBezTo>
                  <a:cubicBezTo>
                    <a:pt x="169" y="130"/>
                    <a:pt x="140" y="101"/>
                    <a:pt x="140" y="65"/>
                  </a:cubicBezTo>
                  <a:cubicBezTo>
                    <a:pt x="140" y="29"/>
                    <a:pt x="169" y="0"/>
                    <a:pt x="203" y="0"/>
                  </a:cubicBezTo>
                  <a:cubicBezTo>
                    <a:pt x="239" y="0"/>
                    <a:pt x="268" y="29"/>
                    <a:pt x="268" y="65"/>
                  </a:cubicBezTo>
                  <a:close/>
                  <a:moveTo>
                    <a:pt x="0" y="371"/>
                  </a:moveTo>
                  <a:lnTo>
                    <a:pt x="405" y="371"/>
                  </a:lnTo>
                  <a:lnTo>
                    <a:pt x="405" y="435"/>
                  </a:lnTo>
                  <a:lnTo>
                    <a:pt x="0" y="435"/>
                  </a:lnTo>
                  <a:lnTo>
                    <a:pt x="0" y="371"/>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45" name="Freeform 6">
              <a:extLst>
                <a:ext uri="{FF2B5EF4-FFF2-40B4-BE49-F238E27FC236}">
                  <a16:creationId xmlns:a16="http://schemas.microsoft.com/office/drawing/2014/main" id="{4C91224B-ABF0-D433-27EA-986750D89D97}"/>
                </a:ext>
              </a:extLst>
            </p:cNvPr>
            <p:cNvSpPr>
              <a:spLocks noChangeArrowheads="1"/>
            </p:cNvSpPr>
            <p:nvPr/>
          </p:nvSpPr>
          <p:spPr bwMode="auto">
            <a:xfrm>
              <a:off x="5133975" y="3349625"/>
              <a:ext cx="149225" cy="157163"/>
            </a:xfrm>
            <a:custGeom>
              <a:avLst/>
              <a:gdLst>
                <a:gd name="T0" fmla="*/ 721 w 414"/>
                <a:gd name="T1" fmla="*/ 122198 h 436"/>
                <a:gd name="T2" fmla="*/ 38568 w 414"/>
                <a:gd name="T3" fmla="*/ 59477 h 436"/>
                <a:gd name="T4" fmla="*/ 38568 w 414"/>
                <a:gd name="T5" fmla="*/ 58395 h 436"/>
                <a:gd name="T6" fmla="*/ 39289 w 414"/>
                <a:gd name="T7" fmla="*/ 58395 h 436"/>
                <a:gd name="T8" fmla="*/ 39649 w 414"/>
                <a:gd name="T9" fmla="*/ 57674 h 436"/>
                <a:gd name="T10" fmla="*/ 40730 w 414"/>
                <a:gd name="T11" fmla="*/ 58395 h 436"/>
                <a:gd name="T12" fmla="*/ 73531 w 414"/>
                <a:gd name="T13" fmla="*/ 58395 h 436"/>
                <a:gd name="T14" fmla="*/ 108855 w 414"/>
                <a:gd name="T15" fmla="*/ 58395 h 436"/>
                <a:gd name="T16" fmla="*/ 108855 w 414"/>
                <a:gd name="T17" fmla="*/ 58756 h 436"/>
                <a:gd name="T18" fmla="*/ 109215 w 414"/>
                <a:gd name="T19" fmla="*/ 58395 h 436"/>
                <a:gd name="T20" fmla="*/ 148865 w 414"/>
                <a:gd name="T21" fmla="*/ 124000 h 436"/>
                <a:gd name="T22" fmla="*/ 146341 w 414"/>
                <a:gd name="T23" fmla="*/ 125442 h 436"/>
                <a:gd name="T24" fmla="*/ 146341 w 414"/>
                <a:gd name="T25" fmla="*/ 122198 h 436"/>
                <a:gd name="T26" fmla="*/ 120389 w 414"/>
                <a:gd name="T27" fmla="*/ 122198 h 436"/>
                <a:gd name="T28" fmla="*/ 108855 w 414"/>
                <a:gd name="T29" fmla="*/ 103093 h 436"/>
                <a:gd name="T30" fmla="*/ 108855 w 414"/>
                <a:gd name="T31" fmla="*/ 122198 h 436"/>
                <a:gd name="T32" fmla="*/ 38568 w 414"/>
                <a:gd name="T33" fmla="*/ 122198 h 436"/>
                <a:gd name="T34" fmla="*/ 38568 w 414"/>
                <a:gd name="T35" fmla="*/ 104535 h 436"/>
                <a:gd name="T36" fmla="*/ 28115 w 414"/>
                <a:gd name="T37" fmla="*/ 122198 h 436"/>
                <a:gd name="T38" fmla="*/ 721 w 414"/>
                <a:gd name="T39" fmla="*/ 122198 h 436"/>
                <a:gd name="T40" fmla="*/ 96960 w 414"/>
                <a:gd name="T41" fmla="*/ 23430 h 436"/>
                <a:gd name="T42" fmla="*/ 73531 w 414"/>
                <a:gd name="T43" fmla="*/ 46861 h 436"/>
                <a:gd name="T44" fmla="*/ 50463 w 414"/>
                <a:gd name="T45" fmla="*/ 23430 h 436"/>
                <a:gd name="T46" fmla="*/ 73531 w 414"/>
                <a:gd name="T47" fmla="*/ 0 h 436"/>
                <a:gd name="T48" fmla="*/ 96960 w 414"/>
                <a:gd name="T49" fmla="*/ 23430 h 436"/>
                <a:gd name="T50" fmla="*/ 0 w 414"/>
                <a:gd name="T51" fmla="*/ 133733 h 436"/>
                <a:gd name="T52" fmla="*/ 146341 w 414"/>
                <a:gd name="T53" fmla="*/ 133733 h 436"/>
                <a:gd name="T54" fmla="*/ 146341 w 414"/>
                <a:gd name="T55" fmla="*/ 156803 h 436"/>
                <a:gd name="T56" fmla="*/ 0 w 414"/>
                <a:gd name="T57" fmla="*/ 156803 h 436"/>
                <a:gd name="T58" fmla="*/ 0 w 414"/>
                <a:gd name="T59" fmla="*/ 133733 h 4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414" h="436">
                  <a:moveTo>
                    <a:pt x="2" y="339"/>
                  </a:moveTo>
                  <a:lnTo>
                    <a:pt x="107" y="165"/>
                  </a:lnTo>
                  <a:lnTo>
                    <a:pt x="107" y="162"/>
                  </a:lnTo>
                  <a:lnTo>
                    <a:pt x="109" y="162"/>
                  </a:lnTo>
                  <a:lnTo>
                    <a:pt x="110" y="160"/>
                  </a:lnTo>
                  <a:lnTo>
                    <a:pt x="113" y="162"/>
                  </a:lnTo>
                  <a:lnTo>
                    <a:pt x="204" y="162"/>
                  </a:lnTo>
                  <a:lnTo>
                    <a:pt x="302" y="162"/>
                  </a:lnTo>
                  <a:lnTo>
                    <a:pt x="302" y="163"/>
                  </a:lnTo>
                  <a:lnTo>
                    <a:pt x="303" y="162"/>
                  </a:lnTo>
                  <a:lnTo>
                    <a:pt x="413" y="344"/>
                  </a:lnTo>
                  <a:lnTo>
                    <a:pt x="406" y="348"/>
                  </a:lnTo>
                  <a:lnTo>
                    <a:pt x="406" y="339"/>
                  </a:lnTo>
                  <a:lnTo>
                    <a:pt x="334" y="339"/>
                  </a:lnTo>
                  <a:lnTo>
                    <a:pt x="302" y="286"/>
                  </a:lnTo>
                  <a:lnTo>
                    <a:pt x="302" y="339"/>
                  </a:lnTo>
                  <a:lnTo>
                    <a:pt x="107" y="339"/>
                  </a:lnTo>
                  <a:lnTo>
                    <a:pt x="107" y="290"/>
                  </a:lnTo>
                  <a:lnTo>
                    <a:pt x="78" y="339"/>
                  </a:lnTo>
                  <a:lnTo>
                    <a:pt x="2" y="339"/>
                  </a:lnTo>
                  <a:close/>
                  <a:moveTo>
                    <a:pt x="269" y="65"/>
                  </a:moveTo>
                  <a:cubicBezTo>
                    <a:pt x="269" y="101"/>
                    <a:pt x="240" y="130"/>
                    <a:pt x="204" y="130"/>
                  </a:cubicBezTo>
                  <a:cubicBezTo>
                    <a:pt x="169" y="130"/>
                    <a:pt x="140" y="101"/>
                    <a:pt x="140" y="65"/>
                  </a:cubicBezTo>
                  <a:cubicBezTo>
                    <a:pt x="140" y="29"/>
                    <a:pt x="169" y="0"/>
                    <a:pt x="204" y="0"/>
                  </a:cubicBezTo>
                  <a:cubicBezTo>
                    <a:pt x="240" y="0"/>
                    <a:pt x="269" y="29"/>
                    <a:pt x="269" y="65"/>
                  </a:cubicBezTo>
                  <a:close/>
                  <a:moveTo>
                    <a:pt x="0" y="371"/>
                  </a:moveTo>
                  <a:lnTo>
                    <a:pt x="406" y="371"/>
                  </a:lnTo>
                  <a:lnTo>
                    <a:pt x="406" y="435"/>
                  </a:lnTo>
                  <a:lnTo>
                    <a:pt x="0" y="435"/>
                  </a:lnTo>
                  <a:lnTo>
                    <a:pt x="0" y="371"/>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46" name="Freeform 7">
              <a:extLst>
                <a:ext uri="{FF2B5EF4-FFF2-40B4-BE49-F238E27FC236}">
                  <a16:creationId xmlns:a16="http://schemas.microsoft.com/office/drawing/2014/main" id="{56C50D74-F1B1-828F-1F9E-C7986FAAFE1C}"/>
                </a:ext>
              </a:extLst>
            </p:cNvPr>
            <p:cNvSpPr>
              <a:spLocks noChangeArrowheads="1"/>
            </p:cNvSpPr>
            <p:nvPr/>
          </p:nvSpPr>
          <p:spPr bwMode="auto">
            <a:xfrm>
              <a:off x="4768850" y="3556000"/>
              <a:ext cx="185738" cy="195263"/>
            </a:xfrm>
            <a:custGeom>
              <a:avLst/>
              <a:gdLst>
                <a:gd name="T0" fmla="*/ 1078 w 517"/>
                <a:gd name="T1" fmla="*/ 151831 h 544"/>
                <a:gd name="T2" fmla="*/ 48141 w 517"/>
                <a:gd name="T3" fmla="*/ 73942 h 544"/>
                <a:gd name="T4" fmla="*/ 48141 w 517"/>
                <a:gd name="T5" fmla="*/ 72865 h 544"/>
                <a:gd name="T6" fmla="*/ 48500 w 517"/>
                <a:gd name="T7" fmla="*/ 72865 h 544"/>
                <a:gd name="T8" fmla="*/ 49219 w 517"/>
                <a:gd name="T9" fmla="*/ 71788 h 544"/>
                <a:gd name="T10" fmla="*/ 50656 w 517"/>
                <a:gd name="T11" fmla="*/ 72865 h 544"/>
                <a:gd name="T12" fmla="*/ 91612 w 517"/>
                <a:gd name="T13" fmla="*/ 72865 h 544"/>
                <a:gd name="T14" fmla="*/ 135441 w 517"/>
                <a:gd name="T15" fmla="*/ 72865 h 544"/>
                <a:gd name="T16" fmla="*/ 135441 w 517"/>
                <a:gd name="T17" fmla="*/ 72865 h 544"/>
                <a:gd name="T18" fmla="*/ 136160 w 517"/>
                <a:gd name="T19" fmla="*/ 72506 h 544"/>
                <a:gd name="T20" fmla="*/ 185379 w 517"/>
                <a:gd name="T21" fmla="*/ 154344 h 544"/>
                <a:gd name="T22" fmla="*/ 182145 w 517"/>
                <a:gd name="T23" fmla="*/ 156139 h 544"/>
                <a:gd name="T24" fmla="*/ 182145 w 517"/>
                <a:gd name="T25" fmla="*/ 151831 h 544"/>
                <a:gd name="T26" fmla="*/ 149812 w 517"/>
                <a:gd name="T27" fmla="*/ 151831 h 544"/>
                <a:gd name="T28" fmla="*/ 135441 w 517"/>
                <a:gd name="T29" fmla="*/ 128141 h 544"/>
                <a:gd name="T30" fmla="*/ 135441 w 517"/>
                <a:gd name="T31" fmla="*/ 151831 h 544"/>
                <a:gd name="T32" fmla="*/ 48141 w 517"/>
                <a:gd name="T33" fmla="*/ 151831 h 544"/>
                <a:gd name="T34" fmla="*/ 48141 w 517"/>
                <a:gd name="T35" fmla="*/ 130295 h 544"/>
                <a:gd name="T36" fmla="*/ 34848 w 517"/>
                <a:gd name="T37" fmla="*/ 151831 h 544"/>
                <a:gd name="T38" fmla="*/ 1078 w 517"/>
                <a:gd name="T39" fmla="*/ 151831 h 544"/>
                <a:gd name="T40" fmla="*/ 121071 w 517"/>
                <a:gd name="T41" fmla="*/ 29074 h 544"/>
                <a:gd name="T42" fmla="*/ 91612 w 517"/>
                <a:gd name="T43" fmla="*/ 58148 h 544"/>
                <a:gd name="T44" fmla="*/ 62511 w 517"/>
                <a:gd name="T45" fmla="*/ 29074 h 544"/>
                <a:gd name="T46" fmla="*/ 91612 w 517"/>
                <a:gd name="T47" fmla="*/ 0 h 544"/>
                <a:gd name="T48" fmla="*/ 121071 w 517"/>
                <a:gd name="T49" fmla="*/ 29074 h 544"/>
                <a:gd name="T50" fmla="*/ 0 w 517"/>
                <a:gd name="T51" fmla="*/ 166548 h 544"/>
                <a:gd name="T52" fmla="*/ 182145 w 517"/>
                <a:gd name="T53" fmla="*/ 166548 h 544"/>
                <a:gd name="T54" fmla="*/ 182145 w 517"/>
                <a:gd name="T55" fmla="*/ 194904 h 544"/>
                <a:gd name="T56" fmla="*/ 0 w 517"/>
                <a:gd name="T57" fmla="*/ 194904 h 544"/>
                <a:gd name="T58" fmla="*/ 0 w 517"/>
                <a:gd name="T59" fmla="*/ 166548 h 5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7" h="544">
                  <a:moveTo>
                    <a:pt x="3" y="423"/>
                  </a:moveTo>
                  <a:lnTo>
                    <a:pt x="134" y="206"/>
                  </a:lnTo>
                  <a:lnTo>
                    <a:pt x="134" y="203"/>
                  </a:lnTo>
                  <a:lnTo>
                    <a:pt x="135" y="203"/>
                  </a:lnTo>
                  <a:lnTo>
                    <a:pt x="137" y="200"/>
                  </a:lnTo>
                  <a:lnTo>
                    <a:pt x="141" y="203"/>
                  </a:lnTo>
                  <a:lnTo>
                    <a:pt x="255" y="203"/>
                  </a:lnTo>
                  <a:lnTo>
                    <a:pt x="377" y="203"/>
                  </a:lnTo>
                  <a:lnTo>
                    <a:pt x="379" y="202"/>
                  </a:lnTo>
                  <a:lnTo>
                    <a:pt x="516" y="430"/>
                  </a:lnTo>
                  <a:lnTo>
                    <a:pt x="507" y="435"/>
                  </a:lnTo>
                  <a:lnTo>
                    <a:pt x="507" y="423"/>
                  </a:lnTo>
                  <a:lnTo>
                    <a:pt x="417" y="423"/>
                  </a:lnTo>
                  <a:lnTo>
                    <a:pt x="377" y="357"/>
                  </a:lnTo>
                  <a:lnTo>
                    <a:pt x="377" y="423"/>
                  </a:lnTo>
                  <a:lnTo>
                    <a:pt x="134" y="423"/>
                  </a:lnTo>
                  <a:lnTo>
                    <a:pt x="134" y="363"/>
                  </a:lnTo>
                  <a:lnTo>
                    <a:pt x="97" y="423"/>
                  </a:lnTo>
                  <a:lnTo>
                    <a:pt x="3" y="423"/>
                  </a:lnTo>
                  <a:close/>
                  <a:moveTo>
                    <a:pt x="337" y="81"/>
                  </a:moveTo>
                  <a:cubicBezTo>
                    <a:pt x="337" y="126"/>
                    <a:pt x="300" y="162"/>
                    <a:pt x="255" y="162"/>
                  </a:cubicBezTo>
                  <a:cubicBezTo>
                    <a:pt x="211" y="162"/>
                    <a:pt x="174" y="125"/>
                    <a:pt x="174" y="81"/>
                  </a:cubicBezTo>
                  <a:cubicBezTo>
                    <a:pt x="174" y="36"/>
                    <a:pt x="211" y="0"/>
                    <a:pt x="255" y="0"/>
                  </a:cubicBezTo>
                  <a:cubicBezTo>
                    <a:pt x="300" y="0"/>
                    <a:pt x="337" y="37"/>
                    <a:pt x="337" y="81"/>
                  </a:cubicBezTo>
                  <a:close/>
                  <a:moveTo>
                    <a:pt x="0" y="464"/>
                  </a:moveTo>
                  <a:lnTo>
                    <a:pt x="507" y="464"/>
                  </a:lnTo>
                  <a:lnTo>
                    <a:pt x="507" y="543"/>
                  </a:lnTo>
                  <a:lnTo>
                    <a:pt x="0" y="543"/>
                  </a:lnTo>
                  <a:lnTo>
                    <a:pt x="0" y="464"/>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47" name="Freeform 8">
              <a:extLst>
                <a:ext uri="{FF2B5EF4-FFF2-40B4-BE49-F238E27FC236}">
                  <a16:creationId xmlns:a16="http://schemas.microsoft.com/office/drawing/2014/main" id="{995B19FC-35BD-2640-A54C-2AEA9127CD56}"/>
                </a:ext>
              </a:extLst>
            </p:cNvPr>
            <p:cNvSpPr>
              <a:spLocks noChangeArrowheads="1"/>
            </p:cNvSpPr>
            <p:nvPr/>
          </p:nvSpPr>
          <p:spPr bwMode="auto">
            <a:xfrm>
              <a:off x="4968875" y="3556000"/>
              <a:ext cx="185738" cy="195263"/>
            </a:xfrm>
            <a:custGeom>
              <a:avLst/>
              <a:gdLst>
                <a:gd name="T0" fmla="*/ 1440 w 516"/>
                <a:gd name="T1" fmla="*/ 151831 h 544"/>
                <a:gd name="T2" fmla="*/ 48234 w 516"/>
                <a:gd name="T3" fmla="*/ 73942 h 544"/>
                <a:gd name="T4" fmla="*/ 48234 w 516"/>
                <a:gd name="T5" fmla="*/ 72865 h 544"/>
                <a:gd name="T6" fmla="*/ 48954 w 516"/>
                <a:gd name="T7" fmla="*/ 72865 h 544"/>
                <a:gd name="T8" fmla="*/ 49314 w 516"/>
                <a:gd name="T9" fmla="*/ 71788 h 544"/>
                <a:gd name="T10" fmla="*/ 51114 w 516"/>
                <a:gd name="T11" fmla="*/ 72865 h 544"/>
                <a:gd name="T12" fmla="*/ 91789 w 516"/>
                <a:gd name="T13" fmla="*/ 72865 h 544"/>
                <a:gd name="T14" fmla="*/ 135704 w 516"/>
                <a:gd name="T15" fmla="*/ 72865 h 544"/>
                <a:gd name="T16" fmla="*/ 135704 w 516"/>
                <a:gd name="T17" fmla="*/ 72865 h 544"/>
                <a:gd name="T18" fmla="*/ 136064 w 516"/>
                <a:gd name="T19" fmla="*/ 72506 h 544"/>
                <a:gd name="T20" fmla="*/ 185378 w 516"/>
                <a:gd name="T21" fmla="*/ 154344 h 544"/>
                <a:gd name="T22" fmla="*/ 182498 w 516"/>
                <a:gd name="T23" fmla="*/ 156139 h 544"/>
                <a:gd name="T24" fmla="*/ 182498 w 516"/>
                <a:gd name="T25" fmla="*/ 151831 h 544"/>
                <a:gd name="T26" fmla="*/ 150102 w 516"/>
                <a:gd name="T27" fmla="*/ 151831 h 544"/>
                <a:gd name="T28" fmla="*/ 135704 w 516"/>
                <a:gd name="T29" fmla="*/ 128141 h 544"/>
                <a:gd name="T30" fmla="*/ 135704 w 516"/>
                <a:gd name="T31" fmla="*/ 151831 h 544"/>
                <a:gd name="T32" fmla="*/ 48234 w 516"/>
                <a:gd name="T33" fmla="*/ 151831 h 544"/>
                <a:gd name="T34" fmla="*/ 48234 w 516"/>
                <a:gd name="T35" fmla="*/ 130295 h 544"/>
                <a:gd name="T36" fmla="*/ 35276 w 516"/>
                <a:gd name="T37" fmla="*/ 151831 h 544"/>
                <a:gd name="T38" fmla="*/ 1440 w 516"/>
                <a:gd name="T39" fmla="*/ 151831 h 544"/>
                <a:gd name="T40" fmla="*/ 120946 w 516"/>
                <a:gd name="T41" fmla="*/ 29074 h 544"/>
                <a:gd name="T42" fmla="*/ 91789 w 516"/>
                <a:gd name="T43" fmla="*/ 58148 h 544"/>
                <a:gd name="T44" fmla="*/ 62993 w 516"/>
                <a:gd name="T45" fmla="*/ 29074 h 544"/>
                <a:gd name="T46" fmla="*/ 91789 w 516"/>
                <a:gd name="T47" fmla="*/ 0 h 544"/>
                <a:gd name="T48" fmla="*/ 120946 w 516"/>
                <a:gd name="T49" fmla="*/ 29074 h 544"/>
                <a:gd name="T50" fmla="*/ 0 w 516"/>
                <a:gd name="T51" fmla="*/ 166548 h 544"/>
                <a:gd name="T52" fmla="*/ 182498 w 516"/>
                <a:gd name="T53" fmla="*/ 166548 h 544"/>
                <a:gd name="T54" fmla="*/ 182498 w 516"/>
                <a:gd name="T55" fmla="*/ 194904 h 544"/>
                <a:gd name="T56" fmla="*/ 0 w 516"/>
                <a:gd name="T57" fmla="*/ 194904 h 544"/>
                <a:gd name="T58" fmla="*/ 0 w 516"/>
                <a:gd name="T59" fmla="*/ 166548 h 5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6" h="544">
                  <a:moveTo>
                    <a:pt x="4" y="423"/>
                  </a:moveTo>
                  <a:lnTo>
                    <a:pt x="134" y="206"/>
                  </a:lnTo>
                  <a:lnTo>
                    <a:pt x="134" y="203"/>
                  </a:lnTo>
                  <a:lnTo>
                    <a:pt x="136" y="203"/>
                  </a:lnTo>
                  <a:lnTo>
                    <a:pt x="137" y="200"/>
                  </a:lnTo>
                  <a:lnTo>
                    <a:pt x="142" y="203"/>
                  </a:lnTo>
                  <a:lnTo>
                    <a:pt x="255" y="203"/>
                  </a:lnTo>
                  <a:lnTo>
                    <a:pt x="377" y="203"/>
                  </a:lnTo>
                  <a:lnTo>
                    <a:pt x="378" y="202"/>
                  </a:lnTo>
                  <a:lnTo>
                    <a:pt x="515" y="430"/>
                  </a:lnTo>
                  <a:lnTo>
                    <a:pt x="507" y="435"/>
                  </a:lnTo>
                  <a:lnTo>
                    <a:pt x="507" y="423"/>
                  </a:lnTo>
                  <a:lnTo>
                    <a:pt x="417" y="423"/>
                  </a:lnTo>
                  <a:lnTo>
                    <a:pt x="377" y="357"/>
                  </a:lnTo>
                  <a:lnTo>
                    <a:pt x="377" y="423"/>
                  </a:lnTo>
                  <a:lnTo>
                    <a:pt x="134" y="423"/>
                  </a:lnTo>
                  <a:lnTo>
                    <a:pt x="134" y="363"/>
                  </a:lnTo>
                  <a:lnTo>
                    <a:pt x="98" y="423"/>
                  </a:lnTo>
                  <a:lnTo>
                    <a:pt x="4" y="423"/>
                  </a:lnTo>
                  <a:close/>
                  <a:moveTo>
                    <a:pt x="336" y="81"/>
                  </a:moveTo>
                  <a:cubicBezTo>
                    <a:pt x="336" y="126"/>
                    <a:pt x="300" y="162"/>
                    <a:pt x="255" y="162"/>
                  </a:cubicBezTo>
                  <a:cubicBezTo>
                    <a:pt x="211" y="162"/>
                    <a:pt x="175" y="125"/>
                    <a:pt x="175" y="81"/>
                  </a:cubicBezTo>
                  <a:cubicBezTo>
                    <a:pt x="175" y="36"/>
                    <a:pt x="211" y="0"/>
                    <a:pt x="255" y="0"/>
                  </a:cubicBezTo>
                  <a:cubicBezTo>
                    <a:pt x="300" y="0"/>
                    <a:pt x="336" y="37"/>
                    <a:pt x="336" y="81"/>
                  </a:cubicBezTo>
                  <a:close/>
                  <a:moveTo>
                    <a:pt x="0" y="464"/>
                  </a:moveTo>
                  <a:lnTo>
                    <a:pt x="507" y="464"/>
                  </a:lnTo>
                  <a:lnTo>
                    <a:pt x="507" y="543"/>
                  </a:lnTo>
                  <a:lnTo>
                    <a:pt x="0" y="543"/>
                  </a:lnTo>
                  <a:lnTo>
                    <a:pt x="0" y="464"/>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48" name="Freeform 9">
              <a:extLst>
                <a:ext uri="{FF2B5EF4-FFF2-40B4-BE49-F238E27FC236}">
                  <a16:creationId xmlns:a16="http://schemas.microsoft.com/office/drawing/2014/main" id="{F2708F87-4AE1-9ADB-CDFF-F644AF41BDB6}"/>
                </a:ext>
              </a:extLst>
            </p:cNvPr>
            <p:cNvSpPr>
              <a:spLocks noChangeArrowheads="1"/>
            </p:cNvSpPr>
            <p:nvPr/>
          </p:nvSpPr>
          <p:spPr bwMode="auto">
            <a:xfrm>
              <a:off x="5153025" y="3556000"/>
              <a:ext cx="185738" cy="195263"/>
            </a:xfrm>
            <a:custGeom>
              <a:avLst/>
              <a:gdLst>
                <a:gd name="T0" fmla="*/ 1078 w 517"/>
                <a:gd name="T1" fmla="*/ 151831 h 544"/>
                <a:gd name="T2" fmla="*/ 48141 w 517"/>
                <a:gd name="T3" fmla="*/ 73942 h 544"/>
                <a:gd name="T4" fmla="*/ 48141 w 517"/>
                <a:gd name="T5" fmla="*/ 72865 h 544"/>
                <a:gd name="T6" fmla="*/ 48860 w 517"/>
                <a:gd name="T7" fmla="*/ 72865 h 544"/>
                <a:gd name="T8" fmla="*/ 49219 w 517"/>
                <a:gd name="T9" fmla="*/ 71788 h 544"/>
                <a:gd name="T10" fmla="*/ 51015 w 517"/>
                <a:gd name="T11" fmla="*/ 72865 h 544"/>
                <a:gd name="T12" fmla="*/ 91971 w 517"/>
                <a:gd name="T13" fmla="*/ 72865 h 544"/>
                <a:gd name="T14" fmla="*/ 135801 w 517"/>
                <a:gd name="T15" fmla="*/ 72865 h 544"/>
                <a:gd name="T16" fmla="*/ 135801 w 517"/>
                <a:gd name="T17" fmla="*/ 72865 h 544"/>
                <a:gd name="T18" fmla="*/ 136160 w 517"/>
                <a:gd name="T19" fmla="*/ 72506 h 544"/>
                <a:gd name="T20" fmla="*/ 185379 w 517"/>
                <a:gd name="T21" fmla="*/ 154344 h 544"/>
                <a:gd name="T22" fmla="*/ 182145 w 517"/>
                <a:gd name="T23" fmla="*/ 156139 h 544"/>
                <a:gd name="T24" fmla="*/ 182145 w 517"/>
                <a:gd name="T25" fmla="*/ 151831 h 544"/>
                <a:gd name="T26" fmla="*/ 150171 w 517"/>
                <a:gd name="T27" fmla="*/ 151831 h 544"/>
                <a:gd name="T28" fmla="*/ 135801 w 517"/>
                <a:gd name="T29" fmla="*/ 128141 h 544"/>
                <a:gd name="T30" fmla="*/ 135801 w 517"/>
                <a:gd name="T31" fmla="*/ 151831 h 544"/>
                <a:gd name="T32" fmla="*/ 48141 w 517"/>
                <a:gd name="T33" fmla="*/ 151831 h 544"/>
                <a:gd name="T34" fmla="*/ 48141 w 517"/>
                <a:gd name="T35" fmla="*/ 130295 h 544"/>
                <a:gd name="T36" fmla="*/ 35208 w 517"/>
                <a:gd name="T37" fmla="*/ 151831 h 544"/>
                <a:gd name="T38" fmla="*/ 1078 w 517"/>
                <a:gd name="T39" fmla="*/ 151831 h 544"/>
                <a:gd name="T40" fmla="*/ 121071 w 517"/>
                <a:gd name="T41" fmla="*/ 29074 h 544"/>
                <a:gd name="T42" fmla="*/ 91971 w 517"/>
                <a:gd name="T43" fmla="*/ 58148 h 544"/>
                <a:gd name="T44" fmla="*/ 62871 w 517"/>
                <a:gd name="T45" fmla="*/ 29074 h 544"/>
                <a:gd name="T46" fmla="*/ 91971 w 517"/>
                <a:gd name="T47" fmla="*/ 0 h 544"/>
                <a:gd name="T48" fmla="*/ 121071 w 517"/>
                <a:gd name="T49" fmla="*/ 29074 h 544"/>
                <a:gd name="T50" fmla="*/ 0 w 517"/>
                <a:gd name="T51" fmla="*/ 166548 h 544"/>
                <a:gd name="T52" fmla="*/ 182145 w 517"/>
                <a:gd name="T53" fmla="*/ 166548 h 544"/>
                <a:gd name="T54" fmla="*/ 182145 w 517"/>
                <a:gd name="T55" fmla="*/ 194904 h 544"/>
                <a:gd name="T56" fmla="*/ 0 w 517"/>
                <a:gd name="T57" fmla="*/ 194904 h 544"/>
                <a:gd name="T58" fmla="*/ 0 w 517"/>
                <a:gd name="T59" fmla="*/ 166548 h 5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17" h="544">
                  <a:moveTo>
                    <a:pt x="3" y="423"/>
                  </a:moveTo>
                  <a:lnTo>
                    <a:pt x="134" y="206"/>
                  </a:lnTo>
                  <a:lnTo>
                    <a:pt x="134" y="203"/>
                  </a:lnTo>
                  <a:lnTo>
                    <a:pt x="136" y="203"/>
                  </a:lnTo>
                  <a:lnTo>
                    <a:pt x="137" y="200"/>
                  </a:lnTo>
                  <a:lnTo>
                    <a:pt x="142" y="203"/>
                  </a:lnTo>
                  <a:lnTo>
                    <a:pt x="256" y="203"/>
                  </a:lnTo>
                  <a:lnTo>
                    <a:pt x="378" y="203"/>
                  </a:lnTo>
                  <a:lnTo>
                    <a:pt x="379" y="202"/>
                  </a:lnTo>
                  <a:lnTo>
                    <a:pt x="516" y="430"/>
                  </a:lnTo>
                  <a:lnTo>
                    <a:pt x="507" y="435"/>
                  </a:lnTo>
                  <a:lnTo>
                    <a:pt x="507" y="423"/>
                  </a:lnTo>
                  <a:lnTo>
                    <a:pt x="418" y="423"/>
                  </a:lnTo>
                  <a:lnTo>
                    <a:pt x="378" y="357"/>
                  </a:lnTo>
                  <a:lnTo>
                    <a:pt x="378" y="423"/>
                  </a:lnTo>
                  <a:lnTo>
                    <a:pt x="134" y="423"/>
                  </a:lnTo>
                  <a:lnTo>
                    <a:pt x="134" y="363"/>
                  </a:lnTo>
                  <a:lnTo>
                    <a:pt x="98" y="423"/>
                  </a:lnTo>
                  <a:lnTo>
                    <a:pt x="3" y="423"/>
                  </a:lnTo>
                  <a:close/>
                  <a:moveTo>
                    <a:pt x="337" y="81"/>
                  </a:moveTo>
                  <a:cubicBezTo>
                    <a:pt x="337" y="126"/>
                    <a:pt x="300" y="162"/>
                    <a:pt x="256" y="162"/>
                  </a:cubicBezTo>
                  <a:cubicBezTo>
                    <a:pt x="211" y="162"/>
                    <a:pt x="175" y="125"/>
                    <a:pt x="175" y="81"/>
                  </a:cubicBezTo>
                  <a:cubicBezTo>
                    <a:pt x="175" y="36"/>
                    <a:pt x="211" y="0"/>
                    <a:pt x="256" y="0"/>
                  </a:cubicBezTo>
                  <a:cubicBezTo>
                    <a:pt x="300" y="0"/>
                    <a:pt x="337" y="37"/>
                    <a:pt x="337" y="81"/>
                  </a:cubicBezTo>
                  <a:close/>
                  <a:moveTo>
                    <a:pt x="0" y="464"/>
                  </a:moveTo>
                  <a:lnTo>
                    <a:pt x="507" y="464"/>
                  </a:lnTo>
                  <a:lnTo>
                    <a:pt x="507" y="543"/>
                  </a:lnTo>
                  <a:lnTo>
                    <a:pt x="0" y="543"/>
                  </a:lnTo>
                  <a:lnTo>
                    <a:pt x="0" y="464"/>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49" name="Freeform 10">
              <a:extLst>
                <a:ext uri="{FF2B5EF4-FFF2-40B4-BE49-F238E27FC236}">
                  <a16:creationId xmlns:a16="http://schemas.microsoft.com/office/drawing/2014/main" id="{C74ADB83-96D8-0396-5A82-ECC7CA031E90}"/>
                </a:ext>
              </a:extLst>
            </p:cNvPr>
            <p:cNvSpPr>
              <a:spLocks noChangeArrowheads="1"/>
            </p:cNvSpPr>
            <p:nvPr/>
          </p:nvSpPr>
          <p:spPr bwMode="auto">
            <a:xfrm>
              <a:off x="4737100" y="3800475"/>
              <a:ext cx="206375" cy="217488"/>
            </a:xfrm>
            <a:custGeom>
              <a:avLst/>
              <a:gdLst>
                <a:gd name="T0" fmla="*/ 1079 w 574"/>
                <a:gd name="T1" fmla="*/ 169317 h 605"/>
                <a:gd name="T2" fmla="*/ 53571 w 574"/>
                <a:gd name="T3" fmla="*/ 82322 h 605"/>
                <a:gd name="T4" fmla="*/ 53571 w 574"/>
                <a:gd name="T5" fmla="*/ 81243 h 605"/>
                <a:gd name="T6" fmla="*/ 54290 w 574"/>
                <a:gd name="T7" fmla="*/ 81243 h 605"/>
                <a:gd name="T8" fmla="*/ 54650 w 574"/>
                <a:gd name="T9" fmla="*/ 80165 h 605"/>
                <a:gd name="T10" fmla="*/ 56448 w 574"/>
                <a:gd name="T11" fmla="*/ 81243 h 605"/>
                <a:gd name="T12" fmla="*/ 102109 w 574"/>
                <a:gd name="T13" fmla="*/ 81243 h 605"/>
                <a:gd name="T14" fmla="*/ 150647 w 574"/>
                <a:gd name="T15" fmla="*/ 81243 h 605"/>
                <a:gd name="T16" fmla="*/ 150647 w 574"/>
                <a:gd name="T17" fmla="*/ 81243 h 605"/>
                <a:gd name="T18" fmla="*/ 151366 w 574"/>
                <a:gd name="T19" fmla="*/ 80884 h 605"/>
                <a:gd name="T20" fmla="*/ 206015 w 574"/>
                <a:gd name="T21" fmla="*/ 172193 h 605"/>
                <a:gd name="T22" fmla="*/ 202420 w 574"/>
                <a:gd name="T23" fmla="*/ 173631 h 605"/>
                <a:gd name="T24" fmla="*/ 202420 w 574"/>
                <a:gd name="T25" fmla="*/ 169317 h 605"/>
                <a:gd name="T26" fmla="*/ 166466 w 574"/>
                <a:gd name="T27" fmla="*/ 169317 h 605"/>
                <a:gd name="T28" fmla="*/ 150647 w 574"/>
                <a:gd name="T29" fmla="*/ 142715 h 605"/>
                <a:gd name="T30" fmla="*/ 150647 w 574"/>
                <a:gd name="T31" fmla="*/ 169317 h 605"/>
                <a:gd name="T32" fmla="*/ 53571 w 574"/>
                <a:gd name="T33" fmla="*/ 169317 h 605"/>
                <a:gd name="T34" fmla="*/ 53571 w 574"/>
                <a:gd name="T35" fmla="*/ 144872 h 605"/>
                <a:gd name="T36" fmla="*/ 38830 w 574"/>
                <a:gd name="T37" fmla="*/ 169317 h 605"/>
                <a:gd name="T38" fmla="*/ 1079 w 574"/>
                <a:gd name="T39" fmla="*/ 169317 h 605"/>
                <a:gd name="T40" fmla="*/ 134467 w 574"/>
                <a:gd name="T41" fmla="*/ 32354 h 605"/>
                <a:gd name="T42" fmla="*/ 102109 w 574"/>
                <a:gd name="T43" fmla="*/ 64707 h 605"/>
                <a:gd name="T44" fmla="*/ 69750 w 574"/>
                <a:gd name="T45" fmla="*/ 32354 h 605"/>
                <a:gd name="T46" fmla="*/ 102109 w 574"/>
                <a:gd name="T47" fmla="*/ 0 h 605"/>
                <a:gd name="T48" fmla="*/ 134467 w 574"/>
                <a:gd name="T49" fmla="*/ 32354 h 605"/>
                <a:gd name="T50" fmla="*/ 0 w 574"/>
                <a:gd name="T51" fmla="*/ 185494 h 605"/>
                <a:gd name="T52" fmla="*/ 202420 w 574"/>
                <a:gd name="T53" fmla="*/ 185494 h 605"/>
                <a:gd name="T54" fmla="*/ 202420 w 574"/>
                <a:gd name="T55" fmla="*/ 217129 h 605"/>
                <a:gd name="T56" fmla="*/ 0 w 574"/>
                <a:gd name="T57" fmla="*/ 217129 h 605"/>
                <a:gd name="T58" fmla="*/ 0 w 574"/>
                <a:gd name="T59" fmla="*/ 185494 h 60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74" h="605">
                  <a:moveTo>
                    <a:pt x="3" y="471"/>
                  </a:moveTo>
                  <a:lnTo>
                    <a:pt x="149" y="229"/>
                  </a:lnTo>
                  <a:lnTo>
                    <a:pt x="149" y="226"/>
                  </a:lnTo>
                  <a:lnTo>
                    <a:pt x="151" y="226"/>
                  </a:lnTo>
                  <a:lnTo>
                    <a:pt x="152" y="223"/>
                  </a:lnTo>
                  <a:lnTo>
                    <a:pt x="157" y="226"/>
                  </a:lnTo>
                  <a:lnTo>
                    <a:pt x="284" y="226"/>
                  </a:lnTo>
                  <a:lnTo>
                    <a:pt x="419" y="226"/>
                  </a:lnTo>
                  <a:lnTo>
                    <a:pt x="421" y="225"/>
                  </a:lnTo>
                  <a:lnTo>
                    <a:pt x="573" y="479"/>
                  </a:lnTo>
                  <a:lnTo>
                    <a:pt x="563" y="483"/>
                  </a:lnTo>
                  <a:lnTo>
                    <a:pt x="563" y="471"/>
                  </a:lnTo>
                  <a:lnTo>
                    <a:pt x="463" y="471"/>
                  </a:lnTo>
                  <a:lnTo>
                    <a:pt x="419" y="397"/>
                  </a:lnTo>
                  <a:lnTo>
                    <a:pt x="419" y="471"/>
                  </a:lnTo>
                  <a:lnTo>
                    <a:pt x="149" y="471"/>
                  </a:lnTo>
                  <a:lnTo>
                    <a:pt x="149" y="403"/>
                  </a:lnTo>
                  <a:lnTo>
                    <a:pt x="108" y="471"/>
                  </a:lnTo>
                  <a:lnTo>
                    <a:pt x="3" y="471"/>
                  </a:lnTo>
                  <a:close/>
                  <a:moveTo>
                    <a:pt x="374" y="90"/>
                  </a:moveTo>
                  <a:cubicBezTo>
                    <a:pt x="374" y="140"/>
                    <a:pt x="333" y="180"/>
                    <a:pt x="284" y="180"/>
                  </a:cubicBezTo>
                  <a:cubicBezTo>
                    <a:pt x="234" y="180"/>
                    <a:pt x="194" y="140"/>
                    <a:pt x="194" y="90"/>
                  </a:cubicBezTo>
                  <a:cubicBezTo>
                    <a:pt x="194" y="41"/>
                    <a:pt x="234" y="0"/>
                    <a:pt x="284" y="0"/>
                  </a:cubicBezTo>
                  <a:cubicBezTo>
                    <a:pt x="333" y="0"/>
                    <a:pt x="374" y="41"/>
                    <a:pt x="374" y="90"/>
                  </a:cubicBezTo>
                  <a:close/>
                  <a:moveTo>
                    <a:pt x="0" y="516"/>
                  </a:moveTo>
                  <a:lnTo>
                    <a:pt x="563" y="516"/>
                  </a:lnTo>
                  <a:lnTo>
                    <a:pt x="563" y="604"/>
                  </a:lnTo>
                  <a:lnTo>
                    <a:pt x="0" y="604"/>
                  </a:lnTo>
                  <a:lnTo>
                    <a:pt x="0" y="516"/>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50" name="Freeform 11">
              <a:extLst>
                <a:ext uri="{FF2B5EF4-FFF2-40B4-BE49-F238E27FC236}">
                  <a16:creationId xmlns:a16="http://schemas.microsoft.com/office/drawing/2014/main" id="{C7AB120C-86CE-1058-171F-58A8AF702E34}"/>
                </a:ext>
              </a:extLst>
            </p:cNvPr>
            <p:cNvSpPr>
              <a:spLocks noChangeArrowheads="1"/>
            </p:cNvSpPr>
            <p:nvPr/>
          </p:nvSpPr>
          <p:spPr bwMode="auto">
            <a:xfrm>
              <a:off x="4959350" y="3800475"/>
              <a:ext cx="206375" cy="217488"/>
            </a:xfrm>
            <a:custGeom>
              <a:avLst/>
              <a:gdLst>
                <a:gd name="T0" fmla="*/ 1080 w 573"/>
                <a:gd name="T1" fmla="*/ 169317 h 605"/>
                <a:gd name="T2" fmla="*/ 53665 w 573"/>
                <a:gd name="T3" fmla="*/ 82322 h 605"/>
                <a:gd name="T4" fmla="*/ 53665 w 573"/>
                <a:gd name="T5" fmla="*/ 81243 h 605"/>
                <a:gd name="T6" fmla="*/ 54385 w 573"/>
                <a:gd name="T7" fmla="*/ 81243 h 605"/>
                <a:gd name="T8" fmla="*/ 54745 w 573"/>
                <a:gd name="T9" fmla="*/ 80165 h 605"/>
                <a:gd name="T10" fmla="*/ 56546 w 573"/>
                <a:gd name="T11" fmla="*/ 81243 h 605"/>
                <a:gd name="T12" fmla="*/ 101927 w 573"/>
                <a:gd name="T13" fmla="*/ 81243 h 605"/>
                <a:gd name="T14" fmla="*/ 150549 w 573"/>
                <a:gd name="T15" fmla="*/ 81243 h 605"/>
                <a:gd name="T16" fmla="*/ 150549 w 573"/>
                <a:gd name="T17" fmla="*/ 81243 h 605"/>
                <a:gd name="T18" fmla="*/ 151270 w 573"/>
                <a:gd name="T19" fmla="*/ 80884 h 605"/>
                <a:gd name="T20" fmla="*/ 206015 w 573"/>
                <a:gd name="T21" fmla="*/ 172193 h 605"/>
                <a:gd name="T22" fmla="*/ 202413 w 573"/>
                <a:gd name="T23" fmla="*/ 173631 h 605"/>
                <a:gd name="T24" fmla="*/ 202413 w 573"/>
                <a:gd name="T25" fmla="*/ 169317 h 605"/>
                <a:gd name="T26" fmla="*/ 166397 w 573"/>
                <a:gd name="T27" fmla="*/ 169317 h 605"/>
                <a:gd name="T28" fmla="*/ 150549 w 573"/>
                <a:gd name="T29" fmla="*/ 142715 h 605"/>
                <a:gd name="T30" fmla="*/ 150549 w 573"/>
                <a:gd name="T31" fmla="*/ 169317 h 605"/>
                <a:gd name="T32" fmla="*/ 53665 w 573"/>
                <a:gd name="T33" fmla="*/ 169317 h 605"/>
                <a:gd name="T34" fmla="*/ 53665 w 573"/>
                <a:gd name="T35" fmla="*/ 144872 h 605"/>
                <a:gd name="T36" fmla="*/ 38898 w 573"/>
                <a:gd name="T37" fmla="*/ 169317 h 605"/>
                <a:gd name="T38" fmla="*/ 1080 w 573"/>
                <a:gd name="T39" fmla="*/ 169317 h 605"/>
                <a:gd name="T40" fmla="*/ 134342 w 573"/>
                <a:gd name="T41" fmla="*/ 32354 h 605"/>
                <a:gd name="T42" fmla="*/ 101927 w 573"/>
                <a:gd name="T43" fmla="*/ 64707 h 605"/>
                <a:gd name="T44" fmla="*/ 69872 w 573"/>
                <a:gd name="T45" fmla="*/ 32354 h 605"/>
                <a:gd name="T46" fmla="*/ 101927 w 573"/>
                <a:gd name="T47" fmla="*/ 0 h 605"/>
                <a:gd name="T48" fmla="*/ 134342 w 573"/>
                <a:gd name="T49" fmla="*/ 32354 h 605"/>
                <a:gd name="T50" fmla="*/ 0 w 573"/>
                <a:gd name="T51" fmla="*/ 185494 h 605"/>
                <a:gd name="T52" fmla="*/ 202413 w 573"/>
                <a:gd name="T53" fmla="*/ 185494 h 605"/>
                <a:gd name="T54" fmla="*/ 202413 w 573"/>
                <a:gd name="T55" fmla="*/ 217129 h 605"/>
                <a:gd name="T56" fmla="*/ 0 w 573"/>
                <a:gd name="T57" fmla="*/ 217129 h 605"/>
                <a:gd name="T58" fmla="*/ 0 w 573"/>
                <a:gd name="T59" fmla="*/ 185494 h 60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73" h="605">
                  <a:moveTo>
                    <a:pt x="3" y="471"/>
                  </a:moveTo>
                  <a:lnTo>
                    <a:pt x="149" y="229"/>
                  </a:lnTo>
                  <a:lnTo>
                    <a:pt x="149" y="226"/>
                  </a:lnTo>
                  <a:lnTo>
                    <a:pt x="151" y="226"/>
                  </a:lnTo>
                  <a:lnTo>
                    <a:pt x="152" y="223"/>
                  </a:lnTo>
                  <a:lnTo>
                    <a:pt x="157" y="226"/>
                  </a:lnTo>
                  <a:lnTo>
                    <a:pt x="283" y="226"/>
                  </a:lnTo>
                  <a:lnTo>
                    <a:pt x="418" y="226"/>
                  </a:lnTo>
                  <a:lnTo>
                    <a:pt x="420" y="225"/>
                  </a:lnTo>
                  <a:lnTo>
                    <a:pt x="572" y="479"/>
                  </a:lnTo>
                  <a:lnTo>
                    <a:pt x="562" y="483"/>
                  </a:lnTo>
                  <a:lnTo>
                    <a:pt x="562" y="471"/>
                  </a:lnTo>
                  <a:lnTo>
                    <a:pt x="462" y="471"/>
                  </a:lnTo>
                  <a:lnTo>
                    <a:pt x="418" y="397"/>
                  </a:lnTo>
                  <a:lnTo>
                    <a:pt x="418" y="471"/>
                  </a:lnTo>
                  <a:lnTo>
                    <a:pt x="149" y="471"/>
                  </a:lnTo>
                  <a:lnTo>
                    <a:pt x="149" y="403"/>
                  </a:lnTo>
                  <a:lnTo>
                    <a:pt x="108" y="471"/>
                  </a:lnTo>
                  <a:lnTo>
                    <a:pt x="3" y="471"/>
                  </a:lnTo>
                  <a:close/>
                  <a:moveTo>
                    <a:pt x="373" y="90"/>
                  </a:moveTo>
                  <a:cubicBezTo>
                    <a:pt x="373" y="140"/>
                    <a:pt x="332" y="180"/>
                    <a:pt x="283" y="180"/>
                  </a:cubicBezTo>
                  <a:cubicBezTo>
                    <a:pt x="234" y="180"/>
                    <a:pt x="194" y="140"/>
                    <a:pt x="194" y="90"/>
                  </a:cubicBezTo>
                  <a:cubicBezTo>
                    <a:pt x="194" y="41"/>
                    <a:pt x="234" y="0"/>
                    <a:pt x="283" y="0"/>
                  </a:cubicBezTo>
                  <a:cubicBezTo>
                    <a:pt x="332" y="0"/>
                    <a:pt x="373" y="41"/>
                    <a:pt x="373" y="90"/>
                  </a:cubicBezTo>
                  <a:close/>
                  <a:moveTo>
                    <a:pt x="0" y="516"/>
                  </a:moveTo>
                  <a:lnTo>
                    <a:pt x="562" y="516"/>
                  </a:lnTo>
                  <a:lnTo>
                    <a:pt x="562" y="604"/>
                  </a:lnTo>
                  <a:lnTo>
                    <a:pt x="0" y="604"/>
                  </a:lnTo>
                  <a:lnTo>
                    <a:pt x="0" y="516"/>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51" name="Freeform 12">
              <a:extLst>
                <a:ext uri="{FF2B5EF4-FFF2-40B4-BE49-F238E27FC236}">
                  <a16:creationId xmlns:a16="http://schemas.microsoft.com/office/drawing/2014/main" id="{526AF22C-0CBE-3C8E-B2EC-3A152CD1305B}"/>
                </a:ext>
              </a:extLst>
            </p:cNvPr>
            <p:cNvSpPr>
              <a:spLocks noChangeArrowheads="1"/>
            </p:cNvSpPr>
            <p:nvPr/>
          </p:nvSpPr>
          <p:spPr bwMode="auto">
            <a:xfrm>
              <a:off x="5178425" y="3800475"/>
              <a:ext cx="206375" cy="217488"/>
            </a:xfrm>
            <a:custGeom>
              <a:avLst/>
              <a:gdLst>
                <a:gd name="T0" fmla="*/ 1438 w 574"/>
                <a:gd name="T1" fmla="*/ 169317 h 605"/>
                <a:gd name="T2" fmla="*/ 53571 w 574"/>
                <a:gd name="T3" fmla="*/ 82322 h 605"/>
                <a:gd name="T4" fmla="*/ 53571 w 574"/>
                <a:gd name="T5" fmla="*/ 81243 h 605"/>
                <a:gd name="T6" fmla="*/ 54290 w 574"/>
                <a:gd name="T7" fmla="*/ 81243 h 605"/>
                <a:gd name="T8" fmla="*/ 54650 w 574"/>
                <a:gd name="T9" fmla="*/ 80165 h 605"/>
                <a:gd name="T10" fmla="*/ 56448 w 574"/>
                <a:gd name="T11" fmla="*/ 81243 h 605"/>
                <a:gd name="T12" fmla="*/ 102109 w 574"/>
                <a:gd name="T13" fmla="*/ 81243 h 605"/>
                <a:gd name="T14" fmla="*/ 150647 w 574"/>
                <a:gd name="T15" fmla="*/ 81243 h 605"/>
                <a:gd name="T16" fmla="*/ 150647 w 574"/>
                <a:gd name="T17" fmla="*/ 81243 h 605"/>
                <a:gd name="T18" fmla="*/ 151366 w 574"/>
                <a:gd name="T19" fmla="*/ 80884 h 605"/>
                <a:gd name="T20" fmla="*/ 206015 w 574"/>
                <a:gd name="T21" fmla="*/ 172193 h 605"/>
                <a:gd name="T22" fmla="*/ 202780 w 574"/>
                <a:gd name="T23" fmla="*/ 173631 h 605"/>
                <a:gd name="T24" fmla="*/ 202780 w 574"/>
                <a:gd name="T25" fmla="*/ 169317 h 605"/>
                <a:gd name="T26" fmla="*/ 166826 w 574"/>
                <a:gd name="T27" fmla="*/ 169317 h 605"/>
                <a:gd name="T28" fmla="*/ 150647 w 574"/>
                <a:gd name="T29" fmla="*/ 142715 h 605"/>
                <a:gd name="T30" fmla="*/ 150647 w 574"/>
                <a:gd name="T31" fmla="*/ 169317 h 605"/>
                <a:gd name="T32" fmla="*/ 53571 w 574"/>
                <a:gd name="T33" fmla="*/ 169317 h 605"/>
                <a:gd name="T34" fmla="*/ 53571 w 574"/>
                <a:gd name="T35" fmla="*/ 144872 h 605"/>
                <a:gd name="T36" fmla="*/ 39190 w 574"/>
                <a:gd name="T37" fmla="*/ 169317 h 605"/>
                <a:gd name="T38" fmla="*/ 1438 w 574"/>
                <a:gd name="T39" fmla="*/ 169317 h 605"/>
                <a:gd name="T40" fmla="*/ 134467 w 574"/>
                <a:gd name="T41" fmla="*/ 32354 h 605"/>
                <a:gd name="T42" fmla="*/ 102109 w 574"/>
                <a:gd name="T43" fmla="*/ 64707 h 605"/>
                <a:gd name="T44" fmla="*/ 69750 w 574"/>
                <a:gd name="T45" fmla="*/ 32354 h 605"/>
                <a:gd name="T46" fmla="*/ 102109 w 574"/>
                <a:gd name="T47" fmla="*/ 0 h 605"/>
                <a:gd name="T48" fmla="*/ 134467 w 574"/>
                <a:gd name="T49" fmla="*/ 32354 h 605"/>
                <a:gd name="T50" fmla="*/ 0 w 574"/>
                <a:gd name="T51" fmla="*/ 185494 h 605"/>
                <a:gd name="T52" fmla="*/ 202780 w 574"/>
                <a:gd name="T53" fmla="*/ 185494 h 605"/>
                <a:gd name="T54" fmla="*/ 202780 w 574"/>
                <a:gd name="T55" fmla="*/ 217129 h 605"/>
                <a:gd name="T56" fmla="*/ 0 w 574"/>
                <a:gd name="T57" fmla="*/ 217129 h 605"/>
                <a:gd name="T58" fmla="*/ 0 w 574"/>
                <a:gd name="T59" fmla="*/ 185494 h 605"/>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574" h="605">
                  <a:moveTo>
                    <a:pt x="4" y="471"/>
                  </a:moveTo>
                  <a:lnTo>
                    <a:pt x="149" y="229"/>
                  </a:lnTo>
                  <a:lnTo>
                    <a:pt x="149" y="226"/>
                  </a:lnTo>
                  <a:lnTo>
                    <a:pt x="151" y="226"/>
                  </a:lnTo>
                  <a:lnTo>
                    <a:pt x="152" y="223"/>
                  </a:lnTo>
                  <a:lnTo>
                    <a:pt x="157" y="226"/>
                  </a:lnTo>
                  <a:lnTo>
                    <a:pt x="284" y="226"/>
                  </a:lnTo>
                  <a:lnTo>
                    <a:pt x="419" y="226"/>
                  </a:lnTo>
                  <a:lnTo>
                    <a:pt x="421" y="225"/>
                  </a:lnTo>
                  <a:lnTo>
                    <a:pt x="573" y="479"/>
                  </a:lnTo>
                  <a:lnTo>
                    <a:pt x="564" y="483"/>
                  </a:lnTo>
                  <a:lnTo>
                    <a:pt x="564" y="471"/>
                  </a:lnTo>
                  <a:lnTo>
                    <a:pt x="464" y="471"/>
                  </a:lnTo>
                  <a:lnTo>
                    <a:pt x="419" y="397"/>
                  </a:lnTo>
                  <a:lnTo>
                    <a:pt x="419" y="471"/>
                  </a:lnTo>
                  <a:lnTo>
                    <a:pt x="149" y="471"/>
                  </a:lnTo>
                  <a:lnTo>
                    <a:pt x="149" y="403"/>
                  </a:lnTo>
                  <a:lnTo>
                    <a:pt x="109" y="471"/>
                  </a:lnTo>
                  <a:lnTo>
                    <a:pt x="4" y="471"/>
                  </a:lnTo>
                  <a:close/>
                  <a:moveTo>
                    <a:pt x="374" y="90"/>
                  </a:moveTo>
                  <a:cubicBezTo>
                    <a:pt x="374" y="140"/>
                    <a:pt x="334" y="180"/>
                    <a:pt x="284" y="180"/>
                  </a:cubicBezTo>
                  <a:cubicBezTo>
                    <a:pt x="235" y="180"/>
                    <a:pt x="194" y="140"/>
                    <a:pt x="194" y="90"/>
                  </a:cubicBezTo>
                  <a:cubicBezTo>
                    <a:pt x="194" y="41"/>
                    <a:pt x="235" y="0"/>
                    <a:pt x="284" y="0"/>
                  </a:cubicBezTo>
                  <a:cubicBezTo>
                    <a:pt x="334" y="0"/>
                    <a:pt x="374" y="41"/>
                    <a:pt x="374" y="90"/>
                  </a:cubicBezTo>
                  <a:close/>
                  <a:moveTo>
                    <a:pt x="0" y="516"/>
                  </a:moveTo>
                  <a:lnTo>
                    <a:pt x="564" y="516"/>
                  </a:lnTo>
                  <a:lnTo>
                    <a:pt x="564" y="604"/>
                  </a:lnTo>
                  <a:lnTo>
                    <a:pt x="0" y="604"/>
                  </a:lnTo>
                  <a:lnTo>
                    <a:pt x="0" y="516"/>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52" name="Freeform 13">
              <a:extLst>
                <a:ext uri="{FF2B5EF4-FFF2-40B4-BE49-F238E27FC236}">
                  <a16:creationId xmlns:a16="http://schemas.microsoft.com/office/drawing/2014/main" id="{12938A3A-FF3E-CC60-0A6C-F16707254B15}"/>
                </a:ext>
              </a:extLst>
            </p:cNvPr>
            <p:cNvSpPr>
              <a:spLocks noChangeArrowheads="1"/>
            </p:cNvSpPr>
            <p:nvPr/>
          </p:nvSpPr>
          <p:spPr bwMode="auto">
            <a:xfrm>
              <a:off x="4400550" y="3206750"/>
              <a:ext cx="1311275" cy="1173163"/>
            </a:xfrm>
            <a:custGeom>
              <a:avLst/>
              <a:gdLst>
                <a:gd name="T0" fmla="*/ 119207 w 3641"/>
                <a:gd name="T1" fmla="*/ 0 h 3259"/>
                <a:gd name="T2" fmla="*/ 0 w 3641"/>
                <a:gd name="T3" fmla="*/ 117352 h 3259"/>
                <a:gd name="T4" fmla="*/ 0 w 3641"/>
                <a:gd name="T5" fmla="*/ 821106 h 3259"/>
                <a:gd name="T6" fmla="*/ 119207 w 3641"/>
                <a:gd name="T7" fmla="*/ 938098 h 3259"/>
                <a:gd name="T8" fmla="*/ 536611 w 3641"/>
                <a:gd name="T9" fmla="*/ 938098 h 3259"/>
                <a:gd name="T10" fmla="*/ 536611 w 3641"/>
                <a:gd name="T11" fmla="*/ 1091448 h 3259"/>
                <a:gd name="T12" fmla="*/ 417404 w 3641"/>
                <a:gd name="T13" fmla="*/ 1114127 h 3259"/>
                <a:gd name="T14" fmla="*/ 417404 w 3641"/>
                <a:gd name="T15" fmla="*/ 1172803 h 3259"/>
                <a:gd name="T16" fmla="*/ 893511 w 3641"/>
                <a:gd name="T17" fmla="*/ 1172803 h 3259"/>
                <a:gd name="T18" fmla="*/ 893511 w 3641"/>
                <a:gd name="T19" fmla="*/ 1114127 h 3259"/>
                <a:gd name="T20" fmla="*/ 774304 w 3641"/>
                <a:gd name="T21" fmla="*/ 1091448 h 3259"/>
                <a:gd name="T22" fmla="*/ 774304 w 3641"/>
                <a:gd name="T23" fmla="*/ 938098 h 3259"/>
                <a:gd name="T24" fmla="*/ 1191708 w 3641"/>
                <a:gd name="T25" fmla="*/ 938098 h 3259"/>
                <a:gd name="T26" fmla="*/ 1310915 w 3641"/>
                <a:gd name="T27" fmla="*/ 821106 h 3259"/>
                <a:gd name="T28" fmla="*/ 1310915 w 3641"/>
                <a:gd name="T29" fmla="*/ 117352 h 3259"/>
                <a:gd name="T30" fmla="*/ 1191708 w 3641"/>
                <a:gd name="T31" fmla="*/ 0 h 3259"/>
                <a:gd name="T32" fmla="*/ 119207 w 3641"/>
                <a:gd name="T33" fmla="*/ 0 h 3259"/>
                <a:gd name="T34" fmla="*/ 1203953 w 3641"/>
                <a:gd name="T35" fmla="*/ 791948 h 3259"/>
                <a:gd name="T36" fmla="*/ 122088 w 3641"/>
                <a:gd name="T37" fmla="*/ 791948 h 3259"/>
                <a:gd name="T38" fmla="*/ 122088 w 3641"/>
                <a:gd name="T39" fmla="*/ 106553 h 3259"/>
                <a:gd name="T40" fmla="*/ 1203953 w 3641"/>
                <a:gd name="T41" fmla="*/ 106553 h 3259"/>
                <a:gd name="T42" fmla="*/ 1203953 w 3641"/>
                <a:gd name="T43" fmla="*/ 791948 h 325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3641" h="3259">
                  <a:moveTo>
                    <a:pt x="331" y="0"/>
                  </a:moveTo>
                  <a:cubicBezTo>
                    <a:pt x="149" y="0"/>
                    <a:pt x="0" y="147"/>
                    <a:pt x="0" y="326"/>
                  </a:cubicBezTo>
                  <a:lnTo>
                    <a:pt x="0" y="2281"/>
                  </a:lnTo>
                  <a:cubicBezTo>
                    <a:pt x="0" y="2460"/>
                    <a:pt x="149" y="2606"/>
                    <a:pt x="331" y="2606"/>
                  </a:cubicBezTo>
                  <a:lnTo>
                    <a:pt x="1490" y="2606"/>
                  </a:lnTo>
                  <a:lnTo>
                    <a:pt x="1490" y="3032"/>
                  </a:lnTo>
                  <a:lnTo>
                    <a:pt x="1159" y="3095"/>
                  </a:lnTo>
                  <a:lnTo>
                    <a:pt x="1159" y="3258"/>
                  </a:lnTo>
                  <a:lnTo>
                    <a:pt x="2481" y="3258"/>
                  </a:lnTo>
                  <a:lnTo>
                    <a:pt x="2481" y="3095"/>
                  </a:lnTo>
                  <a:lnTo>
                    <a:pt x="2150" y="3032"/>
                  </a:lnTo>
                  <a:lnTo>
                    <a:pt x="2150" y="2606"/>
                  </a:lnTo>
                  <a:lnTo>
                    <a:pt x="3309" y="2606"/>
                  </a:lnTo>
                  <a:cubicBezTo>
                    <a:pt x="3491" y="2606"/>
                    <a:pt x="3640" y="2460"/>
                    <a:pt x="3640" y="2281"/>
                  </a:cubicBezTo>
                  <a:lnTo>
                    <a:pt x="3640" y="326"/>
                  </a:lnTo>
                  <a:cubicBezTo>
                    <a:pt x="3640" y="147"/>
                    <a:pt x="3491" y="0"/>
                    <a:pt x="3309" y="0"/>
                  </a:cubicBezTo>
                  <a:lnTo>
                    <a:pt x="331" y="0"/>
                  </a:lnTo>
                  <a:close/>
                  <a:moveTo>
                    <a:pt x="3343" y="2200"/>
                  </a:moveTo>
                  <a:lnTo>
                    <a:pt x="339" y="2200"/>
                  </a:lnTo>
                  <a:lnTo>
                    <a:pt x="339" y="296"/>
                  </a:lnTo>
                  <a:lnTo>
                    <a:pt x="3343" y="296"/>
                  </a:lnTo>
                  <a:lnTo>
                    <a:pt x="3343" y="2200"/>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grpSp>
      <p:grpSp>
        <p:nvGrpSpPr>
          <p:cNvPr id="53" name="Group 52">
            <a:extLst>
              <a:ext uri="{FF2B5EF4-FFF2-40B4-BE49-F238E27FC236}">
                <a16:creationId xmlns:a16="http://schemas.microsoft.com/office/drawing/2014/main" id="{9587A079-1F4B-0D88-CC49-6087BB29D631}"/>
              </a:ext>
              <a:ext uri="{C183D7F6-B498-43B3-948B-1728B52AA6E4}">
                <adec:decorative xmlns:adec="http://schemas.microsoft.com/office/drawing/2017/decorative" val="1"/>
              </a:ext>
            </a:extLst>
          </p:cNvPr>
          <p:cNvGrpSpPr>
            <a:grpSpLocks noChangeAspect="1"/>
          </p:cNvGrpSpPr>
          <p:nvPr/>
        </p:nvGrpSpPr>
        <p:grpSpPr>
          <a:xfrm>
            <a:off x="9064463" y="943619"/>
            <a:ext cx="2232000" cy="2231714"/>
            <a:chOff x="3790950" y="2520950"/>
            <a:chExt cx="2530475" cy="2530475"/>
          </a:xfrm>
        </p:grpSpPr>
        <p:sp>
          <p:nvSpPr>
            <p:cNvPr id="54" name="Freeform 3">
              <a:extLst>
                <a:ext uri="{FF2B5EF4-FFF2-40B4-BE49-F238E27FC236}">
                  <a16:creationId xmlns:a16="http://schemas.microsoft.com/office/drawing/2014/main" id="{80C4F3C9-0804-0982-0C07-4AAFFCD9C4C4}"/>
                </a:ext>
              </a:extLst>
            </p:cNvPr>
            <p:cNvSpPr>
              <a:spLocks noChangeArrowheads="1"/>
            </p:cNvSpPr>
            <p:nvPr/>
          </p:nvSpPr>
          <p:spPr bwMode="auto">
            <a:xfrm>
              <a:off x="3790950" y="2520950"/>
              <a:ext cx="2530475" cy="2530475"/>
            </a:xfrm>
            <a:custGeom>
              <a:avLst/>
              <a:gdLst>
                <a:gd name="T0" fmla="*/ 7026 w 7027"/>
                <a:gd name="T1" fmla="*/ 3514 h 7027"/>
                <a:gd name="T2" fmla="*/ 6555 w 7027"/>
                <a:gd name="T3" fmla="*/ 5269 h 7027"/>
                <a:gd name="T4" fmla="*/ 5269 w 7027"/>
                <a:gd name="T5" fmla="*/ 6555 h 7027"/>
                <a:gd name="T6" fmla="*/ 3514 w 7027"/>
                <a:gd name="T7" fmla="*/ 7026 h 7027"/>
                <a:gd name="T8" fmla="*/ 1757 w 7027"/>
                <a:gd name="T9" fmla="*/ 6555 h 7027"/>
                <a:gd name="T10" fmla="*/ 471 w 7027"/>
                <a:gd name="T11" fmla="*/ 5269 h 7027"/>
                <a:gd name="T12" fmla="*/ 0 w 7027"/>
                <a:gd name="T13" fmla="*/ 3514 h 7027"/>
                <a:gd name="T14" fmla="*/ 471 w 7027"/>
                <a:gd name="T15" fmla="*/ 1757 h 7027"/>
                <a:gd name="T16" fmla="*/ 1757 w 7027"/>
                <a:gd name="T17" fmla="*/ 471 h 7027"/>
                <a:gd name="T18" fmla="*/ 3513 w 7027"/>
                <a:gd name="T19" fmla="*/ 0 h 7027"/>
                <a:gd name="T20" fmla="*/ 5269 w 7027"/>
                <a:gd name="T21" fmla="*/ 471 h 7027"/>
                <a:gd name="T22" fmla="*/ 6555 w 7027"/>
                <a:gd name="T23" fmla="*/ 1757 h 7027"/>
                <a:gd name="T24" fmla="*/ 7026 w 7027"/>
                <a:gd name="T25" fmla="*/ 3513 h 7027"/>
                <a:gd name="T26" fmla="*/ 7026 w 7027"/>
                <a:gd name="T27" fmla="*/ 3514 h 70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27" h="7027">
                  <a:moveTo>
                    <a:pt x="7026" y="3514"/>
                  </a:moveTo>
                  <a:cubicBezTo>
                    <a:pt x="7026" y="4159"/>
                    <a:pt x="6879" y="4709"/>
                    <a:pt x="6555" y="5269"/>
                  </a:cubicBezTo>
                  <a:cubicBezTo>
                    <a:pt x="6232" y="5829"/>
                    <a:pt x="5829" y="6232"/>
                    <a:pt x="5269" y="6555"/>
                  </a:cubicBezTo>
                  <a:cubicBezTo>
                    <a:pt x="4709" y="6879"/>
                    <a:pt x="4160" y="7026"/>
                    <a:pt x="3514" y="7026"/>
                  </a:cubicBezTo>
                  <a:cubicBezTo>
                    <a:pt x="2867" y="7026"/>
                    <a:pt x="2317" y="6879"/>
                    <a:pt x="1757" y="6555"/>
                  </a:cubicBezTo>
                  <a:cubicBezTo>
                    <a:pt x="1197" y="6232"/>
                    <a:pt x="794" y="5829"/>
                    <a:pt x="471" y="5269"/>
                  </a:cubicBezTo>
                  <a:cubicBezTo>
                    <a:pt x="147" y="4709"/>
                    <a:pt x="0" y="4160"/>
                    <a:pt x="0" y="3514"/>
                  </a:cubicBezTo>
                  <a:cubicBezTo>
                    <a:pt x="0" y="2867"/>
                    <a:pt x="147" y="2317"/>
                    <a:pt x="471" y="1757"/>
                  </a:cubicBezTo>
                  <a:cubicBezTo>
                    <a:pt x="794" y="1197"/>
                    <a:pt x="1197" y="794"/>
                    <a:pt x="1757" y="471"/>
                  </a:cubicBezTo>
                  <a:cubicBezTo>
                    <a:pt x="2317" y="147"/>
                    <a:pt x="2867" y="0"/>
                    <a:pt x="3513" y="0"/>
                  </a:cubicBezTo>
                  <a:cubicBezTo>
                    <a:pt x="4159" y="0"/>
                    <a:pt x="4709" y="147"/>
                    <a:pt x="5269" y="471"/>
                  </a:cubicBezTo>
                  <a:cubicBezTo>
                    <a:pt x="5829" y="794"/>
                    <a:pt x="6232" y="1197"/>
                    <a:pt x="6555" y="1757"/>
                  </a:cubicBezTo>
                  <a:cubicBezTo>
                    <a:pt x="6879" y="2317"/>
                    <a:pt x="7026" y="2867"/>
                    <a:pt x="7026" y="3513"/>
                  </a:cubicBezTo>
                  <a:lnTo>
                    <a:pt x="7026" y="3514"/>
                  </a:lnTo>
                </a:path>
              </a:pathLst>
            </a:custGeom>
            <a:solidFill>
              <a:srgbClr val="1E1E1E"/>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55" name="Freeform 4">
              <a:extLst>
                <a:ext uri="{FF2B5EF4-FFF2-40B4-BE49-F238E27FC236}">
                  <a16:creationId xmlns:a16="http://schemas.microsoft.com/office/drawing/2014/main" id="{BADB3655-440F-BFB1-A235-FABC56C1D625}"/>
                </a:ext>
              </a:extLst>
            </p:cNvPr>
            <p:cNvSpPr>
              <a:spLocks noChangeArrowheads="1"/>
            </p:cNvSpPr>
            <p:nvPr/>
          </p:nvSpPr>
          <p:spPr bwMode="auto">
            <a:xfrm>
              <a:off x="4598988" y="3162300"/>
              <a:ext cx="609600" cy="762000"/>
            </a:xfrm>
            <a:custGeom>
              <a:avLst/>
              <a:gdLst>
                <a:gd name="T0" fmla="*/ 503 w 1693"/>
                <a:gd name="T1" fmla="*/ 2115 h 2116"/>
                <a:gd name="T2" fmla="*/ 210 w 1693"/>
                <a:gd name="T3" fmla="*/ 2115 h 2116"/>
                <a:gd name="T4" fmla="*/ 0 w 1693"/>
                <a:gd name="T5" fmla="*/ 1904 h 2116"/>
                <a:gd name="T6" fmla="*/ 1 w 1693"/>
                <a:gd name="T7" fmla="*/ 212 h 2116"/>
                <a:gd name="T8" fmla="*/ 211 w 1693"/>
                <a:gd name="T9" fmla="*/ 0 h 2116"/>
                <a:gd name="T10" fmla="*/ 1058 w 1693"/>
                <a:gd name="T11" fmla="*/ 0 h 2116"/>
                <a:gd name="T12" fmla="*/ 1692 w 1693"/>
                <a:gd name="T13" fmla="*/ 635 h 2116"/>
                <a:gd name="T14" fmla="*/ 1692 w 1693"/>
                <a:gd name="T15" fmla="*/ 981 h 2116"/>
                <a:gd name="T16" fmla="*/ 1650 w 1693"/>
                <a:gd name="T17" fmla="*/ 980 h 2116"/>
                <a:gd name="T18" fmla="*/ 1233 w 1693"/>
                <a:gd name="T19" fmla="*/ 1058 h 2116"/>
                <a:gd name="T20" fmla="*/ 423 w 1693"/>
                <a:gd name="T21" fmla="*/ 1058 h 2116"/>
                <a:gd name="T22" fmla="*/ 423 w 1693"/>
                <a:gd name="T23" fmla="*/ 1270 h 2116"/>
                <a:gd name="T24" fmla="*/ 886 w 1693"/>
                <a:gd name="T25" fmla="*/ 1270 h 2116"/>
                <a:gd name="T26" fmla="*/ 700 w 1693"/>
                <a:gd name="T27" fmla="*/ 1482 h 2116"/>
                <a:gd name="T28" fmla="*/ 423 w 1693"/>
                <a:gd name="T29" fmla="*/ 1482 h 2116"/>
                <a:gd name="T30" fmla="*/ 423 w 1693"/>
                <a:gd name="T31" fmla="*/ 1693 h 2116"/>
                <a:gd name="T32" fmla="*/ 587 w 1693"/>
                <a:gd name="T33" fmla="*/ 1693 h 2116"/>
                <a:gd name="T34" fmla="*/ 503 w 1693"/>
                <a:gd name="T35" fmla="*/ 2115 h 2116"/>
                <a:gd name="T36" fmla="*/ 952 w 1693"/>
                <a:gd name="T37" fmla="*/ 741 h 2116"/>
                <a:gd name="T38" fmla="*/ 1533 w 1693"/>
                <a:gd name="T39" fmla="*/ 741 h 2116"/>
                <a:gd name="T40" fmla="*/ 952 w 1693"/>
                <a:gd name="T41" fmla="*/ 159 h 2116"/>
                <a:gd name="T42" fmla="*/ 952 w 1693"/>
                <a:gd name="T43" fmla="*/ 741 h 2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93" h="2116">
                  <a:moveTo>
                    <a:pt x="503" y="2115"/>
                  </a:moveTo>
                  <a:lnTo>
                    <a:pt x="210" y="2115"/>
                  </a:lnTo>
                  <a:cubicBezTo>
                    <a:pt x="94" y="2115"/>
                    <a:pt x="0" y="2020"/>
                    <a:pt x="0" y="1904"/>
                  </a:cubicBezTo>
                  <a:lnTo>
                    <a:pt x="1" y="212"/>
                  </a:lnTo>
                  <a:cubicBezTo>
                    <a:pt x="1" y="95"/>
                    <a:pt x="95" y="0"/>
                    <a:pt x="211" y="0"/>
                  </a:cubicBezTo>
                  <a:lnTo>
                    <a:pt x="1058" y="0"/>
                  </a:lnTo>
                  <a:lnTo>
                    <a:pt x="1692" y="635"/>
                  </a:lnTo>
                  <a:lnTo>
                    <a:pt x="1692" y="981"/>
                  </a:lnTo>
                  <a:cubicBezTo>
                    <a:pt x="1678" y="981"/>
                    <a:pt x="1664" y="980"/>
                    <a:pt x="1650" y="980"/>
                  </a:cubicBezTo>
                  <a:cubicBezTo>
                    <a:pt x="1502" y="980"/>
                    <a:pt x="1361" y="1008"/>
                    <a:pt x="1233" y="1058"/>
                  </a:cubicBezTo>
                  <a:lnTo>
                    <a:pt x="423" y="1058"/>
                  </a:lnTo>
                  <a:lnTo>
                    <a:pt x="423" y="1270"/>
                  </a:lnTo>
                  <a:lnTo>
                    <a:pt x="886" y="1270"/>
                  </a:lnTo>
                  <a:cubicBezTo>
                    <a:pt x="816" y="1332"/>
                    <a:pt x="753" y="1404"/>
                    <a:pt x="700" y="1482"/>
                  </a:cubicBezTo>
                  <a:lnTo>
                    <a:pt x="423" y="1482"/>
                  </a:lnTo>
                  <a:lnTo>
                    <a:pt x="423" y="1693"/>
                  </a:lnTo>
                  <a:lnTo>
                    <a:pt x="587" y="1693"/>
                  </a:lnTo>
                  <a:cubicBezTo>
                    <a:pt x="533" y="1823"/>
                    <a:pt x="504" y="1966"/>
                    <a:pt x="503" y="2115"/>
                  </a:cubicBezTo>
                  <a:close/>
                  <a:moveTo>
                    <a:pt x="952" y="741"/>
                  </a:moveTo>
                  <a:lnTo>
                    <a:pt x="1533" y="741"/>
                  </a:lnTo>
                  <a:lnTo>
                    <a:pt x="952" y="159"/>
                  </a:lnTo>
                  <a:lnTo>
                    <a:pt x="952" y="741"/>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56" name="Freeform 5">
              <a:extLst>
                <a:ext uri="{FF2B5EF4-FFF2-40B4-BE49-F238E27FC236}">
                  <a16:creationId xmlns:a16="http://schemas.microsoft.com/office/drawing/2014/main" id="{FB0BB0B9-9CDC-A2B1-1AAD-D7AD2DFBCA1D}"/>
                </a:ext>
              </a:extLst>
            </p:cNvPr>
            <p:cNvSpPr>
              <a:spLocks noChangeArrowheads="1"/>
            </p:cNvSpPr>
            <p:nvPr/>
          </p:nvSpPr>
          <p:spPr bwMode="auto">
            <a:xfrm>
              <a:off x="4843463" y="3587750"/>
              <a:ext cx="868362" cy="838200"/>
            </a:xfrm>
            <a:custGeom>
              <a:avLst/>
              <a:gdLst>
                <a:gd name="T0" fmla="*/ 1867 w 2413"/>
                <a:gd name="T1" fmla="*/ 1614 h 2328"/>
                <a:gd name="T2" fmla="*/ 1749 w 2413"/>
                <a:gd name="T3" fmla="*/ 1614 h 2328"/>
                <a:gd name="T4" fmla="*/ 1707 w 2413"/>
                <a:gd name="T5" fmla="*/ 1574 h 2328"/>
                <a:gd name="T6" fmla="*/ 1941 w 2413"/>
                <a:gd name="T7" fmla="*/ 953 h 2328"/>
                <a:gd name="T8" fmla="*/ 970 w 2413"/>
                <a:gd name="T9" fmla="*/ 0 h 2328"/>
                <a:gd name="T10" fmla="*/ 0 w 2413"/>
                <a:gd name="T11" fmla="*/ 953 h 2328"/>
                <a:gd name="T12" fmla="*/ 970 w 2413"/>
                <a:gd name="T13" fmla="*/ 1907 h 2328"/>
                <a:gd name="T14" fmla="*/ 1602 w 2413"/>
                <a:gd name="T15" fmla="*/ 1677 h 2328"/>
                <a:gd name="T16" fmla="*/ 1643 w 2413"/>
                <a:gd name="T17" fmla="*/ 1718 h 2328"/>
                <a:gd name="T18" fmla="*/ 1643 w 2413"/>
                <a:gd name="T19" fmla="*/ 1834 h 2328"/>
                <a:gd name="T20" fmla="*/ 2189 w 2413"/>
                <a:gd name="T21" fmla="*/ 2327 h 2328"/>
                <a:gd name="T22" fmla="*/ 2412 w 2413"/>
                <a:gd name="T23" fmla="*/ 2109 h 2328"/>
                <a:gd name="T24" fmla="*/ 1867 w 2413"/>
                <a:gd name="T25" fmla="*/ 1614 h 2328"/>
                <a:gd name="T26" fmla="*/ 951 w 2413"/>
                <a:gd name="T27" fmla="*/ 1608 h 2328"/>
                <a:gd name="T28" fmla="*/ 296 w 2413"/>
                <a:gd name="T29" fmla="*/ 952 h 2328"/>
                <a:gd name="T30" fmla="*/ 951 w 2413"/>
                <a:gd name="T31" fmla="*/ 297 h 2328"/>
                <a:gd name="T32" fmla="*/ 1607 w 2413"/>
                <a:gd name="T33" fmla="*/ 952 h 2328"/>
                <a:gd name="T34" fmla="*/ 951 w 2413"/>
                <a:gd name="T35" fmla="*/ 1608 h 2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3" h="2328">
                  <a:moveTo>
                    <a:pt x="1867" y="1614"/>
                  </a:moveTo>
                  <a:lnTo>
                    <a:pt x="1749" y="1614"/>
                  </a:lnTo>
                  <a:lnTo>
                    <a:pt x="1707" y="1574"/>
                  </a:lnTo>
                  <a:cubicBezTo>
                    <a:pt x="1853" y="1407"/>
                    <a:pt x="1941" y="1189"/>
                    <a:pt x="1941" y="953"/>
                  </a:cubicBezTo>
                  <a:cubicBezTo>
                    <a:pt x="1941" y="427"/>
                    <a:pt x="1507" y="0"/>
                    <a:pt x="970" y="0"/>
                  </a:cubicBezTo>
                  <a:cubicBezTo>
                    <a:pt x="435" y="0"/>
                    <a:pt x="0" y="427"/>
                    <a:pt x="0" y="953"/>
                  </a:cubicBezTo>
                  <a:cubicBezTo>
                    <a:pt x="0" y="1480"/>
                    <a:pt x="435" y="1907"/>
                    <a:pt x="970" y="1907"/>
                  </a:cubicBezTo>
                  <a:cubicBezTo>
                    <a:pt x="1211" y="1907"/>
                    <a:pt x="1432" y="1821"/>
                    <a:pt x="1602" y="1677"/>
                  </a:cubicBezTo>
                  <a:lnTo>
                    <a:pt x="1643" y="1718"/>
                  </a:lnTo>
                  <a:lnTo>
                    <a:pt x="1643" y="1834"/>
                  </a:lnTo>
                  <a:lnTo>
                    <a:pt x="2189" y="2327"/>
                  </a:lnTo>
                  <a:lnTo>
                    <a:pt x="2412" y="2109"/>
                  </a:lnTo>
                  <a:lnTo>
                    <a:pt x="1867" y="1614"/>
                  </a:lnTo>
                  <a:close/>
                  <a:moveTo>
                    <a:pt x="951" y="1608"/>
                  </a:moveTo>
                  <a:cubicBezTo>
                    <a:pt x="589" y="1608"/>
                    <a:pt x="296" y="1315"/>
                    <a:pt x="296" y="952"/>
                  </a:cubicBezTo>
                  <a:cubicBezTo>
                    <a:pt x="296" y="589"/>
                    <a:pt x="589" y="297"/>
                    <a:pt x="951" y="297"/>
                  </a:cubicBezTo>
                  <a:cubicBezTo>
                    <a:pt x="1314" y="297"/>
                    <a:pt x="1607" y="589"/>
                    <a:pt x="1607" y="952"/>
                  </a:cubicBezTo>
                  <a:cubicBezTo>
                    <a:pt x="1607" y="1315"/>
                    <a:pt x="1314" y="1608"/>
                    <a:pt x="951" y="1608"/>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sp>
          <p:nvSpPr>
            <p:cNvPr id="57" name="Freeform 6">
              <a:extLst>
                <a:ext uri="{FF2B5EF4-FFF2-40B4-BE49-F238E27FC236}">
                  <a16:creationId xmlns:a16="http://schemas.microsoft.com/office/drawing/2014/main" id="{046BE1FF-62B3-EB7A-4F86-AE16F017E710}"/>
                </a:ext>
              </a:extLst>
            </p:cNvPr>
            <p:cNvSpPr>
              <a:spLocks noChangeArrowheads="1"/>
            </p:cNvSpPr>
            <p:nvPr/>
          </p:nvSpPr>
          <p:spPr bwMode="auto">
            <a:xfrm>
              <a:off x="5056188" y="3786188"/>
              <a:ext cx="274637" cy="274637"/>
            </a:xfrm>
            <a:custGeom>
              <a:avLst/>
              <a:gdLst>
                <a:gd name="T0" fmla="*/ 379 w 761"/>
                <a:gd name="T1" fmla="*/ 0 h 761"/>
                <a:gd name="T2" fmla="*/ 760 w 761"/>
                <a:gd name="T3" fmla="*/ 379 h 761"/>
                <a:gd name="T4" fmla="*/ 379 w 761"/>
                <a:gd name="T5" fmla="*/ 760 h 761"/>
                <a:gd name="T6" fmla="*/ 0 w 761"/>
                <a:gd name="T7" fmla="*/ 379 h 761"/>
                <a:gd name="T8" fmla="*/ 379 w 761"/>
                <a:gd name="T9" fmla="*/ 0 h 761"/>
                <a:gd name="T10" fmla="*/ 290 w 761"/>
                <a:gd name="T11" fmla="*/ 583 h 761"/>
                <a:gd name="T12" fmla="*/ 639 w 761"/>
                <a:gd name="T13" fmla="*/ 234 h 761"/>
                <a:gd name="T14" fmla="*/ 577 w 761"/>
                <a:gd name="T15" fmla="*/ 173 h 761"/>
                <a:gd name="T16" fmla="*/ 290 w 761"/>
                <a:gd name="T17" fmla="*/ 460 h 761"/>
                <a:gd name="T18" fmla="*/ 177 w 761"/>
                <a:gd name="T19" fmla="*/ 347 h 761"/>
                <a:gd name="T20" fmla="*/ 116 w 761"/>
                <a:gd name="T21" fmla="*/ 409 h 761"/>
                <a:gd name="T22" fmla="*/ 290 w 761"/>
                <a:gd name="T23" fmla="*/ 583 h 7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1" h="761">
                  <a:moveTo>
                    <a:pt x="379" y="0"/>
                  </a:moveTo>
                  <a:cubicBezTo>
                    <a:pt x="589" y="0"/>
                    <a:pt x="760" y="170"/>
                    <a:pt x="760" y="379"/>
                  </a:cubicBezTo>
                  <a:cubicBezTo>
                    <a:pt x="760" y="589"/>
                    <a:pt x="589" y="760"/>
                    <a:pt x="379" y="760"/>
                  </a:cubicBezTo>
                  <a:cubicBezTo>
                    <a:pt x="170" y="760"/>
                    <a:pt x="0" y="589"/>
                    <a:pt x="0" y="379"/>
                  </a:cubicBezTo>
                  <a:cubicBezTo>
                    <a:pt x="0" y="170"/>
                    <a:pt x="170" y="0"/>
                    <a:pt x="379" y="0"/>
                  </a:cubicBezTo>
                  <a:close/>
                  <a:moveTo>
                    <a:pt x="290" y="583"/>
                  </a:moveTo>
                  <a:lnTo>
                    <a:pt x="639" y="234"/>
                  </a:lnTo>
                  <a:lnTo>
                    <a:pt x="577" y="173"/>
                  </a:lnTo>
                  <a:lnTo>
                    <a:pt x="290" y="460"/>
                  </a:lnTo>
                  <a:lnTo>
                    <a:pt x="177" y="347"/>
                  </a:lnTo>
                  <a:lnTo>
                    <a:pt x="116" y="409"/>
                  </a:lnTo>
                  <a:lnTo>
                    <a:pt x="290" y="583"/>
                  </a:lnTo>
                  <a:close/>
                </a:path>
              </a:pathLst>
            </a:custGeom>
            <a:solidFill>
              <a:schemeClr val="bg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349"/>
            </a:p>
          </p:txBody>
        </p:sp>
      </p:grpSp>
      <p:sp>
        <p:nvSpPr>
          <p:cNvPr id="34" name="Oval 7">
            <a:extLst>
              <a:ext uri="{FF2B5EF4-FFF2-40B4-BE49-F238E27FC236}">
                <a16:creationId xmlns:a16="http://schemas.microsoft.com/office/drawing/2014/main" id="{84044EC7-951A-63BA-FAAB-C6CECD56F636}"/>
              </a:ext>
              <a:ext uri="{C183D7F6-B498-43B3-948B-1728B52AA6E4}">
                <adec:decorative xmlns:adec="http://schemas.microsoft.com/office/drawing/2017/decorative" val="1"/>
              </a:ext>
            </a:extLst>
          </p:cNvPr>
          <p:cNvSpPr>
            <a:spLocks noChangeAspect="1"/>
          </p:cNvSpPr>
          <p:nvPr/>
        </p:nvSpPr>
        <p:spPr>
          <a:xfrm>
            <a:off x="4545659" y="5135099"/>
            <a:ext cx="1261423" cy="1261423"/>
          </a:xfrm>
          <a:prstGeom prst="ellipse">
            <a:avLst/>
          </a:prstGeom>
          <a:solidFill>
            <a:schemeClr val="accent6"/>
          </a:solidFill>
          <a:ln w="12700" cap="sq">
            <a:noFill/>
            <a:miter lim="800000"/>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37160" tIns="137160" rIns="137160" bIns="137160" numCol="1" spcCol="0" rtlCol="0" fromWordArt="0" anchor="ctr" anchorCtr="0" forceAA="0" compatLnSpc="1">
            <a:prstTxWarp prst="textNoShape">
              <a:avLst/>
            </a:prstTxWarp>
            <a:noAutofit/>
          </a:bodyPr>
          <a:lstStyle/>
          <a:p>
            <a:pPr algn="ctr" defTabSz="457193">
              <a:defRPr/>
            </a:pPr>
            <a:r>
              <a:rPr lang="en-US" sz="1349" dirty="0">
                <a:solidFill>
                  <a:schemeClr val="bg1"/>
                </a:solidFill>
              </a:rPr>
              <a:t>Since </a:t>
            </a:r>
          </a:p>
          <a:p>
            <a:pPr algn="ctr" defTabSz="457193">
              <a:defRPr/>
            </a:pPr>
            <a:r>
              <a:rPr lang="en-US" sz="1349" dirty="0">
                <a:solidFill>
                  <a:schemeClr val="bg1"/>
                </a:solidFill>
              </a:rPr>
              <a:t>2017</a:t>
            </a:r>
          </a:p>
        </p:txBody>
      </p:sp>
      <p:sp>
        <p:nvSpPr>
          <p:cNvPr id="33" name="Rectangle 32">
            <a:extLst>
              <a:ext uri="{FF2B5EF4-FFF2-40B4-BE49-F238E27FC236}">
                <a16:creationId xmlns:a16="http://schemas.microsoft.com/office/drawing/2014/main" id="{6E4AAC31-F800-1E65-B0E6-B1AAA0607CE3}"/>
              </a:ext>
            </a:extLst>
          </p:cNvPr>
          <p:cNvSpPr/>
          <p:nvPr/>
        </p:nvSpPr>
        <p:spPr>
          <a:xfrm>
            <a:off x="6096769" y="5350311"/>
            <a:ext cx="4206776" cy="830997"/>
          </a:xfrm>
          <a:prstGeom prst="rect">
            <a:avLst/>
          </a:prstGeom>
        </p:spPr>
        <p:txBody>
          <a:bodyPr wrap="square">
            <a:spAutoFit/>
          </a:bodyPr>
          <a:lstStyle/>
          <a:p>
            <a:pPr defTabSz="457193">
              <a:defRPr/>
            </a:pPr>
            <a:r>
              <a:rPr lang="en-US" sz="2400"/>
              <a:t>Creating more inclusive learning environments for all</a:t>
            </a:r>
          </a:p>
        </p:txBody>
      </p:sp>
      <p:sp>
        <p:nvSpPr>
          <p:cNvPr id="32" name="TextBox 31">
            <a:extLst>
              <a:ext uri="{FF2B5EF4-FFF2-40B4-BE49-F238E27FC236}">
                <a16:creationId xmlns:a16="http://schemas.microsoft.com/office/drawing/2014/main" id="{F59A726C-3198-F13D-41E7-FAE6D6AEA9E9}"/>
              </a:ext>
            </a:extLst>
          </p:cNvPr>
          <p:cNvSpPr txBox="1"/>
          <p:nvPr/>
        </p:nvSpPr>
        <p:spPr>
          <a:xfrm>
            <a:off x="9126616" y="3784250"/>
            <a:ext cx="2114369" cy="819796"/>
          </a:xfrm>
          <a:prstGeom prst="rect">
            <a:avLst/>
          </a:prstGeom>
          <a:noFill/>
        </p:spPr>
        <p:txBody>
          <a:bodyPr wrap="square" lIns="137160" tIns="137160" rIns="137160" bIns="137160" rtlCol="0">
            <a:noAutofit/>
          </a:bodyPr>
          <a:lstStyle/>
          <a:p>
            <a:pPr algn="ctr"/>
            <a:r>
              <a:rPr lang="en-US" sz="1349">
                <a:latin typeface="Calibri" panose="020F0502020204030204" pitchFamily="34" charset="0"/>
                <a:cs typeface="Calibri" panose="020F0502020204030204" pitchFamily="34" charset="0"/>
              </a:rPr>
              <a:t>Content Items Processed</a:t>
            </a:r>
          </a:p>
        </p:txBody>
      </p:sp>
      <p:sp>
        <p:nvSpPr>
          <p:cNvPr id="30" name="Rectangle 29">
            <a:extLst>
              <a:ext uri="{FF2B5EF4-FFF2-40B4-BE49-F238E27FC236}">
                <a16:creationId xmlns:a16="http://schemas.microsoft.com/office/drawing/2014/main" id="{DA785966-FC9A-8A4B-7844-88795671D385}"/>
              </a:ext>
            </a:extLst>
          </p:cNvPr>
          <p:cNvSpPr/>
          <p:nvPr/>
        </p:nvSpPr>
        <p:spPr>
          <a:xfrm>
            <a:off x="9269327" y="3385004"/>
            <a:ext cx="1879041" cy="584775"/>
          </a:xfrm>
          <a:prstGeom prst="rect">
            <a:avLst/>
          </a:prstGeom>
        </p:spPr>
        <p:txBody>
          <a:bodyPr wrap="none" anchor="t">
            <a:spAutoFit/>
          </a:bodyPr>
          <a:lstStyle/>
          <a:p>
            <a:pPr algn="ctr"/>
            <a:r>
              <a:rPr lang="en-US" sz="3200" b="1">
                <a:latin typeface="Calibri"/>
                <a:cs typeface="Calibri"/>
              </a:rPr>
              <a:t>3.4 Billion</a:t>
            </a:r>
          </a:p>
        </p:txBody>
      </p:sp>
      <p:sp>
        <p:nvSpPr>
          <p:cNvPr id="31" name="TextBox 30">
            <a:extLst>
              <a:ext uri="{FF2B5EF4-FFF2-40B4-BE49-F238E27FC236}">
                <a16:creationId xmlns:a16="http://schemas.microsoft.com/office/drawing/2014/main" id="{64372685-E6A7-6D12-80F2-28A482EEA4A8}"/>
              </a:ext>
            </a:extLst>
          </p:cNvPr>
          <p:cNvSpPr txBox="1"/>
          <p:nvPr/>
        </p:nvSpPr>
        <p:spPr>
          <a:xfrm>
            <a:off x="9428025" y="3154171"/>
            <a:ext cx="1522512" cy="461665"/>
          </a:xfrm>
          <a:prstGeom prst="rect">
            <a:avLst/>
          </a:prstGeom>
          <a:noFill/>
        </p:spPr>
        <p:txBody>
          <a:bodyPr wrap="square" lIns="137160" tIns="137160" rIns="137160" bIns="137160" rtlCol="0">
            <a:spAutoFit/>
          </a:bodyPr>
          <a:lstStyle/>
          <a:p>
            <a:pPr algn="ctr"/>
            <a:r>
              <a:rPr lang="en-US" sz="1200"/>
              <a:t>Over</a:t>
            </a:r>
          </a:p>
        </p:txBody>
      </p:sp>
      <p:sp>
        <p:nvSpPr>
          <p:cNvPr id="29" name="TextBox 28">
            <a:extLst>
              <a:ext uri="{FF2B5EF4-FFF2-40B4-BE49-F238E27FC236}">
                <a16:creationId xmlns:a16="http://schemas.microsoft.com/office/drawing/2014/main" id="{0A73805A-788C-B69D-0DA9-4995F4333AB1}"/>
              </a:ext>
            </a:extLst>
          </p:cNvPr>
          <p:cNvSpPr txBox="1"/>
          <p:nvPr/>
        </p:nvSpPr>
        <p:spPr>
          <a:xfrm>
            <a:off x="6612016" y="3784250"/>
            <a:ext cx="2114369" cy="819796"/>
          </a:xfrm>
          <a:prstGeom prst="rect">
            <a:avLst/>
          </a:prstGeom>
          <a:noFill/>
        </p:spPr>
        <p:txBody>
          <a:bodyPr wrap="square" lIns="137160" tIns="137160" rIns="137160" bIns="137160" rtlCol="0">
            <a:noAutofit/>
          </a:bodyPr>
          <a:lstStyle/>
          <a:p>
            <a:pPr algn="ctr"/>
            <a:r>
              <a:rPr lang="en-US" sz="1349">
                <a:latin typeface="Calibri" panose="020F0502020204030204" pitchFamily="34" charset="0"/>
                <a:cs typeface="Calibri" panose="020F0502020204030204" pitchFamily="34" charset="0"/>
              </a:rPr>
              <a:t>Courses Processed</a:t>
            </a:r>
          </a:p>
        </p:txBody>
      </p:sp>
      <p:sp>
        <p:nvSpPr>
          <p:cNvPr id="27" name="Rectangle 26">
            <a:extLst>
              <a:ext uri="{FF2B5EF4-FFF2-40B4-BE49-F238E27FC236}">
                <a16:creationId xmlns:a16="http://schemas.microsoft.com/office/drawing/2014/main" id="{52D12243-094B-48B0-CD80-D2CC52E11222}"/>
              </a:ext>
            </a:extLst>
          </p:cNvPr>
          <p:cNvSpPr/>
          <p:nvPr/>
        </p:nvSpPr>
        <p:spPr>
          <a:xfrm>
            <a:off x="6750974" y="3385004"/>
            <a:ext cx="1898277" cy="584775"/>
          </a:xfrm>
          <a:prstGeom prst="rect">
            <a:avLst/>
          </a:prstGeom>
        </p:spPr>
        <p:txBody>
          <a:bodyPr wrap="none" anchor="t">
            <a:spAutoFit/>
          </a:bodyPr>
          <a:lstStyle/>
          <a:p>
            <a:pPr algn="ctr"/>
            <a:r>
              <a:rPr lang="en-US" sz="3200" b="1">
                <a:latin typeface="Calibri"/>
                <a:cs typeface="Calibri"/>
              </a:rPr>
              <a:t>81 Million</a:t>
            </a:r>
            <a:endParaRPr lang="en-US" sz="3200"/>
          </a:p>
        </p:txBody>
      </p:sp>
      <p:sp>
        <p:nvSpPr>
          <p:cNvPr id="28" name="TextBox 27">
            <a:extLst>
              <a:ext uri="{FF2B5EF4-FFF2-40B4-BE49-F238E27FC236}">
                <a16:creationId xmlns:a16="http://schemas.microsoft.com/office/drawing/2014/main" id="{0F3FE8D0-D04F-D778-ED28-4D5ADB95DC98}"/>
              </a:ext>
            </a:extLst>
          </p:cNvPr>
          <p:cNvSpPr txBox="1"/>
          <p:nvPr/>
        </p:nvSpPr>
        <p:spPr>
          <a:xfrm>
            <a:off x="6907943" y="3154171"/>
            <a:ext cx="1522512" cy="461665"/>
          </a:xfrm>
          <a:prstGeom prst="rect">
            <a:avLst/>
          </a:prstGeom>
          <a:noFill/>
        </p:spPr>
        <p:txBody>
          <a:bodyPr wrap="square" lIns="137160" tIns="137160" rIns="137160" bIns="137160" rtlCol="0">
            <a:spAutoFit/>
          </a:bodyPr>
          <a:lstStyle/>
          <a:p>
            <a:pPr algn="ctr"/>
            <a:r>
              <a:rPr lang="en-US" sz="1200" dirty="0"/>
              <a:t>Over</a:t>
            </a:r>
          </a:p>
        </p:txBody>
      </p:sp>
      <p:sp>
        <p:nvSpPr>
          <p:cNvPr id="26" name="TextBox 25">
            <a:extLst>
              <a:ext uri="{FF2B5EF4-FFF2-40B4-BE49-F238E27FC236}">
                <a16:creationId xmlns:a16="http://schemas.microsoft.com/office/drawing/2014/main" id="{D9DEBBC7-9F6E-430E-189F-4ABC329B3DE9}"/>
              </a:ext>
            </a:extLst>
          </p:cNvPr>
          <p:cNvSpPr txBox="1"/>
          <p:nvPr/>
        </p:nvSpPr>
        <p:spPr>
          <a:xfrm>
            <a:off x="4140959" y="3784250"/>
            <a:ext cx="2114369" cy="819796"/>
          </a:xfrm>
          <a:prstGeom prst="rect">
            <a:avLst/>
          </a:prstGeom>
          <a:noFill/>
        </p:spPr>
        <p:txBody>
          <a:bodyPr wrap="square" lIns="137160" tIns="137160" rIns="137160" bIns="137160" rtlCol="0">
            <a:noAutofit/>
          </a:bodyPr>
          <a:lstStyle/>
          <a:p>
            <a:pPr algn="ctr"/>
            <a:r>
              <a:rPr lang="en-US" sz="1349" dirty="0">
                <a:latin typeface="Calibri" panose="020F0502020204030204" pitchFamily="34" charset="0"/>
                <a:cs typeface="Calibri" panose="020F0502020204030204" pitchFamily="34" charset="0"/>
              </a:rPr>
              <a:t>Institutions Around the World</a:t>
            </a:r>
          </a:p>
        </p:txBody>
      </p:sp>
      <p:sp>
        <p:nvSpPr>
          <p:cNvPr id="24" name="Rectangle 23">
            <a:extLst>
              <a:ext uri="{FF2B5EF4-FFF2-40B4-BE49-F238E27FC236}">
                <a16:creationId xmlns:a16="http://schemas.microsoft.com/office/drawing/2014/main" id="{082201A7-9DDE-CD30-B3D9-1E2759CC0BA6}"/>
              </a:ext>
            </a:extLst>
          </p:cNvPr>
          <p:cNvSpPr/>
          <p:nvPr/>
        </p:nvSpPr>
        <p:spPr>
          <a:xfrm>
            <a:off x="4716278" y="3385004"/>
            <a:ext cx="1018227" cy="584775"/>
          </a:xfrm>
          <a:prstGeom prst="rect">
            <a:avLst/>
          </a:prstGeom>
        </p:spPr>
        <p:txBody>
          <a:bodyPr wrap="none" anchor="t">
            <a:spAutoFit/>
          </a:bodyPr>
          <a:lstStyle/>
          <a:p>
            <a:r>
              <a:rPr lang="en-US" sz="3200" b="1" dirty="0">
                <a:latin typeface="Calibri"/>
                <a:cs typeface="Calibri"/>
              </a:rPr>
              <a:t>1300</a:t>
            </a:r>
            <a:endParaRPr lang="en-US" sz="3200" dirty="0"/>
          </a:p>
        </p:txBody>
      </p:sp>
      <p:sp>
        <p:nvSpPr>
          <p:cNvPr id="25" name="TextBox 24">
            <a:extLst>
              <a:ext uri="{FF2B5EF4-FFF2-40B4-BE49-F238E27FC236}">
                <a16:creationId xmlns:a16="http://schemas.microsoft.com/office/drawing/2014/main" id="{E947BA21-73C9-7853-1F36-5B16651620EB}"/>
              </a:ext>
            </a:extLst>
          </p:cNvPr>
          <p:cNvSpPr txBox="1"/>
          <p:nvPr/>
        </p:nvSpPr>
        <p:spPr>
          <a:xfrm>
            <a:off x="4445668" y="3163178"/>
            <a:ext cx="1522512" cy="461665"/>
          </a:xfrm>
          <a:prstGeom prst="rect">
            <a:avLst/>
          </a:prstGeom>
          <a:noFill/>
        </p:spPr>
        <p:txBody>
          <a:bodyPr wrap="square" lIns="137160" tIns="137160" rIns="137160" bIns="137160" rtlCol="0">
            <a:spAutoFit/>
          </a:bodyPr>
          <a:lstStyle/>
          <a:p>
            <a:pPr algn="ctr"/>
            <a:r>
              <a:rPr lang="en-US" sz="1200" dirty="0"/>
              <a:t>Over</a:t>
            </a:r>
          </a:p>
        </p:txBody>
      </p:sp>
    </p:spTree>
    <p:extLst>
      <p:ext uri="{BB962C8B-B14F-4D97-AF65-F5344CB8AC3E}">
        <p14:creationId xmlns:p14="http://schemas.microsoft.com/office/powerpoint/2010/main" val="10178756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19"/>
                                        </p:tgtEl>
                                        <p:attrNameLst>
                                          <p:attrName>style.visibility</p:attrName>
                                        </p:attrNameLst>
                                      </p:cBhvr>
                                      <p:to>
                                        <p:strVal val="visible"/>
                                      </p:to>
                                    </p:set>
                                    <p:anim calcmode="lin" valueType="num">
                                      <p:cBhvr additive="base">
                                        <p:cTn id="7" dur="500" fill="hold"/>
                                        <p:tgtEl>
                                          <p:spTgt spid="19"/>
                                        </p:tgtEl>
                                        <p:attrNameLst>
                                          <p:attrName>ppt_x</p:attrName>
                                        </p:attrNameLst>
                                      </p:cBhvr>
                                      <p:tavLst>
                                        <p:tav tm="0">
                                          <p:val>
                                            <p:strVal val="#ppt_x"/>
                                          </p:val>
                                        </p:tav>
                                        <p:tav tm="100000">
                                          <p:val>
                                            <p:strVal val="#ppt_x"/>
                                          </p:val>
                                        </p:tav>
                                      </p:tavLst>
                                    </p:anim>
                                    <p:anim calcmode="lin" valueType="num">
                                      <p:cBhvr additive="base">
                                        <p:cTn id="8" dur="500" fill="hold"/>
                                        <p:tgtEl>
                                          <p:spTgt spid="19"/>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anim calcmode="lin" valueType="num">
                                      <p:cBhvr additive="base">
                                        <p:cTn id="11" dur="500" fill="hold"/>
                                        <p:tgtEl>
                                          <p:spTgt spid="22"/>
                                        </p:tgtEl>
                                        <p:attrNameLst>
                                          <p:attrName>ppt_x</p:attrName>
                                        </p:attrNameLst>
                                      </p:cBhvr>
                                      <p:tavLst>
                                        <p:tav tm="0">
                                          <p:val>
                                            <p:strVal val="#ppt_x"/>
                                          </p:val>
                                        </p:tav>
                                        <p:tav tm="100000">
                                          <p:val>
                                            <p:strVal val="#ppt_x"/>
                                          </p:val>
                                        </p:tav>
                                      </p:tavLst>
                                    </p:anim>
                                    <p:anim calcmode="lin" valueType="num">
                                      <p:cBhvr additive="base">
                                        <p:cTn id="12" dur="500" fill="hold"/>
                                        <p:tgtEl>
                                          <p:spTgt spid="22"/>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anim calcmode="lin" valueType="num">
                                      <p:cBhvr additive="base">
                                        <p:cTn id="15" dur="500" fill="hold"/>
                                        <p:tgtEl>
                                          <p:spTgt spid="25"/>
                                        </p:tgtEl>
                                        <p:attrNameLst>
                                          <p:attrName>ppt_x</p:attrName>
                                        </p:attrNameLst>
                                      </p:cBhvr>
                                      <p:tavLst>
                                        <p:tav tm="0">
                                          <p:val>
                                            <p:strVal val="#ppt_x"/>
                                          </p:val>
                                        </p:tav>
                                        <p:tav tm="100000">
                                          <p:val>
                                            <p:strVal val="#ppt_x"/>
                                          </p:val>
                                        </p:tav>
                                      </p:tavLst>
                                    </p:anim>
                                    <p:anim calcmode="lin" valueType="num">
                                      <p:cBhvr additive="base">
                                        <p:cTn id="16" dur="500" fill="hold"/>
                                        <p:tgtEl>
                                          <p:spTgt spid="25"/>
                                        </p:tgtEl>
                                        <p:attrNameLst>
                                          <p:attrName>ppt_y</p:attrName>
                                        </p:attrNameLst>
                                      </p:cBhvr>
                                      <p:tavLst>
                                        <p:tav tm="0">
                                          <p:val>
                                            <p:strVal val="1+#ppt_h/2"/>
                                          </p:val>
                                        </p:tav>
                                        <p:tav tm="100000">
                                          <p:val>
                                            <p:strVal val="#ppt_y"/>
                                          </p:val>
                                        </p:tav>
                                      </p:tavLst>
                                    </p:anim>
                                  </p:childTnLst>
                                </p:cTn>
                              </p:par>
                              <p:par>
                                <p:cTn id="17" presetID="2" presetClass="entr" presetSubtype="4" fill="hold" grpId="0" nodeType="withEffect">
                                  <p:stCondLst>
                                    <p:cond delay="0"/>
                                  </p:stCondLst>
                                  <p:childTnLst>
                                    <p:set>
                                      <p:cBhvr>
                                        <p:cTn id="18" dur="1" fill="hold">
                                          <p:stCondLst>
                                            <p:cond delay="0"/>
                                          </p:stCondLst>
                                        </p:cTn>
                                        <p:tgtEl>
                                          <p:spTgt spid="24"/>
                                        </p:tgtEl>
                                        <p:attrNameLst>
                                          <p:attrName>style.visibility</p:attrName>
                                        </p:attrNameLst>
                                      </p:cBhvr>
                                      <p:to>
                                        <p:strVal val="visible"/>
                                      </p:to>
                                    </p:set>
                                    <p:anim calcmode="lin" valueType="num">
                                      <p:cBhvr additive="base">
                                        <p:cTn id="19" dur="500" fill="hold"/>
                                        <p:tgtEl>
                                          <p:spTgt spid="24"/>
                                        </p:tgtEl>
                                        <p:attrNameLst>
                                          <p:attrName>ppt_x</p:attrName>
                                        </p:attrNameLst>
                                      </p:cBhvr>
                                      <p:tavLst>
                                        <p:tav tm="0">
                                          <p:val>
                                            <p:strVal val="#ppt_x"/>
                                          </p:val>
                                        </p:tav>
                                        <p:tav tm="100000">
                                          <p:val>
                                            <p:strVal val="#ppt_x"/>
                                          </p:val>
                                        </p:tav>
                                      </p:tavLst>
                                    </p:anim>
                                    <p:anim calcmode="lin" valueType="num">
                                      <p:cBhvr additive="base">
                                        <p:cTn id="20" dur="500" fill="hold"/>
                                        <p:tgtEl>
                                          <p:spTgt spid="24"/>
                                        </p:tgtEl>
                                        <p:attrNameLst>
                                          <p:attrName>ppt_y</p:attrName>
                                        </p:attrNameLst>
                                      </p:cBhvr>
                                      <p:tavLst>
                                        <p:tav tm="0">
                                          <p:val>
                                            <p:strVal val="1+#ppt_h/2"/>
                                          </p:val>
                                        </p:tav>
                                        <p:tav tm="100000">
                                          <p:val>
                                            <p:strVal val="#ppt_y"/>
                                          </p:val>
                                        </p:tav>
                                      </p:tavLst>
                                    </p:anim>
                                  </p:childTnLst>
                                </p:cTn>
                              </p:par>
                              <p:par>
                                <p:cTn id="21" presetID="2" presetClass="entr" presetSubtype="4" fill="hold" grpId="0" nodeType="withEffect">
                                  <p:stCondLst>
                                    <p:cond delay="0"/>
                                  </p:stCondLst>
                                  <p:childTnLst>
                                    <p:set>
                                      <p:cBhvr>
                                        <p:cTn id="22" dur="1" fill="hold">
                                          <p:stCondLst>
                                            <p:cond delay="0"/>
                                          </p:stCondLst>
                                        </p:cTn>
                                        <p:tgtEl>
                                          <p:spTgt spid="26"/>
                                        </p:tgtEl>
                                        <p:attrNameLst>
                                          <p:attrName>style.visibility</p:attrName>
                                        </p:attrNameLst>
                                      </p:cBhvr>
                                      <p:to>
                                        <p:strVal val="visible"/>
                                      </p:to>
                                    </p:set>
                                    <p:anim calcmode="lin" valueType="num">
                                      <p:cBhvr additive="base">
                                        <p:cTn id="23" dur="500" fill="hold"/>
                                        <p:tgtEl>
                                          <p:spTgt spid="26"/>
                                        </p:tgtEl>
                                        <p:attrNameLst>
                                          <p:attrName>ppt_x</p:attrName>
                                        </p:attrNameLst>
                                      </p:cBhvr>
                                      <p:tavLst>
                                        <p:tav tm="0">
                                          <p:val>
                                            <p:strVal val="#ppt_x"/>
                                          </p:val>
                                        </p:tav>
                                        <p:tav tm="100000">
                                          <p:val>
                                            <p:strVal val="#ppt_x"/>
                                          </p:val>
                                        </p:tav>
                                      </p:tavLst>
                                    </p:anim>
                                    <p:anim calcmode="lin" valueType="num">
                                      <p:cBhvr additive="base">
                                        <p:cTn id="24" dur="500" fill="hold"/>
                                        <p:tgtEl>
                                          <p:spTgt spid="26"/>
                                        </p:tgtEl>
                                        <p:attrNameLst>
                                          <p:attrName>ppt_y</p:attrName>
                                        </p:attrNameLst>
                                      </p:cBhvr>
                                      <p:tavLst>
                                        <p:tav tm="0">
                                          <p:val>
                                            <p:strVal val="1+#ppt_h/2"/>
                                          </p:val>
                                        </p:tav>
                                        <p:tav tm="100000">
                                          <p:val>
                                            <p:strVal val="#ppt_y"/>
                                          </p:val>
                                        </p:tav>
                                      </p:tavLst>
                                    </p:anim>
                                  </p:childTnLst>
                                </p:cTn>
                              </p:par>
                            </p:childTnLst>
                          </p:cTn>
                        </p:par>
                        <p:par>
                          <p:cTn id="25" fill="hold">
                            <p:stCondLst>
                              <p:cond delay="500"/>
                            </p:stCondLst>
                            <p:childTnLst>
                              <p:par>
                                <p:cTn id="26" presetID="10" presetClass="entr" presetSubtype="0" fill="hold" nodeType="afterEffect">
                                  <p:stCondLst>
                                    <p:cond delay="0"/>
                                  </p:stCondLst>
                                  <p:childTnLst>
                                    <p:set>
                                      <p:cBhvr>
                                        <p:cTn id="27" dur="1" fill="hold">
                                          <p:stCondLst>
                                            <p:cond delay="0"/>
                                          </p:stCondLst>
                                        </p:cTn>
                                        <p:tgtEl>
                                          <p:spTgt spid="35"/>
                                        </p:tgtEl>
                                        <p:attrNameLst>
                                          <p:attrName>style.visibility</p:attrName>
                                        </p:attrNameLst>
                                      </p:cBhvr>
                                      <p:to>
                                        <p:strVal val="visible"/>
                                      </p:to>
                                    </p:set>
                                    <p:animEffect transition="in" filter="fade">
                                      <p:cBhvr>
                                        <p:cTn id="28" dur="500"/>
                                        <p:tgtEl>
                                          <p:spTgt spid="35"/>
                                        </p:tgtEl>
                                      </p:cBhvr>
                                    </p:animEffect>
                                  </p:childTnLst>
                                </p:cTn>
                              </p:par>
                            </p:childTnLst>
                          </p:cTn>
                        </p:par>
                      </p:childTnLst>
                    </p:cTn>
                  </p:par>
                  <p:par>
                    <p:cTn id="29" fill="hold">
                      <p:stCondLst>
                        <p:cond delay="indefinite"/>
                      </p:stCondLst>
                      <p:childTnLst>
                        <p:par>
                          <p:cTn id="30" fill="hold">
                            <p:stCondLst>
                              <p:cond delay="0"/>
                            </p:stCondLst>
                            <p:childTnLst>
                              <p:par>
                                <p:cTn id="31" presetID="2" presetClass="entr" presetSubtype="4" fill="hold" grpId="0" nodeType="clickEffect">
                                  <p:stCondLst>
                                    <p:cond delay="0"/>
                                  </p:stCondLst>
                                  <p:childTnLst>
                                    <p:set>
                                      <p:cBhvr>
                                        <p:cTn id="32" dur="1" fill="hold">
                                          <p:stCondLst>
                                            <p:cond delay="0"/>
                                          </p:stCondLst>
                                        </p:cTn>
                                        <p:tgtEl>
                                          <p:spTgt spid="16"/>
                                        </p:tgtEl>
                                        <p:attrNameLst>
                                          <p:attrName>style.visibility</p:attrName>
                                        </p:attrNameLst>
                                      </p:cBhvr>
                                      <p:to>
                                        <p:strVal val="visible"/>
                                      </p:to>
                                    </p:set>
                                    <p:anim calcmode="lin" valueType="num">
                                      <p:cBhvr additive="base">
                                        <p:cTn id="33" dur="500" fill="hold"/>
                                        <p:tgtEl>
                                          <p:spTgt spid="16"/>
                                        </p:tgtEl>
                                        <p:attrNameLst>
                                          <p:attrName>ppt_x</p:attrName>
                                        </p:attrNameLst>
                                      </p:cBhvr>
                                      <p:tavLst>
                                        <p:tav tm="0">
                                          <p:val>
                                            <p:strVal val="#ppt_x"/>
                                          </p:val>
                                        </p:tav>
                                        <p:tav tm="100000">
                                          <p:val>
                                            <p:strVal val="#ppt_x"/>
                                          </p:val>
                                        </p:tav>
                                      </p:tavLst>
                                    </p:anim>
                                    <p:anim calcmode="lin" valueType="num">
                                      <p:cBhvr additive="base">
                                        <p:cTn id="34" dur="500" fill="hold"/>
                                        <p:tgtEl>
                                          <p:spTgt spid="16"/>
                                        </p:tgtEl>
                                        <p:attrNameLst>
                                          <p:attrName>ppt_y</p:attrName>
                                        </p:attrNameLst>
                                      </p:cBhvr>
                                      <p:tavLst>
                                        <p:tav tm="0">
                                          <p:val>
                                            <p:strVal val="1+#ppt_h/2"/>
                                          </p:val>
                                        </p:tav>
                                        <p:tav tm="100000">
                                          <p:val>
                                            <p:strVal val="#ppt_y"/>
                                          </p:val>
                                        </p:tav>
                                      </p:tavLst>
                                    </p:anim>
                                  </p:childTnLst>
                                </p:cTn>
                              </p:par>
                              <p:par>
                                <p:cTn id="35" presetID="2" presetClass="entr" presetSubtype="4" fill="hold" grpId="0" nodeType="withEffect">
                                  <p:stCondLst>
                                    <p:cond delay="0"/>
                                  </p:stCondLst>
                                  <p:childTnLst>
                                    <p:set>
                                      <p:cBhvr>
                                        <p:cTn id="36" dur="1" fill="hold">
                                          <p:stCondLst>
                                            <p:cond delay="0"/>
                                          </p:stCondLst>
                                        </p:cTn>
                                        <p:tgtEl>
                                          <p:spTgt spid="20"/>
                                        </p:tgtEl>
                                        <p:attrNameLst>
                                          <p:attrName>style.visibility</p:attrName>
                                        </p:attrNameLst>
                                      </p:cBhvr>
                                      <p:to>
                                        <p:strVal val="visible"/>
                                      </p:to>
                                    </p:set>
                                    <p:anim calcmode="lin" valueType="num">
                                      <p:cBhvr additive="base">
                                        <p:cTn id="37" dur="500" fill="hold"/>
                                        <p:tgtEl>
                                          <p:spTgt spid="20"/>
                                        </p:tgtEl>
                                        <p:attrNameLst>
                                          <p:attrName>ppt_x</p:attrName>
                                        </p:attrNameLst>
                                      </p:cBhvr>
                                      <p:tavLst>
                                        <p:tav tm="0">
                                          <p:val>
                                            <p:strVal val="#ppt_x"/>
                                          </p:val>
                                        </p:tav>
                                        <p:tav tm="100000">
                                          <p:val>
                                            <p:strVal val="#ppt_x"/>
                                          </p:val>
                                        </p:tav>
                                      </p:tavLst>
                                    </p:anim>
                                    <p:anim calcmode="lin" valueType="num">
                                      <p:cBhvr additive="base">
                                        <p:cTn id="38" dur="500" fill="hold"/>
                                        <p:tgtEl>
                                          <p:spTgt spid="20"/>
                                        </p:tgtEl>
                                        <p:attrNameLst>
                                          <p:attrName>ppt_y</p:attrName>
                                        </p:attrNameLst>
                                      </p:cBhvr>
                                      <p:tavLst>
                                        <p:tav tm="0">
                                          <p:val>
                                            <p:strVal val="1+#ppt_h/2"/>
                                          </p:val>
                                        </p:tav>
                                        <p:tav tm="100000">
                                          <p:val>
                                            <p:strVal val="#ppt_y"/>
                                          </p:val>
                                        </p:tav>
                                      </p:tavLst>
                                    </p:anim>
                                  </p:childTnLst>
                                </p:cTn>
                              </p:par>
                              <p:par>
                                <p:cTn id="39" presetID="2" presetClass="entr" presetSubtype="4"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 calcmode="lin" valueType="num">
                                      <p:cBhvr additive="base">
                                        <p:cTn id="41" dur="500" fill="hold"/>
                                        <p:tgtEl>
                                          <p:spTgt spid="28"/>
                                        </p:tgtEl>
                                        <p:attrNameLst>
                                          <p:attrName>ppt_x</p:attrName>
                                        </p:attrNameLst>
                                      </p:cBhvr>
                                      <p:tavLst>
                                        <p:tav tm="0">
                                          <p:val>
                                            <p:strVal val="#ppt_x"/>
                                          </p:val>
                                        </p:tav>
                                        <p:tav tm="100000">
                                          <p:val>
                                            <p:strVal val="#ppt_x"/>
                                          </p:val>
                                        </p:tav>
                                      </p:tavLst>
                                    </p:anim>
                                    <p:anim calcmode="lin" valueType="num">
                                      <p:cBhvr additive="base">
                                        <p:cTn id="42" dur="500" fill="hold"/>
                                        <p:tgtEl>
                                          <p:spTgt spid="28"/>
                                        </p:tgtEl>
                                        <p:attrNameLst>
                                          <p:attrName>ppt_y</p:attrName>
                                        </p:attrNameLst>
                                      </p:cBhvr>
                                      <p:tavLst>
                                        <p:tav tm="0">
                                          <p:val>
                                            <p:strVal val="1+#ppt_h/2"/>
                                          </p:val>
                                        </p:tav>
                                        <p:tav tm="100000">
                                          <p:val>
                                            <p:strVal val="#ppt_y"/>
                                          </p:val>
                                        </p:tav>
                                      </p:tavLst>
                                    </p:anim>
                                  </p:childTnLst>
                                </p:cTn>
                              </p:par>
                              <p:par>
                                <p:cTn id="43" presetID="2" presetClass="entr" presetSubtype="4" fill="hold" grpId="0" nodeType="withEffect">
                                  <p:stCondLst>
                                    <p:cond delay="0"/>
                                  </p:stCondLst>
                                  <p:childTnLst>
                                    <p:set>
                                      <p:cBhvr>
                                        <p:cTn id="44" dur="1" fill="hold">
                                          <p:stCondLst>
                                            <p:cond delay="0"/>
                                          </p:stCondLst>
                                        </p:cTn>
                                        <p:tgtEl>
                                          <p:spTgt spid="27"/>
                                        </p:tgtEl>
                                        <p:attrNameLst>
                                          <p:attrName>style.visibility</p:attrName>
                                        </p:attrNameLst>
                                      </p:cBhvr>
                                      <p:to>
                                        <p:strVal val="visible"/>
                                      </p:to>
                                    </p:set>
                                    <p:anim calcmode="lin" valueType="num">
                                      <p:cBhvr additive="base">
                                        <p:cTn id="45" dur="500" fill="hold"/>
                                        <p:tgtEl>
                                          <p:spTgt spid="27"/>
                                        </p:tgtEl>
                                        <p:attrNameLst>
                                          <p:attrName>ppt_x</p:attrName>
                                        </p:attrNameLst>
                                      </p:cBhvr>
                                      <p:tavLst>
                                        <p:tav tm="0">
                                          <p:val>
                                            <p:strVal val="#ppt_x"/>
                                          </p:val>
                                        </p:tav>
                                        <p:tav tm="100000">
                                          <p:val>
                                            <p:strVal val="#ppt_x"/>
                                          </p:val>
                                        </p:tav>
                                      </p:tavLst>
                                    </p:anim>
                                    <p:anim calcmode="lin" valueType="num">
                                      <p:cBhvr additive="base">
                                        <p:cTn id="46" dur="500" fill="hold"/>
                                        <p:tgtEl>
                                          <p:spTgt spid="27"/>
                                        </p:tgtEl>
                                        <p:attrNameLst>
                                          <p:attrName>ppt_y</p:attrName>
                                        </p:attrNameLst>
                                      </p:cBhvr>
                                      <p:tavLst>
                                        <p:tav tm="0">
                                          <p:val>
                                            <p:strVal val="1+#ppt_h/2"/>
                                          </p:val>
                                        </p:tav>
                                        <p:tav tm="100000">
                                          <p:val>
                                            <p:strVal val="#ppt_y"/>
                                          </p:val>
                                        </p:tav>
                                      </p:tavLst>
                                    </p:anim>
                                  </p:childTnLst>
                                </p:cTn>
                              </p:par>
                              <p:par>
                                <p:cTn id="47" presetID="2" presetClass="entr" presetSubtype="4" fill="hold" grpId="0" nodeType="withEffect">
                                  <p:stCondLst>
                                    <p:cond delay="0"/>
                                  </p:stCondLst>
                                  <p:childTnLst>
                                    <p:set>
                                      <p:cBhvr>
                                        <p:cTn id="48" dur="1" fill="hold">
                                          <p:stCondLst>
                                            <p:cond delay="0"/>
                                          </p:stCondLst>
                                        </p:cTn>
                                        <p:tgtEl>
                                          <p:spTgt spid="29"/>
                                        </p:tgtEl>
                                        <p:attrNameLst>
                                          <p:attrName>style.visibility</p:attrName>
                                        </p:attrNameLst>
                                      </p:cBhvr>
                                      <p:to>
                                        <p:strVal val="visible"/>
                                      </p:to>
                                    </p:set>
                                    <p:anim calcmode="lin" valueType="num">
                                      <p:cBhvr additive="base">
                                        <p:cTn id="49" dur="500" fill="hold"/>
                                        <p:tgtEl>
                                          <p:spTgt spid="29"/>
                                        </p:tgtEl>
                                        <p:attrNameLst>
                                          <p:attrName>ppt_x</p:attrName>
                                        </p:attrNameLst>
                                      </p:cBhvr>
                                      <p:tavLst>
                                        <p:tav tm="0">
                                          <p:val>
                                            <p:strVal val="#ppt_x"/>
                                          </p:val>
                                        </p:tav>
                                        <p:tav tm="100000">
                                          <p:val>
                                            <p:strVal val="#ppt_x"/>
                                          </p:val>
                                        </p:tav>
                                      </p:tavLst>
                                    </p:anim>
                                    <p:anim calcmode="lin" valueType="num">
                                      <p:cBhvr additive="base">
                                        <p:cTn id="50" dur="500" fill="hold"/>
                                        <p:tgtEl>
                                          <p:spTgt spid="29"/>
                                        </p:tgtEl>
                                        <p:attrNameLst>
                                          <p:attrName>ppt_y</p:attrName>
                                        </p:attrNameLst>
                                      </p:cBhvr>
                                      <p:tavLst>
                                        <p:tav tm="0">
                                          <p:val>
                                            <p:strVal val="1+#ppt_h/2"/>
                                          </p:val>
                                        </p:tav>
                                        <p:tav tm="100000">
                                          <p:val>
                                            <p:strVal val="#ppt_y"/>
                                          </p:val>
                                        </p:tav>
                                      </p:tavLst>
                                    </p:anim>
                                  </p:childTnLst>
                                </p:cTn>
                              </p:par>
                            </p:childTnLst>
                          </p:cTn>
                        </p:par>
                        <p:par>
                          <p:cTn id="51" fill="hold">
                            <p:stCondLst>
                              <p:cond delay="500"/>
                            </p:stCondLst>
                            <p:childTnLst>
                              <p:par>
                                <p:cTn id="52" presetID="10" presetClass="entr" presetSubtype="0" fill="hold" nodeType="afterEffect">
                                  <p:stCondLst>
                                    <p:cond delay="0"/>
                                  </p:stCondLst>
                                  <p:childTnLst>
                                    <p:set>
                                      <p:cBhvr>
                                        <p:cTn id="53" dur="1" fill="hold">
                                          <p:stCondLst>
                                            <p:cond delay="0"/>
                                          </p:stCondLst>
                                        </p:cTn>
                                        <p:tgtEl>
                                          <p:spTgt spid="41"/>
                                        </p:tgtEl>
                                        <p:attrNameLst>
                                          <p:attrName>style.visibility</p:attrName>
                                        </p:attrNameLst>
                                      </p:cBhvr>
                                      <p:to>
                                        <p:strVal val="visible"/>
                                      </p:to>
                                    </p:set>
                                    <p:animEffect transition="in" filter="fade">
                                      <p:cBhvr>
                                        <p:cTn id="54" dur="500"/>
                                        <p:tgtEl>
                                          <p:spTgt spid="41"/>
                                        </p:tgtEl>
                                      </p:cBhvr>
                                    </p:animEffect>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grpId="0" nodeType="clickEffect">
                                  <p:stCondLst>
                                    <p:cond delay="0"/>
                                  </p:stCondLst>
                                  <p:childTnLst>
                                    <p:set>
                                      <p:cBhvr>
                                        <p:cTn id="58" dur="1" fill="hold">
                                          <p:stCondLst>
                                            <p:cond delay="0"/>
                                          </p:stCondLst>
                                        </p:cTn>
                                        <p:tgtEl>
                                          <p:spTgt spid="18"/>
                                        </p:tgtEl>
                                        <p:attrNameLst>
                                          <p:attrName>style.visibility</p:attrName>
                                        </p:attrNameLst>
                                      </p:cBhvr>
                                      <p:to>
                                        <p:strVal val="visible"/>
                                      </p:to>
                                    </p:set>
                                    <p:anim calcmode="lin" valueType="num">
                                      <p:cBhvr additive="base">
                                        <p:cTn id="59" dur="500" fill="hold"/>
                                        <p:tgtEl>
                                          <p:spTgt spid="18"/>
                                        </p:tgtEl>
                                        <p:attrNameLst>
                                          <p:attrName>ppt_x</p:attrName>
                                        </p:attrNameLst>
                                      </p:cBhvr>
                                      <p:tavLst>
                                        <p:tav tm="0">
                                          <p:val>
                                            <p:strVal val="#ppt_x"/>
                                          </p:val>
                                        </p:tav>
                                        <p:tav tm="100000">
                                          <p:val>
                                            <p:strVal val="#ppt_x"/>
                                          </p:val>
                                        </p:tav>
                                      </p:tavLst>
                                    </p:anim>
                                    <p:anim calcmode="lin" valueType="num">
                                      <p:cBhvr additive="base">
                                        <p:cTn id="60" dur="500" fill="hold"/>
                                        <p:tgtEl>
                                          <p:spTgt spid="18"/>
                                        </p:tgtEl>
                                        <p:attrNameLst>
                                          <p:attrName>ppt_y</p:attrName>
                                        </p:attrNameLst>
                                      </p:cBhvr>
                                      <p:tavLst>
                                        <p:tav tm="0">
                                          <p:val>
                                            <p:strVal val="1+#ppt_h/2"/>
                                          </p:val>
                                        </p:tav>
                                        <p:tav tm="100000">
                                          <p:val>
                                            <p:strVal val="#ppt_y"/>
                                          </p:val>
                                        </p:tav>
                                      </p:tavLst>
                                    </p:anim>
                                  </p:childTnLst>
                                </p:cTn>
                              </p:par>
                              <p:par>
                                <p:cTn id="61" presetID="2" presetClass="entr" presetSubtype="4" fill="hold" grpId="0" nodeType="withEffect">
                                  <p:stCondLst>
                                    <p:cond delay="0"/>
                                  </p:stCondLst>
                                  <p:childTnLst>
                                    <p:set>
                                      <p:cBhvr>
                                        <p:cTn id="62" dur="1" fill="hold">
                                          <p:stCondLst>
                                            <p:cond delay="0"/>
                                          </p:stCondLst>
                                        </p:cTn>
                                        <p:tgtEl>
                                          <p:spTgt spid="21"/>
                                        </p:tgtEl>
                                        <p:attrNameLst>
                                          <p:attrName>style.visibility</p:attrName>
                                        </p:attrNameLst>
                                      </p:cBhvr>
                                      <p:to>
                                        <p:strVal val="visible"/>
                                      </p:to>
                                    </p:set>
                                    <p:anim calcmode="lin" valueType="num">
                                      <p:cBhvr additive="base">
                                        <p:cTn id="63" dur="500" fill="hold"/>
                                        <p:tgtEl>
                                          <p:spTgt spid="21"/>
                                        </p:tgtEl>
                                        <p:attrNameLst>
                                          <p:attrName>ppt_x</p:attrName>
                                        </p:attrNameLst>
                                      </p:cBhvr>
                                      <p:tavLst>
                                        <p:tav tm="0">
                                          <p:val>
                                            <p:strVal val="#ppt_x"/>
                                          </p:val>
                                        </p:tav>
                                        <p:tav tm="100000">
                                          <p:val>
                                            <p:strVal val="#ppt_x"/>
                                          </p:val>
                                        </p:tav>
                                      </p:tavLst>
                                    </p:anim>
                                    <p:anim calcmode="lin" valueType="num">
                                      <p:cBhvr additive="base">
                                        <p:cTn id="64" dur="500" fill="hold"/>
                                        <p:tgtEl>
                                          <p:spTgt spid="21"/>
                                        </p:tgtEl>
                                        <p:attrNameLst>
                                          <p:attrName>ppt_y</p:attrName>
                                        </p:attrNameLst>
                                      </p:cBhvr>
                                      <p:tavLst>
                                        <p:tav tm="0">
                                          <p:val>
                                            <p:strVal val="1+#ppt_h/2"/>
                                          </p:val>
                                        </p:tav>
                                        <p:tav tm="100000">
                                          <p:val>
                                            <p:strVal val="#ppt_y"/>
                                          </p:val>
                                        </p:tav>
                                      </p:tavLst>
                                    </p:anim>
                                  </p:childTnLst>
                                </p:cTn>
                              </p:par>
                              <p:par>
                                <p:cTn id="65" presetID="2" presetClass="entr" presetSubtype="4" fill="hold" grpId="0" nodeType="withEffect">
                                  <p:stCondLst>
                                    <p:cond delay="0"/>
                                  </p:stCondLst>
                                  <p:childTnLst>
                                    <p:set>
                                      <p:cBhvr>
                                        <p:cTn id="66" dur="1" fill="hold">
                                          <p:stCondLst>
                                            <p:cond delay="0"/>
                                          </p:stCondLst>
                                        </p:cTn>
                                        <p:tgtEl>
                                          <p:spTgt spid="31"/>
                                        </p:tgtEl>
                                        <p:attrNameLst>
                                          <p:attrName>style.visibility</p:attrName>
                                        </p:attrNameLst>
                                      </p:cBhvr>
                                      <p:to>
                                        <p:strVal val="visible"/>
                                      </p:to>
                                    </p:set>
                                    <p:anim calcmode="lin" valueType="num">
                                      <p:cBhvr additive="base">
                                        <p:cTn id="67" dur="500" fill="hold"/>
                                        <p:tgtEl>
                                          <p:spTgt spid="31"/>
                                        </p:tgtEl>
                                        <p:attrNameLst>
                                          <p:attrName>ppt_x</p:attrName>
                                        </p:attrNameLst>
                                      </p:cBhvr>
                                      <p:tavLst>
                                        <p:tav tm="0">
                                          <p:val>
                                            <p:strVal val="#ppt_x"/>
                                          </p:val>
                                        </p:tav>
                                        <p:tav tm="100000">
                                          <p:val>
                                            <p:strVal val="#ppt_x"/>
                                          </p:val>
                                        </p:tav>
                                      </p:tavLst>
                                    </p:anim>
                                    <p:anim calcmode="lin" valueType="num">
                                      <p:cBhvr additive="base">
                                        <p:cTn id="68" dur="500" fill="hold"/>
                                        <p:tgtEl>
                                          <p:spTgt spid="31"/>
                                        </p:tgtEl>
                                        <p:attrNameLst>
                                          <p:attrName>ppt_y</p:attrName>
                                        </p:attrNameLst>
                                      </p:cBhvr>
                                      <p:tavLst>
                                        <p:tav tm="0">
                                          <p:val>
                                            <p:strVal val="1+#ppt_h/2"/>
                                          </p:val>
                                        </p:tav>
                                        <p:tav tm="100000">
                                          <p:val>
                                            <p:strVal val="#ppt_y"/>
                                          </p:val>
                                        </p:tav>
                                      </p:tavLst>
                                    </p:anim>
                                  </p:childTnLst>
                                </p:cTn>
                              </p:par>
                              <p:par>
                                <p:cTn id="69" presetID="2" presetClass="entr" presetSubtype="4" fill="hold" grpId="0" nodeType="withEffect">
                                  <p:stCondLst>
                                    <p:cond delay="0"/>
                                  </p:stCondLst>
                                  <p:childTnLst>
                                    <p:set>
                                      <p:cBhvr>
                                        <p:cTn id="70" dur="1" fill="hold">
                                          <p:stCondLst>
                                            <p:cond delay="0"/>
                                          </p:stCondLst>
                                        </p:cTn>
                                        <p:tgtEl>
                                          <p:spTgt spid="30"/>
                                        </p:tgtEl>
                                        <p:attrNameLst>
                                          <p:attrName>style.visibility</p:attrName>
                                        </p:attrNameLst>
                                      </p:cBhvr>
                                      <p:to>
                                        <p:strVal val="visible"/>
                                      </p:to>
                                    </p:set>
                                    <p:anim calcmode="lin" valueType="num">
                                      <p:cBhvr additive="base">
                                        <p:cTn id="71" dur="500" fill="hold"/>
                                        <p:tgtEl>
                                          <p:spTgt spid="30"/>
                                        </p:tgtEl>
                                        <p:attrNameLst>
                                          <p:attrName>ppt_x</p:attrName>
                                        </p:attrNameLst>
                                      </p:cBhvr>
                                      <p:tavLst>
                                        <p:tav tm="0">
                                          <p:val>
                                            <p:strVal val="#ppt_x"/>
                                          </p:val>
                                        </p:tav>
                                        <p:tav tm="100000">
                                          <p:val>
                                            <p:strVal val="#ppt_x"/>
                                          </p:val>
                                        </p:tav>
                                      </p:tavLst>
                                    </p:anim>
                                    <p:anim calcmode="lin" valueType="num">
                                      <p:cBhvr additive="base">
                                        <p:cTn id="72" dur="500" fill="hold"/>
                                        <p:tgtEl>
                                          <p:spTgt spid="30"/>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32"/>
                                        </p:tgtEl>
                                        <p:attrNameLst>
                                          <p:attrName>style.visibility</p:attrName>
                                        </p:attrNameLst>
                                      </p:cBhvr>
                                      <p:to>
                                        <p:strVal val="visible"/>
                                      </p:to>
                                    </p:set>
                                    <p:anim calcmode="lin" valueType="num">
                                      <p:cBhvr additive="base">
                                        <p:cTn id="75" dur="500" fill="hold"/>
                                        <p:tgtEl>
                                          <p:spTgt spid="32"/>
                                        </p:tgtEl>
                                        <p:attrNameLst>
                                          <p:attrName>ppt_x</p:attrName>
                                        </p:attrNameLst>
                                      </p:cBhvr>
                                      <p:tavLst>
                                        <p:tav tm="0">
                                          <p:val>
                                            <p:strVal val="#ppt_x"/>
                                          </p:val>
                                        </p:tav>
                                        <p:tav tm="100000">
                                          <p:val>
                                            <p:strVal val="#ppt_x"/>
                                          </p:val>
                                        </p:tav>
                                      </p:tavLst>
                                    </p:anim>
                                    <p:anim calcmode="lin" valueType="num">
                                      <p:cBhvr additive="base">
                                        <p:cTn id="76" dur="500" fill="hold"/>
                                        <p:tgtEl>
                                          <p:spTgt spid="32"/>
                                        </p:tgtEl>
                                        <p:attrNameLst>
                                          <p:attrName>ppt_y</p:attrName>
                                        </p:attrNameLst>
                                      </p:cBhvr>
                                      <p:tavLst>
                                        <p:tav tm="0">
                                          <p:val>
                                            <p:strVal val="1+#ppt_h/2"/>
                                          </p:val>
                                        </p:tav>
                                        <p:tav tm="100000">
                                          <p:val>
                                            <p:strVal val="#ppt_y"/>
                                          </p:val>
                                        </p:tav>
                                      </p:tavLst>
                                    </p:anim>
                                  </p:childTnLst>
                                </p:cTn>
                              </p:par>
                            </p:childTnLst>
                          </p:cTn>
                        </p:par>
                        <p:par>
                          <p:cTn id="77" fill="hold">
                            <p:stCondLst>
                              <p:cond delay="500"/>
                            </p:stCondLst>
                            <p:childTnLst>
                              <p:par>
                                <p:cTn id="78" presetID="10" presetClass="entr" presetSubtype="0" fill="hold" nodeType="afterEffect">
                                  <p:stCondLst>
                                    <p:cond delay="0"/>
                                  </p:stCondLst>
                                  <p:childTnLst>
                                    <p:set>
                                      <p:cBhvr>
                                        <p:cTn id="79" dur="1" fill="hold">
                                          <p:stCondLst>
                                            <p:cond delay="0"/>
                                          </p:stCondLst>
                                        </p:cTn>
                                        <p:tgtEl>
                                          <p:spTgt spid="53"/>
                                        </p:tgtEl>
                                        <p:attrNameLst>
                                          <p:attrName>style.visibility</p:attrName>
                                        </p:attrNameLst>
                                      </p:cBhvr>
                                      <p:to>
                                        <p:strVal val="visible"/>
                                      </p:to>
                                    </p:set>
                                    <p:animEffect transition="in" filter="fade">
                                      <p:cBhvr>
                                        <p:cTn id="80" dur="500"/>
                                        <p:tgtEl>
                                          <p:spTgt spid="53"/>
                                        </p:tgtEl>
                                      </p:cBhvr>
                                    </p:animEffect>
                                  </p:childTnLst>
                                </p:cTn>
                              </p:par>
                            </p:childTnLst>
                          </p:cTn>
                        </p:par>
                        <p:par>
                          <p:cTn id="81" fill="hold">
                            <p:stCondLst>
                              <p:cond delay="1000"/>
                            </p:stCondLst>
                            <p:childTnLst>
                              <p:par>
                                <p:cTn id="82" presetID="12" presetClass="entr" presetSubtype="8" fill="hold" grpId="0" nodeType="afterEffect">
                                  <p:stCondLst>
                                    <p:cond delay="1000"/>
                                  </p:stCondLst>
                                  <p:childTnLst>
                                    <p:set>
                                      <p:cBhvr>
                                        <p:cTn id="83" dur="1" fill="hold">
                                          <p:stCondLst>
                                            <p:cond delay="0"/>
                                          </p:stCondLst>
                                        </p:cTn>
                                        <p:tgtEl>
                                          <p:spTgt spid="23"/>
                                        </p:tgtEl>
                                        <p:attrNameLst>
                                          <p:attrName>style.visibility</p:attrName>
                                        </p:attrNameLst>
                                      </p:cBhvr>
                                      <p:to>
                                        <p:strVal val="visible"/>
                                      </p:to>
                                    </p:set>
                                    <p:anim calcmode="lin" valueType="num">
                                      <p:cBhvr additive="base">
                                        <p:cTn id="84" dur="500"/>
                                        <p:tgtEl>
                                          <p:spTgt spid="23"/>
                                        </p:tgtEl>
                                        <p:attrNameLst>
                                          <p:attrName>ppt_x</p:attrName>
                                        </p:attrNameLst>
                                      </p:cBhvr>
                                      <p:tavLst>
                                        <p:tav tm="0">
                                          <p:val>
                                            <p:strVal val="#ppt_x-#ppt_w*1.125000"/>
                                          </p:val>
                                        </p:tav>
                                        <p:tav tm="100000">
                                          <p:val>
                                            <p:strVal val="#ppt_x"/>
                                          </p:val>
                                        </p:tav>
                                      </p:tavLst>
                                    </p:anim>
                                    <p:animEffect transition="in" filter="wipe(right)">
                                      <p:cBhvr>
                                        <p:cTn id="85" dur="500"/>
                                        <p:tgtEl>
                                          <p:spTgt spid="23"/>
                                        </p:tgtEl>
                                      </p:cBhvr>
                                    </p:animEffect>
                                  </p:childTnLst>
                                </p:cTn>
                              </p:par>
                            </p:childTnLst>
                          </p:cTn>
                        </p:par>
                        <p:par>
                          <p:cTn id="86" fill="hold">
                            <p:stCondLst>
                              <p:cond delay="2500"/>
                            </p:stCondLst>
                            <p:childTnLst>
                              <p:par>
                                <p:cTn id="87" presetID="10" presetClass="entr" presetSubtype="0" fill="hold" grpId="0" nodeType="afterEffect">
                                  <p:stCondLst>
                                    <p:cond delay="0"/>
                                  </p:stCondLst>
                                  <p:childTnLst>
                                    <p:set>
                                      <p:cBhvr>
                                        <p:cTn id="88" dur="1" fill="hold">
                                          <p:stCondLst>
                                            <p:cond delay="0"/>
                                          </p:stCondLst>
                                        </p:cTn>
                                        <p:tgtEl>
                                          <p:spTgt spid="34"/>
                                        </p:tgtEl>
                                        <p:attrNameLst>
                                          <p:attrName>style.visibility</p:attrName>
                                        </p:attrNameLst>
                                      </p:cBhvr>
                                      <p:to>
                                        <p:strVal val="visible"/>
                                      </p:to>
                                    </p:set>
                                    <p:animEffect transition="in" filter="fade">
                                      <p:cBhvr>
                                        <p:cTn id="89" dur="500"/>
                                        <p:tgtEl>
                                          <p:spTgt spid="34"/>
                                        </p:tgtEl>
                                      </p:cBhvr>
                                    </p:animEffect>
                                  </p:childTnLst>
                                </p:cTn>
                              </p:par>
                              <p:par>
                                <p:cTn id="90" presetID="1" presetClass="entr" presetSubtype="0" fill="hold" grpId="0" nodeType="withEffect">
                                  <p:stCondLst>
                                    <p:cond delay="0"/>
                                  </p:stCondLst>
                                  <p:childTnLst>
                                    <p:set>
                                      <p:cBhvr>
                                        <p:cTn id="91"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8" grpId="0" animBg="1"/>
      <p:bldP spid="19" grpId="0" animBg="1"/>
      <p:bldP spid="20" grpId="0" animBg="1"/>
      <p:bldP spid="21" grpId="0" animBg="1"/>
      <p:bldP spid="22" grpId="0" animBg="1"/>
      <p:bldP spid="23" grpId="0" animBg="1"/>
      <p:bldP spid="34" grpId="0" animBg="1"/>
      <p:bldP spid="33" grpId="0"/>
      <p:bldP spid="32" grpId="0"/>
      <p:bldP spid="30" grpId="0"/>
      <p:bldP spid="31" grpId="0"/>
      <p:bldP spid="29" grpId="0"/>
      <p:bldP spid="27" grpId="0"/>
      <p:bldP spid="28" grpId="0"/>
      <p:bldP spid="26" grpId="0"/>
      <p:bldP spid="24" grpId="0"/>
      <p:bldP spid="25"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5">
            <a:extLst>
              <a:ext uri="{FF2B5EF4-FFF2-40B4-BE49-F238E27FC236}">
                <a16:creationId xmlns:a16="http://schemas.microsoft.com/office/drawing/2014/main" id="{CB2CCFB2-E8B4-C1F9-1D01-153978BDD7BD}"/>
              </a:ext>
            </a:extLst>
          </p:cNvPr>
          <p:cNvSpPr>
            <a:spLocks noGrp="1"/>
          </p:cNvSpPr>
          <p:nvPr>
            <p:ph type="ctrTitle"/>
          </p:nvPr>
        </p:nvSpPr>
        <p:spPr>
          <a:xfrm>
            <a:off x="1524000" y="6858000"/>
            <a:ext cx="9144000" cy="1690254"/>
          </a:xfrm>
        </p:spPr>
        <p:txBody>
          <a:bodyPr vert="horz" lIns="0" tIns="0" rIns="0" bIns="0" rtlCol="0" anchor="t" anchorCtr="0">
            <a:normAutofit/>
          </a:bodyPr>
          <a:lstStyle/>
          <a:p>
            <a:r>
              <a:rPr lang="en-US" dirty="0"/>
              <a:t>Fix your content day competition</a:t>
            </a:r>
          </a:p>
        </p:txBody>
      </p:sp>
      <p:grpSp>
        <p:nvGrpSpPr>
          <p:cNvPr id="3" name="Group 2" descr="Fix Your Content Day 2023 details">
            <a:extLst>
              <a:ext uri="{FF2B5EF4-FFF2-40B4-BE49-F238E27FC236}">
                <a16:creationId xmlns:a16="http://schemas.microsoft.com/office/drawing/2014/main" id="{F5D76F7A-28DE-6910-3610-A45EEEF9EB1E}"/>
              </a:ext>
            </a:extLst>
          </p:cNvPr>
          <p:cNvGrpSpPr/>
          <p:nvPr/>
        </p:nvGrpSpPr>
        <p:grpSpPr>
          <a:xfrm>
            <a:off x="-160774" y="0"/>
            <a:ext cx="12191999" cy="6858000"/>
            <a:chOff x="348343" y="200297"/>
            <a:chExt cx="11634651" cy="6487886"/>
          </a:xfrm>
        </p:grpSpPr>
        <p:sp>
          <p:nvSpPr>
            <p:cNvPr id="2" name="Rectangle 1">
              <a:extLst>
                <a:ext uri="{FF2B5EF4-FFF2-40B4-BE49-F238E27FC236}">
                  <a16:creationId xmlns:a16="http://schemas.microsoft.com/office/drawing/2014/main" id="{B126C86B-BB08-79C0-D49F-9EF4750D9BC8}"/>
                </a:ext>
                <a:ext uri="{C183D7F6-B498-43B3-948B-1728B52AA6E4}">
                  <adec:decorative xmlns:adec="http://schemas.microsoft.com/office/drawing/2017/decorative" val="1"/>
                </a:ext>
              </a:extLst>
            </p:cNvPr>
            <p:cNvSpPr/>
            <p:nvPr/>
          </p:nvSpPr>
          <p:spPr>
            <a:xfrm>
              <a:off x="348343" y="200297"/>
              <a:ext cx="11634651" cy="64878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Fix Your Content Day logo">
              <a:extLst>
                <a:ext uri="{FF2B5EF4-FFF2-40B4-BE49-F238E27FC236}">
                  <a16:creationId xmlns:a16="http://schemas.microsoft.com/office/drawing/2014/main" id="{BF181C4C-1709-9443-F310-433E8B74C7BE}"/>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71791" y="797665"/>
              <a:ext cx="5292342" cy="4114800"/>
            </a:xfrm>
            <a:prstGeom prst="rect">
              <a:avLst/>
            </a:prstGeom>
          </p:spPr>
        </p:pic>
        <p:pic>
          <p:nvPicPr>
            <p:cNvPr id="5" name="Picture 4" descr="Anthology Ally logo">
              <a:extLst>
                <a:ext uri="{FF2B5EF4-FFF2-40B4-BE49-F238E27FC236}">
                  <a16:creationId xmlns:a16="http://schemas.microsoft.com/office/drawing/2014/main" id="{DDE80845-08B8-8037-7DA0-7D200A3B3D96}"/>
                </a:ext>
              </a:extLst>
            </p:cNvPr>
            <p:cNvPicPr>
              <a:picLocks noChangeAspect="1"/>
            </p:cNvPicPr>
            <p:nvPr/>
          </p:nvPicPr>
          <p:blipFill>
            <a:blip r:embed="rId4">
              <a:extLst>
                <a:ext uri="{28A0092B-C50C-407E-A947-70E740481C1C}">
                  <a14:useLocalDpi xmlns:a14="http://schemas.microsoft.com/office/drawing/2010/main"/>
                </a:ext>
              </a:extLst>
            </a:blip>
            <a:srcRect/>
            <a:stretch/>
          </p:blipFill>
          <p:spPr>
            <a:xfrm>
              <a:off x="2213366" y="5572017"/>
              <a:ext cx="2209192" cy="914400"/>
            </a:xfrm>
            <a:prstGeom prst="rect">
              <a:avLst/>
            </a:prstGeom>
          </p:spPr>
        </p:pic>
        <p:sp>
          <p:nvSpPr>
            <p:cNvPr id="10" name="TextBox 9">
              <a:extLst>
                <a:ext uri="{FF2B5EF4-FFF2-40B4-BE49-F238E27FC236}">
                  <a16:creationId xmlns:a16="http://schemas.microsoft.com/office/drawing/2014/main" id="{06E76B6A-4A0F-A14F-1EF6-BA6295C93A1D}"/>
                </a:ext>
                <a:ext uri="{C183D7F6-B498-43B3-948B-1728B52AA6E4}">
                  <adec:decorative xmlns:adec="http://schemas.microsoft.com/office/drawing/2017/decorative" val="1"/>
                </a:ext>
              </a:extLst>
            </p:cNvPr>
            <p:cNvSpPr txBox="1"/>
            <p:nvPr/>
          </p:nvSpPr>
          <p:spPr>
            <a:xfrm>
              <a:off x="6322976" y="632837"/>
              <a:ext cx="5437761" cy="1200329"/>
            </a:xfrm>
            <a:prstGeom prst="rect">
              <a:avLst/>
            </a:prstGeom>
            <a:noFill/>
          </p:spPr>
          <p:txBody>
            <a:bodyPr wrap="square">
              <a:spAutoFit/>
            </a:bodyPr>
            <a:lstStyle/>
            <a:p>
              <a:pPr algn="ctr"/>
              <a:r>
                <a:rPr lang="en-US" dirty="0">
                  <a:latin typeface="Nunito Sans Light" panose="00000400000000000000" pitchFamily="2" charset="0"/>
                  <a:ea typeface="Calibri" panose="020F0502020204030204" pitchFamily="34" charset="0"/>
                  <a:cs typeface="Calibri" panose="020F0502020204030204" pitchFamily="34" charset="0"/>
                </a:rPr>
                <a:t>A</a:t>
              </a:r>
              <a:r>
                <a:rPr lang="en-US" dirty="0">
                  <a:effectLst/>
                  <a:latin typeface="Nunito Sans Light" panose="00000400000000000000" pitchFamily="2" charset="0"/>
                  <a:ea typeface="Calibri" panose="020F0502020204030204" pitchFamily="34" charset="0"/>
                  <a:cs typeface="Calibri" panose="020F0502020204030204" pitchFamily="34" charset="0"/>
                </a:rPr>
                <a:t> 24-hour competition committed to creating accessible and more inclusive digital learning content across classrooms and institutions globally for </a:t>
              </a:r>
              <a:r>
                <a:rPr lang="en-US" dirty="0">
                  <a:effectLst/>
                  <a:latin typeface="Nunito Sans Light" panose="00000400000000000000" pitchFamily="2" charset="0"/>
                  <a:ea typeface="Calibri" panose="020F0502020204030204" pitchFamily="34" charset="0"/>
                  <a:cs typeface="Calibri" panose="020F0502020204030204" pitchFamily="34" charset="0"/>
                  <a:hlinkClick r:id="rId5"/>
                </a:rPr>
                <a:t>Global Accessibility Awareness Day (GAAD)</a:t>
              </a:r>
              <a:r>
                <a:rPr lang="en-US" dirty="0">
                  <a:effectLst/>
                  <a:latin typeface="Nunito Sans Light" panose="00000400000000000000" pitchFamily="2" charset="0"/>
                  <a:ea typeface="Calibri" panose="020F0502020204030204" pitchFamily="34" charset="0"/>
                  <a:cs typeface="Calibri" panose="020F0502020204030204" pitchFamily="34" charset="0"/>
                </a:rPr>
                <a:t>.</a:t>
              </a:r>
            </a:p>
          </p:txBody>
        </p:sp>
        <p:grpSp>
          <p:nvGrpSpPr>
            <p:cNvPr id="7" name="Group 6" descr="Calendar marked on May 18">
              <a:extLst>
                <a:ext uri="{FF2B5EF4-FFF2-40B4-BE49-F238E27FC236}">
                  <a16:creationId xmlns:a16="http://schemas.microsoft.com/office/drawing/2014/main" id="{1BDD2070-EA6E-883F-C7F4-5C41426C50E2}"/>
                </a:ext>
              </a:extLst>
            </p:cNvPr>
            <p:cNvGrpSpPr/>
            <p:nvPr/>
          </p:nvGrpSpPr>
          <p:grpSpPr>
            <a:xfrm>
              <a:off x="7897321" y="1879578"/>
              <a:ext cx="2538806" cy="2560320"/>
              <a:chOff x="7897321" y="85609"/>
              <a:chExt cx="2538806" cy="2560320"/>
            </a:xfrm>
          </p:grpSpPr>
          <p:pic>
            <p:nvPicPr>
              <p:cNvPr id="8" name="Picture 7">
                <a:extLst>
                  <a:ext uri="{FF2B5EF4-FFF2-40B4-BE49-F238E27FC236}">
                    <a16:creationId xmlns:a16="http://schemas.microsoft.com/office/drawing/2014/main" id="{8BDA915A-F52D-6FDC-1A39-53FED283745E}"/>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7897321" y="85609"/>
                <a:ext cx="2538806" cy="2560320"/>
              </a:xfrm>
              <a:prstGeom prst="rect">
                <a:avLst/>
              </a:prstGeom>
            </p:spPr>
          </p:pic>
          <p:sp>
            <p:nvSpPr>
              <p:cNvPr id="9" name="TextBox 8" descr="May 18">
                <a:extLst>
                  <a:ext uri="{FF2B5EF4-FFF2-40B4-BE49-F238E27FC236}">
                    <a16:creationId xmlns:a16="http://schemas.microsoft.com/office/drawing/2014/main" id="{98EDAEC8-6765-A667-19B3-743EEF5B9B88}"/>
                  </a:ext>
                </a:extLst>
              </p:cNvPr>
              <p:cNvSpPr txBox="1"/>
              <p:nvPr/>
            </p:nvSpPr>
            <p:spPr>
              <a:xfrm>
                <a:off x="8586116" y="504327"/>
                <a:ext cx="1161215" cy="1661993"/>
              </a:xfrm>
              <a:prstGeom prst="rect">
                <a:avLst/>
              </a:prstGeom>
              <a:noFill/>
            </p:spPr>
            <p:txBody>
              <a:bodyPr wrap="none" lIns="182880" tIns="182880" rIns="182880" bIns="182880" rtlCol="0">
                <a:spAutoFit/>
              </a:bodyPr>
              <a:lstStyle/>
              <a:p>
                <a:pPr algn="ctr"/>
                <a:r>
                  <a:rPr lang="es-CO" sz="2800" b="1" dirty="0">
                    <a:latin typeface="Nunito Sans BOLD" panose="00000800000000000000" pitchFamily="2" charset="0"/>
                  </a:rPr>
                  <a:t>MAY</a:t>
                </a:r>
                <a:endParaRPr lang="es-CO" sz="2200" b="1" dirty="0">
                  <a:latin typeface="Nunito Sans BOLD" panose="00000800000000000000" pitchFamily="2" charset="0"/>
                </a:endParaRPr>
              </a:p>
              <a:p>
                <a:pPr algn="ctr"/>
                <a:endParaRPr lang="es-CO" sz="1600" b="1" dirty="0">
                  <a:latin typeface="Nunito Sans Light" panose="00000400000000000000" pitchFamily="2" charset="0"/>
                </a:endParaRPr>
              </a:p>
              <a:p>
                <a:pPr algn="ctr"/>
                <a:r>
                  <a:rPr lang="es-CO" sz="4000" b="1" dirty="0">
                    <a:latin typeface="Nunito Sans BOLD" panose="00000800000000000000" pitchFamily="2" charset="0"/>
                  </a:rPr>
                  <a:t>18</a:t>
                </a:r>
                <a:endParaRPr lang="en-US" sz="4000" b="1" dirty="0">
                  <a:latin typeface="Nunito Sans BOLD" panose="00000800000000000000" pitchFamily="2" charset="0"/>
                </a:endParaRPr>
              </a:p>
            </p:txBody>
          </p:sp>
        </p:grpSp>
        <p:sp>
          <p:nvSpPr>
            <p:cNvPr id="13" name="TextBox 12">
              <a:extLst>
                <a:ext uri="{FF2B5EF4-FFF2-40B4-BE49-F238E27FC236}">
                  <a16:creationId xmlns:a16="http://schemas.microsoft.com/office/drawing/2014/main" id="{4D6B75FA-B176-0C0F-CDEB-540200F2090D}"/>
                </a:ext>
              </a:extLst>
            </p:cNvPr>
            <p:cNvSpPr txBox="1"/>
            <p:nvPr/>
          </p:nvSpPr>
          <p:spPr>
            <a:xfrm>
              <a:off x="7074596" y="4486310"/>
              <a:ext cx="4025461" cy="400110"/>
            </a:xfrm>
            <a:prstGeom prst="rect">
              <a:avLst/>
            </a:prstGeom>
            <a:noFill/>
          </p:spPr>
          <p:txBody>
            <a:bodyPr wrap="none" rtlCol="0">
              <a:spAutoFit/>
            </a:bodyPr>
            <a:lstStyle/>
            <a:p>
              <a:r>
                <a:rPr lang="en-US" sz="2000" b="1" dirty="0">
                  <a:latin typeface="Georgia" panose="02040502050405020303" pitchFamily="18" charset="0"/>
                </a:rPr>
                <a:t>Are you up for the challenge?</a:t>
              </a:r>
            </a:p>
          </p:txBody>
        </p:sp>
        <p:sp>
          <p:nvSpPr>
            <p:cNvPr id="11" name="TextBox 10">
              <a:extLst>
                <a:ext uri="{FF2B5EF4-FFF2-40B4-BE49-F238E27FC236}">
                  <a16:creationId xmlns:a16="http://schemas.microsoft.com/office/drawing/2014/main" id="{474870EF-74FD-6CE9-C21D-ADE3F23C4387}"/>
                </a:ext>
                <a:ext uri="{C183D7F6-B498-43B3-948B-1728B52AA6E4}">
                  <adec:decorative xmlns:adec="http://schemas.microsoft.com/office/drawing/2017/decorative" val="1"/>
                </a:ext>
              </a:extLst>
            </p:cNvPr>
            <p:cNvSpPr txBox="1"/>
            <p:nvPr/>
          </p:nvSpPr>
          <p:spPr>
            <a:xfrm>
              <a:off x="6322977" y="5901642"/>
              <a:ext cx="5437761" cy="584775"/>
            </a:xfrm>
            <a:prstGeom prst="rect">
              <a:avLst/>
            </a:prstGeom>
            <a:noFill/>
          </p:spPr>
          <p:txBody>
            <a:bodyPr wrap="square">
              <a:spAutoFit/>
            </a:bodyPr>
            <a:lstStyle/>
            <a:p>
              <a:pPr algn="ctr"/>
              <a:r>
                <a:rPr lang="en-US" sz="1600" i="1" dirty="0">
                  <a:latin typeface="Nunito Sans Light" panose="00000400000000000000" pitchFamily="2" charset="0"/>
                </a:rPr>
                <a:t>Learn tips and strategies for mobilizing team members with our </a:t>
              </a:r>
              <a:r>
                <a:rPr lang="en-US" sz="1600" i="1" dirty="0">
                  <a:latin typeface="Nunito Sans Light" panose="00000400000000000000" pitchFamily="2" charset="0"/>
                  <a:hlinkClick r:id="rId7"/>
                </a:rPr>
                <a:t>Communications Pack</a:t>
              </a:r>
              <a:r>
                <a:rPr lang="en-US" sz="1600" i="1" dirty="0">
                  <a:latin typeface="Nunito Sans Light" panose="00000400000000000000" pitchFamily="2" charset="0"/>
                </a:rPr>
                <a:t>.</a:t>
              </a:r>
              <a:endParaRPr lang="en-US" sz="1600" i="1" dirty="0"/>
            </a:p>
          </p:txBody>
        </p:sp>
      </p:grpSp>
      <p:sp>
        <p:nvSpPr>
          <p:cNvPr id="15" name="TextBox 14">
            <a:extLst>
              <a:ext uri="{FF2B5EF4-FFF2-40B4-BE49-F238E27FC236}">
                <a16:creationId xmlns:a16="http://schemas.microsoft.com/office/drawing/2014/main" id="{ABF5700F-6D16-2A29-4527-DAEA430115DE}"/>
              </a:ext>
            </a:extLst>
          </p:cNvPr>
          <p:cNvSpPr txBox="1"/>
          <p:nvPr/>
        </p:nvSpPr>
        <p:spPr>
          <a:xfrm>
            <a:off x="6976997" y="5120688"/>
            <a:ext cx="3807913" cy="369332"/>
          </a:xfrm>
          <a:prstGeom prst="rect">
            <a:avLst/>
          </a:prstGeom>
          <a:noFill/>
        </p:spPr>
        <p:txBody>
          <a:bodyPr wrap="square">
            <a:spAutoFit/>
          </a:bodyPr>
          <a:lstStyle/>
          <a:p>
            <a:pPr algn="ctr"/>
            <a:r>
              <a:rPr lang="en-US" dirty="0">
                <a:hlinkClick r:id="rId8"/>
              </a:rPr>
              <a:t>https://www.anthology.com/fycd</a:t>
            </a:r>
            <a:endParaRPr lang="en-US" dirty="0"/>
          </a:p>
        </p:txBody>
      </p:sp>
    </p:spTree>
    <p:extLst>
      <p:ext uri="{BB962C8B-B14F-4D97-AF65-F5344CB8AC3E}">
        <p14:creationId xmlns:p14="http://schemas.microsoft.com/office/powerpoint/2010/main" val="167900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0AF5B3-A1A0-B47A-0A0C-1EB42B71763E}"/>
              </a:ext>
            </a:extLst>
          </p:cNvPr>
          <p:cNvSpPr>
            <a:spLocks noGrp="1"/>
          </p:cNvSpPr>
          <p:nvPr>
            <p:ph type="title"/>
          </p:nvPr>
        </p:nvSpPr>
        <p:spPr/>
        <p:txBody>
          <a:bodyPr/>
          <a:lstStyle/>
          <a:p>
            <a:r>
              <a:rPr lang="en-US" b="1" dirty="0"/>
              <a:t>Ally Components</a:t>
            </a:r>
            <a:br>
              <a:rPr lang="en-US" b="1" dirty="0"/>
            </a:br>
            <a:endParaRPr lang="en-US" dirty="0"/>
          </a:p>
        </p:txBody>
      </p:sp>
      <p:pic>
        <p:nvPicPr>
          <p:cNvPr id="4" name="Picture 3" descr="A laptop displaying the alternative formats menu" title="Alternative formats">
            <a:extLst>
              <a:ext uri="{FF2B5EF4-FFF2-40B4-BE49-F238E27FC236}">
                <a16:creationId xmlns:a16="http://schemas.microsoft.com/office/drawing/2014/main" id="{2E3F1584-CB7D-E3D9-D00C-C63E06831A48}"/>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91603" y="959317"/>
            <a:ext cx="3618486" cy="2481256"/>
          </a:xfrm>
          <a:prstGeom prst="rect">
            <a:avLst/>
          </a:prstGeom>
        </p:spPr>
      </p:pic>
      <p:sp>
        <p:nvSpPr>
          <p:cNvPr id="12" name="Rectangle 11">
            <a:extLst>
              <a:ext uri="{FF2B5EF4-FFF2-40B4-BE49-F238E27FC236}">
                <a16:creationId xmlns:a16="http://schemas.microsoft.com/office/drawing/2014/main" id="{C2F957A8-B0E3-1185-8C30-FD9B35128CD8}"/>
              </a:ext>
              <a:ext uri="{C183D7F6-B498-43B3-948B-1728B52AA6E4}">
                <adec:decorative xmlns:adec="http://schemas.microsoft.com/office/drawing/2017/decorative" val="1"/>
              </a:ext>
            </a:extLst>
          </p:cNvPr>
          <p:cNvSpPr/>
          <p:nvPr/>
        </p:nvSpPr>
        <p:spPr>
          <a:xfrm>
            <a:off x="412006" y="3702391"/>
            <a:ext cx="2746753" cy="2379403"/>
          </a:xfrm>
          <a:prstGeom prst="rect">
            <a:avLst/>
          </a:prstGeom>
          <a:solidFill>
            <a:schemeClr val="bg1"/>
          </a:solidFill>
          <a:ln w="12700" cap="sq">
            <a:noFill/>
            <a:miter lim="800000"/>
          </a:ln>
        </p:spPr>
        <p:txBody>
          <a:bodyPr wrap="square" lIns="137160" tIns="137160" rIns="137160" bIns="137160" rtlCol="0">
            <a:noAutofit/>
          </a:bodyPr>
          <a:lstStyle/>
          <a:p>
            <a:r>
              <a:rPr lang="en-US" sz="1600" b="1" dirty="0">
                <a:latin typeface="Helvetica" pitchFamily="2" charset="0"/>
              </a:rPr>
              <a:t>Alternative Formats</a:t>
            </a:r>
            <a:br>
              <a:rPr lang="en-US" sz="1600" b="1" dirty="0">
                <a:latin typeface="Helvetica" pitchFamily="2" charset="0"/>
              </a:rPr>
            </a:br>
            <a:endParaRPr lang="en-US" sz="1600" dirty="0">
              <a:latin typeface="Helvetica" pitchFamily="2" charset="0"/>
            </a:endParaRPr>
          </a:p>
          <a:p>
            <a:pPr>
              <a:lnSpc>
                <a:spcPts val="2000"/>
              </a:lnSpc>
            </a:pPr>
            <a:r>
              <a:rPr lang="en-US" sz="1600" dirty="0">
                <a:latin typeface="Helvetica" pitchFamily="2" charset="0"/>
              </a:rPr>
              <a:t>Automatically provide alternate formats for web pages and embedded media to provide more flexibility to your visitors</a:t>
            </a:r>
          </a:p>
          <a:p>
            <a:pPr>
              <a:lnSpc>
                <a:spcPts val="2000"/>
              </a:lnSpc>
            </a:pPr>
            <a:endParaRPr lang="en-US" sz="1600" dirty="0"/>
          </a:p>
        </p:txBody>
      </p:sp>
      <p:pic>
        <p:nvPicPr>
          <p:cNvPr id="5" name="Picture 4" descr="A laptop displaying the instructor feedback" title="Feedback">
            <a:extLst>
              <a:ext uri="{FF2B5EF4-FFF2-40B4-BE49-F238E27FC236}">
                <a16:creationId xmlns:a16="http://schemas.microsoft.com/office/drawing/2014/main" id="{8FEE0B16-B9D8-3698-8EB8-0A6D8F96A71D}"/>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4110089" y="959316"/>
            <a:ext cx="3618486" cy="2481257"/>
          </a:xfrm>
          <a:prstGeom prst="rect">
            <a:avLst/>
          </a:prstGeom>
        </p:spPr>
      </p:pic>
      <p:sp>
        <p:nvSpPr>
          <p:cNvPr id="17" name="Rectangle 16">
            <a:extLst>
              <a:ext uri="{FF2B5EF4-FFF2-40B4-BE49-F238E27FC236}">
                <a16:creationId xmlns:a16="http://schemas.microsoft.com/office/drawing/2014/main" id="{0DC20C6D-1CDE-2830-99C9-A3E0848F9C0B}"/>
              </a:ext>
              <a:ext uri="{C183D7F6-B498-43B3-948B-1728B52AA6E4}">
                <adec:decorative xmlns:adec="http://schemas.microsoft.com/office/drawing/2017/decorative" val="1"/>
              </a:ext>
            </a:extLst>
          </p:cNvPr>
          <p:cNvSpPr/>
          <p:nvPr/>
        </p:nvSpPr>
        <p:spPr>
          <a:xfrm>
            <a:off x="4110089" y="3702390"/>
            <a:ext cx="2877120" cy="2396709"/>
          </a:xfrm>
          <a:prstGeom prst="rect">
            <a:avLst/>
          </a:prstGeom>
          <a:solidFill>
            <a:schemeClr val="bg1"/>
          </a:solidFill>
          <a:ln w="12700" cap="sq">
            <a:noFill/>
            <a:miter lim="800000"/>
          </a:ln>
        </p:spPr>
        <p:txBody>
          <a:bodyPr wrap="square" lIns="137160" tIns="137160" rIns="137160" bIns="137160" rtlCol="0">
            <a:noAutofit/>
          </a:bodyPr>
          <a:lstStyle/>
          <a:p>
            <a:r>
              <a:rPr lang="en-US" sz="1600" b="1" dirty="0">
                <a:latin typeface="Helvetica" pitchFamily="2" charset="0"/>
              </a:rPr>
              <a:t>Content Creator Feedback</a:t>
            </a:r>
          </a:p>
          <a:p>
            <a:br>
              <a:rPr lang="en-US" sz="1600" dirty="0">
                <a:latin typeface="Helvetica" pitchFamily="2" charset="0"/>
              </a:rPr>
            </a:br>
            <a:r>
              <a:rPr lang="en-US" sz="1600" dirty="0">
                <a:latin typeface="Helvetica" pitchFamily="2" charset="0"/>
              </a:rPr>
              <a:t>Educate and increase awareness with detailed guidance to help improve content.</a:t>
            </a:r>
          </a:p>
          <a:p>
            <a:endParaRPr lang="en-US" sz="1600" dirty="0"/>
          </a:p>
          <a:p>
            <a:endParaRPr lang="en-US" sz="1600" dirty="0"/>
          </a:p>
        </p:txBody>
      </p:sp>
      <p:grpSp>
        <p:nvGrpSpPr>
          <p:cNvPr id="6" name="Group 5" descr="Reporting&#10;&#10;A laptop showing Ally's institutional reporting">
            <a:extLst>
              <a:ext uri="{FF2B5EF4-FFF2-40B4-BE49-F238E27FC236}">
                <a16:creationId xmlns:a16="http://schemas.microsoft.com/office/drawing/2014/main" id="{58AB1284-9FB0-4CB9-2A4F-670EC35CD43C}"/>
              </a:ext>
            </a:extLst>
          </p:cNvPr>
          <p:cNvGrpSpPr/>
          <p:nvPr/>
        </p:nvGrpSpPr>
        <p:grpSpPr>
          <a:xfrm>
            <a:off x="8006871" y="959316"/>
            <a:ext cx="3443008" cy="2481257"/>
            <a:chOff x="6287198" y="1654906"/>
            <a:chExt cx="2234854" cy="1526854"/>
          </a:xfrm>
        </p:grpSpPr>
        <p:pic>
          <p:nvPicPr>
            <p:cNvPr id="7" name="Picture 6" descr="A laptop displaying the instructor feedback" title="Feedback">
              <a:extLst>
                <a:ext uri="{FF2B5EF4-FFF2-40B4-BE49-F238E27FC236}">
                  <a16:creationId xmlns:a16="http://schemas.microsoft.com/office/drawing/2014/main" id="{49C6AE8D-8783-10C9-E508-BE361A5156C5}"/>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295399" y="1654906"/>
              <a:ext cx="2226653" cy="1526854"/>
            </a:xfrm>
            <a:prstGeom prst="rect">
              <a:avLst/>
            </a:prstGeom>
          </p:spPr>
        </p:pic>
        <p:pic>
          <p:nvPicPr>
            <p:cNvPr id="8" name="Picture 7">
              <a:extLst>
                <a:ext uri="{FF2B5EF4-FFF2-40B4-BE49-F238E27FC236}">
                  <a16:creationId xmlns:a16="http://schemas.microsoft.com/office/drawing/2014/main" id="{0B100317-CAF2-8759-CEFB-655F114A84B2}"/>
                </a:ext>
                <a:ext uri="{C183D7F6-B498-43B3-948B-1728B52AA6E4}">
                  <adec:decorative xmlns:adec="http://schemas.microsoft.com/office/drawing/2017/decorative" val="1"/>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t="-1"/>
            <a:stretch/>
          </p:blipFill>
          <p:spPr>
            <a:xfrm>
              <a:off x="6287198" y="1762917"/>
              <a:ext cx="1860411" cy="1255705"/>
            </a:xfrm>
            <a:prstGeom prst="rect">
              <a:avLst/>
            </a:prstGeom>
          </p:spPr>
        </p:pic>
      </p:grpSp>
      <p:sp>
        <p:nvSpPr>
          <p:cNvPr id="18" name="Rectangle 17">
            <a:extLst>
              <a:ext uri="{FF2B5EF4-FFF2-40B4-BE49-F238E27FC236}">
                <a16:creationId xmlns:a16="http://schemas.microsoft.com/office/drawing/2014/main" id="{53CF3CCA-011F-904A-94CB-5CD4868D3933}"/>
              </a:ext>
              <a:ext uri="{C183D7F6-B498-43B3-948B-1728B52AA6E4}">
                <adec:decorative xmlns:adec="http://schemas.microsoft.com/office/drawing/2017/decorative" val="1"/>
              </a:ext>
            </a:extLst>
          </p:cNvPr>
          <p:cNvSpPr/>
          <p:nvPr/>
        </p:nvSpPr>
        <p:spPr>
          <a:xfrm>
            <a:off x="7808172" y="3702389"/>
            <a:ext cx="3064841" cy="2481257"/>
          </a:xfrm>
          <a:prstGeom prst="rect">
            <a:avLst/>
          </a:prstGeom>
          <a:solidFill>
            <a:schemeClr val="bg1"/>
          </a:solidFill>
          <a:ln w="12700" cap="sq">
            <a:noFill/>
            <a:miter lim="800000"/>
          </a:ln>
        </p:spPr>
        <p:txBody>
          <a:bodyPr wrap="square" lIns="137160" tIns="137160" rIns="137160" bIns="137160" rtlCol="0">
            <a:noAutofit/>
          </a:bodyPr>
          <a:lstStyle/>
          <a:p>
            <a:r>
              <a:rPr lang="en-US" sz="1600" b="1" dirty="0">
                <a:latin typeface="Helvetica" pitchFamily="2" charset="0"/>
              </a:rPr>
              <a:t>Accessibility Report</a:t>
            </a:r>
          </a:p>
          <a:p>
            <a:br>
              <a:rPr lang="en-US" sz="1600" dirty="0">
                <a:latin typeface="Helvetica" pitchFamily="2" charset="0"/>
              </a:rPr>
            </a:br>
            <a:r>
              <a:rPr lang="en-US" sz="1600" dirty="0">
                <a:latin typeface="Helvetica" pitchFamily="2" charset="0"/>
              </a:rPr>
              <a:t>Automatically checks your website for accessibility issues and provides detailed insight into problem areas</a:t>
            </a:r>
          </a:p>
          <a:p>
            <a:endParaRPr lang="en-US" sz="1600" dirty="0"/>
          </a:p>
          <a:p>
            <a:endParaRPr lang="en-US" sz="1600" dirty="0"/>
          </a:p>
        </p:txBody>
      </p:sp>
      <p:pic>
        <p:nvPicPr>
          <p:cNvPr id="19" name="Picture 18" descr="Icon&#10;&#10;This is the Ally Logo.&#10;A white A with a figure for the holes&#10;Two green L &#10;A blue Y with a figure and a little head">
            <a:extLst>
              <a:ext uri="{FF2B5EF4-FFF2-40B4-BE49-F238E27FC236}">
                <a16:creationId xmlns:a16="http://schemas.microsoft.com/office/drawing/2014/main" id="{7E8024E4-8B24-4866-AA2E-CA8138E377FA}"/>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189562" y="6179609"/>
            <a:ext cx="2285281" cy="684515"/>
          </a:xfrm>
          <a:prstGeom prst="rect">
            <a:avLst/>
          </a:prstGeom>
        </p:spPr>
      </p:pic>
    </p:spTree>
    <p:extLst>
      <p:ext uri="{BB962C8B-B14F-4D97-AF65-F5344CB8AC3E}">
        <p14:creationId xmlns:p14="http://schemas.microsoft.com/office/powerpoint/2010/main" val="13741056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C4AE52EA-BC0D-0E73-5872-2DD2FA790098}"/>
              </a:ext>
            </a:extLst>
          </p:cNvPr>
          <p:cNvSpPr>
            <a:spLocks noGrp="1"/>
          </p:cNvSpPr>
          <p:nvPr>
            <p:ph type="title"/>
          </p:nvPr>
        </p:nvSpPr>
        <p:spPr>
          <a:xfrm>
            <a:off x="163202" y="0"/>
            <a:ext cx="11362266" cy="770669"/>
          </a:xfrm>
        </p:spPr>
        <p:txBody>
          <a:bodyPr/>
          <a:lstStyle/>
          <a:p>
            <a:r>
              <a:rPr lang="en-US" dirty="0"/>
              <a:t>Alternative Formats for Inclusive Environments</a:t>
            </a:r>
          </a:p>
        </p:txBody>
      </p:sp>
      <p:pic>
        <p:nvPicPr>
          <p:cNvPr id="3" name="Picture 2" descr="A recording of an ally environment showing a user selecting alternate formats of course content to download.">
            <a:extLst>
              <a:ext uri="{FF2B5EF4-FFF2-40B4-BE49-F238E27FC236}">
                <a16:creationId xmlns:a16="http://schemas.microsoft.com/office/drawing/2014/main" id="{3C8562BC-0031-01D8-2822-BDAA2D1FC387}"/>
              </a:ext>
            </a:extLst>
          </p:cNvPr>
          <p:cNvPicPr>
            <a:picLocks noChangeAspect="1"/>
          </p:cNvPicPr>
          <p:nvPr/>
        </p:nvPicPr>
        <p:blipFill>
          <a:blip r:embed="rId3"/>
          <a:stretch>
            <a:fillRect/>
          </a:stretch>
        </p:blipFill>
        <p:spPr>
          <a:xfrm>
            <a:off x="0" y="1142401"/>
            <a:ext cx="12192000" cy="5715599"/>
          </a:xfrm>
          <a:prstGeom prst="rect">
            <a:avLst/>
          </a:prstGeom>
        </p:spPr>
      </p:pic>
    </p:spTree>
    <p:extLst>
      <p:ext uri="{BB962C8B-B14F-4D97-AF65-F5344CB8AC3E}">
        <p14:creationId xmlns:p14="http://schemas.microsoft.com/office/powerpoint/2010/main" val="9307338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nstructor Feedback</a:t>
            </a:r>
          </a:p>
        </p:txBody>
      </p:sp>
      <p:sp>
        <p:nvSpPr>
          <p:cNvPr id="3" name="Content Placeholder 2"/>
          <p:cNvSpPr>
            <a:spLocks noGrp="1"/>
          </p:cNvSpPr>
          <p:nvPr>
            <p:ph idx="10"/>
          </p:nvPr>
        </p:nvSpPr>
        <p:spPr/>
        <p:txBody>
          <a:bodyPr/>
          <a:lstStyle/>
          <a:p>
            <a:r>
              <a:rPr lang="en-US"/>
              <a:t>Identify an Issue</a:t>
            </a:r>
          </a:p>
          <a:p>
            <a:pPr lvl="1"/>
            <a:r>
              <a:rPr lang="en-US"/>
              <a:t>Based on WCAG 2.1 (Web Content Accessibility Guidelines)</a:t>
            </a:r>
          </a:p>
        </p:txBody>
      </p:sp>
      <p:sp>
        <p:nvSpPr>
          <p:cNvPr id="4" name="Content Placeholder 3"/>
          <p:cNvSpPr>
            <a:spLocks noGrp="1"/>
          </p:cNvSpPr>
          <p:nvPr>
            <p:ph idx="11"/>
          </p:nvPr>
        </p:nvSpPr>
        <p:spPr/>
        <p:txBody>
          <a:bodyPr/>
          <a:lstStyle/>
          <a:p>
            <a:r>
              <a:rPr lang="en-US"/>
              <a:t>Give Guidance</a:t>
            </a:r>
          </a:p>
          <a:p>
            <a:pPr lvl="1"/>
            <a:r>
              <a:rPr lang="en-US"/>
              <a:t>How to solve or prevent the issue</a:t>
            </a:r>
          </a:p>
        </p:txBody>
      </p:sp>
      <p:sp>
        <p:nvSpPr>
          <p:cNvPr id="5" name="Content Placeholder 4"/>
          <p:cNvSpPr>
            <a:spLocks noGrp="1"/>
          </p:cNvSpPr>
          <p:nvPr>
            <p:ph idx="12"/>
          </p:nvPr>
        </p:nvSpPr>
        <p:spPr/>
        <p:txBody>
          <a:bodyPr/>
          <a:lstStyle/>
          <a:p>
            <a:r>
              <a:rPr lang="en-US"/>
              <a:t>Quick Fix</a:t>
            </a:r>
          </a:p>
          <a:p>
            <a:pPr lvl="1"/>
            <a:r>
              <a:rPr lang="en-US"/>
              <a:t>With a couple of clicks, fix the issue</a:t>
            </a:r>
          </a:p>
        </p:txBody>
      </p:sp>
      <p:sp>
        <p:nvSpPr>
          <p:cNvPr id="6" name="Freeform 413">
            <a:extLst>
              <a:ext uri="{FF2B5EF4-FFF2-40B4-BE49-F238E27FC236}">
                <a16:creationId xmlns:a16="http://schemas.microsoft.com/office/drawing/2014/main" id="{CC6EBDA7-33F7-739D-4923-9D8F8AA6C698}"/>
              </a:ext>
              <a:ext uri="{C183D7F6-B498-43B3-948B-1728B52AA6E4}">
                <adec:decorative xmlns:adec="http://schemas.microsoft.com/office/drawing/2017/decorative" val="1"/>
              </a:ext>
            </a:extLst>
          </p:cNvPr>
          <p:cNvSpPr>
            <a:spLocks noChangeAspect="1" noEditPoints="1"/>
          </p:cNvSpPr>
          <p:nvPr/>
        </p:nvSpPr>
        <p:spPr bwMode="auto">
          <a:xfrm>
            <a:off x="1463335" y="3959481"/>
            <a:ext cx="1110375" cy="1170659"/>
          </a:xfrm>
          <a:custGeom>
            <a:avLst/>
            <a:gdLst>
              <a:gd name="T0" fmla="*/ 2585 w 6152"/>
              <a:gd name="T1" fmla="*/ 4662 h 6486"/>
              <a:gd name="T2" fmla="*/ 1047 w 6152"/>
              <a:gd name="T3" fmla="*/ 4541 h 6486"/>
              <a:gd name="T4" fmla="*/ 2585 w 6152"/>
              <a:gd name="T5" fmla="*/ 4421 h 6486"/>
              <a:gd name="T6" fmla="*/ 2707 w 6152"/>
              <a:gd name="T7" fmla="*/ 4541 h 6486"/>
              <a:gd name="T8" fmla="*/ 1047 w 6152"/>
              <a:gd name="T9" fmla="*/ 3750 h 6486"/>
              <a:gd name="T10" fmla="*/ 1168 w 6152"/>
              <a:gd name="T11" fmla="*/ 3883 h 6486"/>
              <a:gd name="T12" fmla="*/ 2718 w 6152"/>
              <a:gd name="T13" fmla="*/ 3762 h 6486"/>
              <a:gd name="T14" fmla="*/ 2596 w 6152"/>
              <a:gd name="T15" fmla="*/ 3642 h 6486"/>
              <a:gd name="T16" fmla="*/ 1047 w 6152"/>
              <a:gd name="T17" fmla="*/ 2972 h 6486"/>
              <a:gd name="T18" fmla="*/ 1169 w 6152"/>
              <a:gd name="T19" fmla="*/ 3104 h 6486"/>
              <a:gd name="T20" fmla="*/ 3112 w 6152"/>
              <a:gd name="T21" fmla="*/ 2984 h 6486"/>
              <a:gd name="T22" fmla="*/ 2992 w 6152"/>
              <a:gd name="T23" fmla="*/ 2863 h 6486"/>
              <a:gd name="T24" fmla="*/ 4157 w 6152"/>
              <a:gd name="T25" fmla="*/ 2218 h 6486"/>
              <a:gd name="T26" fmla="*/ 4026 w 6152"/>
              <a:gd name="T27" fmla="*/ 2074 h 6486"/>
              <a:gd name="T28" fmla="*/ 1038 w 6152"/>
              <a:gd name="T29" fmla="*/ 2205 h 6486"/>
              <a:gd name="T30" fmla="*/ 1169 w 6152"/>
              <a:gd name="T31" fmla="*/ 2336 h 6486"/>
              <a:gd name="T32" fmla="*/ 5687 w 6152"/>
              <a:gd name="T33" fmla="*/ 6018 h 6486"/>
              <a:gd name="T34" fmla="*/ 5195 w 6152"/>
              <a:gd name="T35" fmla="*/ 5721 h 6486"/>
              <a:gd name="T36" fmla="*/ 5005 w 6152"/>
              <a:gd name="T37" fmla="*/ 6296 h 6486"/>
              <a:gd name="T38" fmla="*/ 649 w 6152"/>
              <a:gd name="T39" fmla="*/ 6486 h 6486"/>
              <a:gd name="T40" fmla="*/ 148 w 6152"/>
              <a:gd name="T41" fmla="*/ 6249 h 6486"/>
              <a:gd name="T42" fmla="*/ 4 w 6152"/>
              <a:gd name="T43" fmla="*/ 583 h 6486"/>
              <a:gd name="T44" fmla="*/ 286 w 6152"/>
              <a:gd name="T45" fmla="*/ 111 h 6486"/>
              <a:gd name="T46" fmla="*/ 3783 w 6152"/>
              <a:gd name="T47" fmla="*/ 1 h 6486"/>
              <a:gd name="T48" fmla="*/ 3843 w 6152"/>
              <a:gd name="T49" fmla="*/ 25 h 6486"/>
              <a:gd name="T50" fmla="*/ 5170 w 6152"/>
              <a:gd name="T51" fmla="*/ 1350 h 6486"/>
              <a:gd name="T52" fmla="*/ 5190 w 6152"/>
              <a:gd name="T53" fmla="*/ 1392 h 6486"/>
              <a:gd name="T54" fmla="*/ 5349 w 6152"/>
              <a:gd name="T55" fmla="*/ 3149 h 6486"/>
              <a:gd name="T56" fmla="*/ 5678 w 6152"/>
              <a:gd name="T57" fmla="*/ 3697 h 6486"/>
              <a:gd name="T58" fmla="*/ 5742 w 6152"/>
              <a:gd name="T59" fmla="*/ 4328 h 6486"/>
              <a:gd name="T60" fmla="*/ 6047 w 6152"/>
              <a:gd name="T61" fmla="*/ 5260 h 6486"/>
              <a:gd name="T62" fmla="*/ 6144 w 6152"/>
              <a:gd name="T63" fmla="*/ 5642 h 6486"/>
              <a:gd name="T64" fmla="*/ 4197 w 6152"/>
              <a:gd name="T65" fmla="*/ 2964 h 6486"/>
              <a:gd name="T66" fmla="*/ 3527 w 6152"/>
              <a:gd name="T67" fmla="*/ 3235 h 6486"/>
              <a:gd name="T68" fmla="*/ 3110 w 6152"/>
              <a:gd name="T69" fmla="*/ 3946 h 6486"/>
              <a:gd name="T70" fmla="*/ 3129 w 6152"/>
              <a:gd name="T71" fmla="*/ 4456 h 6486"/>
              <a:gd name="T72" fmla="*/ 3668 w 6152"/>
              <a:gd name="T73" fmla="*/ 5179 h 6486"/>
              <a:gd name="T74" fmla="*/ 4288 w 6152"/>
              <a:gd name="T75" fmla="*/ 5353 h 6486"/>
              <a:gd name="T76" fmla="*/ 4883 w 6152"/>
              <a:gd name="T77" fmla="*/ 5195 h 6486"/>
              <a:gd name="T78" fmla="*/ 5320 w 6152"/>
              <a:gd name="T79" fmla="*/ 4764 h 6486"/>
              <a:gd name="T80" fmla="*/ 5486 w 6152"/>
              <a:gd name="T81" fmla="*/ 4197 h 6486"/>
              <a:gd name="T82" fmla="*/ 5368 w 6152"/>
              <a:gd name="T83" fmla="*/ 3638 h 6486"/>
              <a:gd name="T84" fmla="*/ 4644 w 6152"/>
              <a:gd name="T85" fmla="*/ 3015 h 6486"/>
              <a:gd name="T86" fmla="*/ 4935 w 6152"/>
              <a:gd name="T87" fmla="*/ 5837 h 6486"/>
              <a:gd name="T88" fmla="*/ 4288 w 6152"/>
              <a:gd name="T89" fmla="*/ 5619 h 6486"/>
              <a:gd name="T90" fmla="*/ 3695 w 6152"/>
              <a:gd name="T91" fmla="*/ 5495 h 6486"/>
              <a:gd name="T92" fmla="*/ 3203 w 6152"/>
              <a:gd name="T93" fmla="*/ 5138 h 6486"/>
              <a:gd name="T94" fmla="*/ 2887 w 6152"/>
              <a:gd name="T95" fmla="*/ 4583 h 6486"/>
              <a:gd name="T96" fmla="*/ 2835 w 6152"/>
              <a:gd name="T97" fmla="*/ 3976 h 6486"/>
              <a:gd name="T98" fmla="*/ 3051 w 6152"/>
              <a:gd name="T99" fmla="*/ 3376 h 6486"/>
              <a:gd name="T100" fmla="*/ 3476 w 6152"/>
              <a:gd name="T101" fmla="*/ 2939 h 6486"/>
              <a:gd name="T102" fmla="*/ 4072 w 6152"/>
              <a:gd name="T103" fmla="*/ 2711 h 6486"/>
              <a:gd name="T104" fmla="*/ 4743 w 6152"/>
              <a:gd name="T105" fmla="*/ 2766 h 6486"/>
              <a:gd name="T106" fmla="*/ 3659 w 6152"/>
              <a:gd name="T107" fmla="*/ 1499 h 6486"/>
              <a:gd name="T108" fmla="*/ 481 w 6152"/>
              <a:gd name="T109" fmla="*/ 298 h 6486"/>
              <a:gd name="T110" fmla="*/ 272 w 6152"/>
              <a:gd name="T111" fmla="*/ 551 h 6486"/>
              <a:gd name="T112" fmla="*/ 316 w 6152"/>
              <a:gd name="T113" fmla="*/ 6039 h 6486"/>
              <a:gd name="T114" fmla="*/ 590 w 6152"/>
              <a:gd name="T115" fmla="*/ 6222 h 6486"/>
              <a:gd name="T116" fmla="*/ 4779 w 6152"/>
              <a:gd name="T117" fmla="*/ 6150 h 6486"/>
              <a:gd name="T118" fmla="*/ 4935 w 6152"/>
              <a:gd name="T119" fmla="*/ 5858 h 6486"/>
              <a:gd name="T120" fmla="*/ 5560 w 6152"/>
              <a:gd name="T121" fmla="*/ 5708 h 6486"/>
              <a:gd name="T122" fmla="*/ 5853 w 6152"/>
              <a:gd name="T123" fmla="*/ 5663 h 6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52" h="6486">
                <a:moveTo>
                  <a:pt x="2707" y="4541"/>
                </a:moveTo>
                <a:lnTo>
                  <a:pt x="2707" y="4541"/>
                </a:lnTo>
                <a:lnTo>
                  <a:pt x="2706" y="4553"/>
                </a:lnTo>
                <a:lnTo>
                  <a:pt x="2704" y="4565"/>
                </a:lnTo>
                <a:lnTo>
                  <a:pt x="2701" y="4577"/>
                </a:lnTo>
                <a:lnTo>
                  <a:pt x="2697" y="4588"/>
                </a:lnTo>
                <a:lnTo>
                  <a:pt x="2692" y="4599"/>
                </a:lnTo>
                <a:lnTo>
                  <a:pt x="2686" y="4609"/>
                </a:lnTo>
                <a:lnTo>
                  <a:pt x="2679" y="4618"/>
                </a:lnTo>
                <a:lnTo>
                  <a:pt x="2671" y="4627"/>
                </a:lnTo>
                <a:lnTo>
                  <a:pt x="2662" y="4634"/>
                </a:lnTo>
                <a:lnTo>
                  <a:pt x="2654" y="4641"/>
                </a:lnTo>
                <a:lnTo>
                  <a:pt x="2643" y="4647"/>
                </a:lnTo>
                <a:lnTo>
                  <a:pt x="2633" y="4652"/>
                </a:lnTo>
                <a:lnTo>
                  <a:pt x="2621" y="4657"/>
                </a:lnTo>
                <a:lnTo>
                  <a:pt x="2611" y="4659"/>
                </a:lnTo>
                <a:lnTo>
                  <a:pt x="2599" y="4662"/>
                </a:lnTo>
                <a:lnTo>
                  <a:pt x="2585" y="4662"/>
                </a:lnTo>
                <a:lnTo>
                  <a:pt x="1168" y="4662"/>
                </a:lnTo>
                <a:lnTo>
                  <a:pt x="1168" y="4662"/>
                </a:lnTo>
                <a:lnTo>
                  <a:pt x="1156" y="4662"/>
                </a:lnTo>
                <a:lnTo>
                  <a:pt x="1144" y="4659"/>
                </a:lnTo>
                <a:lnTo>
                  <a:pt x="1133" y="4657"/>
                </a:lnTo>
                <a:lnTo>
                  <a:pt x="1121" y="4652"/>
                </a:lnTo>
                <a:lnTo>
                  <a:pt x="1110" y="4647"/>
                </a:lnTo>
                <a:lnTo>
                  <a:pt x="1100" y="4641"/>
                </a:lnTo>
                <a:lnTo>
                  <a:pt x="1091" y="4634"/>
                </a:lnTo>
                <a:lnTo>
                  <a:pt x="1082" y="4627"/>
                </a:lnTo>
                <a:lnTo>
                  <a:pt x="1075" y="4618"/>
                </a:lnTo>
                <a:lnTo>
                  <a:pt x="1068" y="4609"/>
                </a:lnTo>
                <a:lnTo>
                  <a:pt x="1062" y="4599"/>
                </a:lnTo>
                <a:lnTo>
                  <a:pt x="1057" y="4588"/>
                </a:lnTo>
                <a:lnTo>
                  <a:pt x="1052" y="4577"/>
                </a:lnTo>
                <a:lnTo>
                  <a:pt x="1050" y="4565"/>
                </a:lnTo>
                <a:lnTo>
                  <a:pt x="1047" y="4553"/>
                </a:lnTo>
                <a:lnTo>
                  <a:pt x="1047" y="4541"/>
                </a:lnTo>
                <a:lnTo>
                  <a:pt x="1047" y="4541"/>
                </a:lnTo>
                <a:lnTo>
                  <a:pt x="1047" y="4529"/>
                </a:lnTo>
                <a:lnTo>
                  <a:pt x="1050" y="4517"/>
                </a:lnTo>
                <a:lnTo>
                  <a:pt x="1052" y="4505"/>
                </a:lnTo>
                <a:lnTo>
                  <a:pt x="1057" y="4495"/>
                </a:lnTo>
                <a:lnTo>
                  <a:pt x="1062" y="4484"/>
                </a:lnTo>
                <a:lnTo>
                  <a:pt x="1068" y="4474"/>
                </a:lnTo>
                <a:lnTo>
                  <a:pt x="1075" y="4466"/>
                </a:lnTo>
                <a:lnTo>
                  <a:pt x="1082" y="4456"/>
                </a:lnTo>
                <a:lnTo>
                  <a:pt x="1091" y="4449"/>
                </a:lnTo>
                <a:lnTo>
                  <a:pt x="1100" y="4442"/>
                </a:lnTo>
                <a:lnTo>
                  <a:pt x="1110" y="4436"/>
                </a:lnTo>
                <a:lnTo>
                  <a:pt x="1121" y="4431"/>
                </a:lnTo>
                <a:lnTo>
                  <a:pt x="1133" y="4427"/>
                </a:lnTo>
                <a:lnTo>
                  <a:pt x="1144" y="4424"/>
                </a:lnTo>
                <a:lnTo>
                  <a:pt x="1156" y="4422"/>
                </a:lnTo>
                <a:lnTo>
                  <a:pt x="1168" y="4421"/>
                </a:lnTo>
                <a:lnTo>
                  <a:pt x="2585" y="4421"/>
                </a:lnTo>
                <a:lnTo>
                  <a:pt x="2585" y="4421"/>
                </a:lnTo>
                <a:lnTo>
                  <a:pt x="2599" y="4422"/>
                </a:lnTo>
                <a:lnTo>
                  <a:pt x="2611" y="4424"/>
                </a:lnTo>
                <a:lnTo>
                  <a:pt x="2621" y="4427"/>
                </a:lnTo>
                <a:lnTo>
                  <a:pt x="2633" y="4431"/>
                </a:lnTo>
                <a:lnTo>
                  <a:pt x="2643" y="4436"/>
                </a:lnTo>
                <a:lnTo>
                  <a:pt x="2654" y="4442"/>
                </a:lnTo>
                <a:lnTo>
                  <a:pt x="2662" y="4449"/>
                </a:lnTo>
                <a:lnTo>
                  <a:pt x="2671" y="4456"/>
                </a:lnTo>
                <a:lnTo>
                  <a:pt x="2679" y="4466"/>
                </a:lnTo>
                <a:lnTo>
                  <a:pt x="2686" y="4474"/>
                </a:lnTo>
                <a:lnTo>
                  <a:pt x="2692" y="4484"/>
                </a:lnTo>
                <a:lnTo>
                  <a:pt x="2697" y="4495"/>
                </a:lnTo>
                <a:lnTo>
                  <a:pt x="2701" y="4505"/>
                </a:lnTo>
                <a:lnTo>
                  <a:pt x="2704" y="4517"/>
                </a:lnTo>
                <a:lnTo>
                  <a:pt x="2706" y="4529"/>
                </a:lnTo>
                <a:lnTo>
                  <a:pt x="2707" y="4541"/>
                </a:lnTo>
                <a:lnTo>
                  <a:pt x="2707" y="4541"/>
                </a:lnTo>
                <a:close/>
                <a:moveTo>
                  <a:pt x="2596" y="3642"/>
                </a:moveTo>
                <a:lnTo>
                  <a:pt x="1168" y="3642"/>
                </a:lnTo>
                <a:lnTo>
                  <a:pt x="1168" y="3642"/>
                </a:lnTo>
                <a:lnTo>
                  <a:pt x="1156" y="3642"/>
                </a:lnTo>
                <a:lnTo>
                  <a:pt x="1144" y="3644"/>
                </a:lnTo>
                <a:lnTo>
                  <a:pt x="1133" y="3647"/>
                </a:lnTo>
                <a:lnTo>
                  <a:pt x="1121" y="3651"/>
                </a:lnTo>
                <a:lnTo>
                  <a:pt x="1110" y="3656"/>
                </a:lnTo>
                <a:lnTo>
                  <a:pt x="1100" y="3662"/>
                </a:lnTo>
                <a:lnTo>
                  <a:pt x="1091" y="3669"/>
                </a:lnTo>
                <a:lnTo>
                  <a:pt x="1082" y="3677"/>
                </a:lnTo>
                <a:lnTo>
                  <a:pt x="1075" y="3685"/>
                </a:lnTo>
                <a:lnTo>
                  <a:pt x="1068" y="3695"/>
                </a:lnTo>
                <a:lnTo>
                  <a:pt x="1062" y="3704"/>
                </a:lnTo>
                <a:lnTo>
                  <a:pt x="1057" y="3715"/>
                </a:lnTo>
                <a:lnTo>
                  <a:pt x="1052" y="3726"/>
                </a:lnTo>
                <a:lnTo>
                  <a:pt x="1050" y="3738"/>
                </a:lnTo>
                <a:lnTo>
                  <a:pt x="1047" y="3750"/>
                </a:lnTo>
                <a:lnTo>
                  <a:pt x="1047" y="3762"/>
                </a:lnTo>
                <a:lnTo>
                  <a:pt x="1047" y="3762"/>
                </a:lnTo>
                <a:lnTo>
                  <a:pt x="1047" y="3774"/>
                </a:lnTo>
                <a:lnTo>
                  <a:pt x="1050" y="3786"/>
                </a:lnTo>
                <a:lnTo>
                  <a:pt x="1052" y="3798"/>
                </a:lnTo>
                <a:lnTo>
                  <a:pt x="1057" y="3809"/>
                </a:lnTo>
                <a:lnTo>
                  <a:pt x="1062" y="3820"/>
                </a:lnTo>
                <a:lnTo>
                  <a:pt x="1068" y="3829"/>
                </a:lnTo>
                <a:lnTo>
                  <a:pt x="1075" y="3839"/>
                </a:lnTo>
                <a:lnTo>
                  <a:pt x="1082" y="3847"/>
                </a:lnTo>
                <a:lnTo>
                  <a:pt x="1091" y="3856"/>
                </a:lnTo>
                <a:lnTo>
                  <a:pt x="1100" y="3862"/>
                </a:lnTo>
                <a:lnTo>
                  <a:pt x="1110" y="3868"/>
                </a:lnTo>
                <a:lnTo>
                  <a:pt x="1121" y="3874"/>
                </a:lnTo>
                <a:lnTo>
                  <a:pt x="1133" y="3877"/>
                </a:lnTo>
                <a:lnTo>
                  <a:pt x="1144" y="3881"/>
                </a:lnTo>
                <a:lnTo>
                  <a:pt x="1156" y="3882"/>
                </a:lnTo>
                <a:lnTo>
                  <a:pt x="1168" y="3883"/>
                </a:lnTo>
                <a:lnTo>
                  <a:pt x="2596" y="3883"/>
                </a:lnTo>
                <a:lnTo>
                  <a:pt x="2596" y="3883"/>
                </a:lnTo>
                <a:lnTo>
                  <a:pt x="2609" y="3882"/>
                </a:lnTo>
                <a:lnTo>
                  <a:pt x="2621" y="3881"/>
                </a:lnTo>
                <a:lnTo>
                  <a:pt x="2632" y="3877"/>
                </a:lnTo>
                <a:lnTo>
                  <a:pt x="2644" y="3874"/>
                </a:lnTo>
                <a:lnTo>
                  <a:pt x="2654" y="3868"/>
                </a:lnTo>
                <a:lnTo>
                  <a:pt x="2665" y="3862"/>
                </a:lnTo>
                <a:lnTo>
                  <a:pt x="2673" y="3856"/>
                </a:lnTo>
                <a:lnTo>
                  <a:pt x="2683" y="3847"/>
                </a:lnTo>
                <a:lnTo>
                  <a:pt x="2690" y="3839"/>
                </a:lnTo>
                <a:lnTo>
                  <a:pt x="2697" y="3829"/>
                </a:lnTo>
                <a:lnTo>
                  <a:pt x="2703" y="3820"/>
                </a:lnTo>
                <a:lnTo>
                  <a:pt x="2708" y="3809"/>
                </a:lnTo>
                <a:lnTo>
                  <a:pt x="2712" y="3798"/>
                </a:lnTo>
                <a:lnTo>
                  <a:pt x="2715" y="3786"/>
                </a:lnTo>
                <a:lnTo>
                  <a:pt x="2716" y="3774"/>
                </a:lnTo>
                <a:lnTo>
                  <a:pt x="2718" y="3762"/>
                </a:lnTo>
                <a:lnTo>
                  <a:pt x="2718" y="3762"/>
                </a:lnTo>
                <a:lnTo>
                  <a:pt x="2716" y="3750"/>
                </a:lnTo>
                <a:lnTo>
                  <a:pt x="2715" y="3738"/>
                </a:lnTo>
                <a:lnTo>
                  <a:pt x="2712" y="3726"/>
                </a:lnTo>
                <a:lnTo>
                  <a:pt x="2708" y="3715"/>
                </a:lnTo>
                <a:lnTo>
                  <a:pt x="2703" y="3704"/>
                </a:lnTo>
                <a:lnTo>
                  <a:pt x="2697" y="3695"/>
                </a:lnTo>
                <a:lnTo>
                  <a:pt x="2690" y="3685"/>
                </a:lnTo>
                <a:lnTo>
                  <a:pt x="2683" y="3677"/>
                </a:lnTo>
                <a:lnTo>
                  <a:pt x="2673" y="3669"/>
                </a:lnTo>
                <a:lnTo>
                  <a:pt x="2665" y="3662"/>
                </a:lnTo>
                <a:lnTo>
                  <a:pt x="2654" y="3656"/>
                </a:lnTo>
                <a:lnTo>
                  <a:pt x="2644" y="3651"/>
                </a:lnTo>
                <a:lnTo>
                  <a:pt x="2632" y="3647"/>
                </a:lnTo>
                <a:lnTo>
                  <a:pt x="2621" y="3644"/>
                </a:lnTo>
                <a:lnTo>
                  <a:pt x="2609" y="3642"/>
                </a:lnTo>
                <a:lnTo>
                  <a:pt x="2596" y="3642"/>
                </a:lnTo>
                <a:lnTo>
                  <a:pt x="2596" y="3642"/>
                </a:lnTo>
                <a:close/>
                <a:moveTo>
                  <a:pt x="2992" y="2863"/>
                </a:moveTo>
                <a:lnTo>
                  <a:pt x="1169" y="2863"/>
                </a:lnTo>
                <a:lnTo>
                  <a:pt x="1169" y="2863"/>
                </a:lnTo>
                <a:lnTo>
                  <a:pt x="1156" y="2863"/>
                </a:lnTo>
                <a:lnTo>
                  <a:pt x="1144" y="2866"/>
                </a:lnTo>
                <a:lnTo>
                  <a:pt x="1133" y="2868"/>
                </a:lnTo>
                <a:lnTo>
                  <a:pt x="1121" y="2873"/>
                </a:lnTo>
                <a:lnTo>
                  <a:pt x="1111" y="2878"/>
                </a:lnTo>
                <a:lnTo>
                  <a:pt x="1100" y="2884"/>
                </a:lnTo>
                <a:lnTo>
                  <a:pt x="1092" y="2891"/>
                </a:lnTo>
                <a:lnTo>
                  <a:pt x="1082" y="2898"/>
                </a:lnTo>
                <a:lnTo>
                  <a:pt x="1075" y="2907"/>
                </a:lnTo>
                <a:lnTo>
                  <a:pt x="1068" y="2916"/>
                </a:lnTo>
                <a:lnTo>
                  <a:pt x="1062" y="2926"/>
                </a:lnTo>
                <a:lnTo>
                  <a:pt x="1057" y="2937"/>
                </a:lnTo>
                <a:lnTo>
                  <a:pt x="1052" y="2948"/>
                </a:lnTo>
                <a:lnTo>
                  <a:pt x="1050" y="2960"/>
                </a:lnTo>
                <a:lnTo>
                  <a:pt x="1047" y="2972"/>
                </a:lnTo>
                <a:lnTo>
                  <a:pt x="1047" y="2984"/>
                </a:lnTo>
                <a:lnTo>
                  <a:pt x="1047" y="2984"/>
                </a:lnTo>
                <a:lnTo>
                  <a:pt x="1047" y="2996"/>
                </a:lnTo>
                <a:lnTo>
                  <a:pt x="1050" y="3008"/>
                </a:lnTo>
                <a:lnTo>
                  <a:pt x="1052" y="3020"/>
                </a:lnTo>
                <a:lnTo>
                  <a:pt x="1057" y="3030"/>
                </a:lnTo>
                <a:lnTo>
                  <a:pt x="1062" y="3041"/>
                </a:lnTo>
                <a:lnTo>
                  <a:pt x="1068" y="3051"/>
                </a:lnTo>
                <a:lnTo>
                  <a:pt x="1075" y="3060"/>
                </a:lnTo>
                <a:lnTo>
                  <a:pt x="1082" y="3069"/>
                </a:lnTo>
                <a:lnTo>
                  <a:pt x="1092" y="3076"/>
                </a:lnTo>
                <a:lnTo>
                  <a:pt x="1100" y="3083"/>
                </a:lnTo>
                <a:lnTo>
                  <a:pt x="1111" y="3089"/>
                </a:lnTo>
                <a:lnTo>
                  <a:pt x="1121" y="3094"/>
                </a:lnTo>
                <a:lnTo>
                  <a:pt x="1133" y="3099"/>
                </a:lnTo>
                <a:lnTo>
                  <a:pt x="1144" y="3101"/>
                </a:lnTo>
                <a:lnTo>
                  <a:pt x="1156" y="3104"/>
                </a:lnTo>
                <a:lnTo>
                  <a:pt x="1169" y="3104"/>
                </a:lnTo>
                <a:lnTo>
                  <a:pt x="2992" y="3104"/>
                </a:lnTo>
                <a:lnTo>
                  <a:pt x="2992" y="3104"/>
                </a:lnTo>
                <a:lnTo>
                  <a:pt x="3004" y="3104"/>
                </a:lnTo>
                <a:lnTo>
                  <a:pt x="3016" y="3101"/>
                </a:lnTo>
                <a:lnTo>
                  <a:pt x="3028" y="3099"/>
                </a:lnTo>
                <a:lnTo>
                  <a:pt x="3039" y="3094"/>
                </a:lnTo>
                <a:lnTo>
                  <a:pt x="3050" y="3089"/>
                </a:lnTo>
                <a:lnTo>
                  <a:pt x="3059" y="3083"/>
                </a:lnTo>
                <a:lnTo>
                  <a:pt x="3069" y="3076"/>
                </a:lnTo>
                <a:lnTo>
                  <a:pt x="3077" y="3069"/>
                </a:lnTo>
                <a:lnTo>
                  <a:pt x="3084" y="3060"/>
                </a:lnTo>
                <a:lnTo>
                  <a:pt x="3092" y="3051"/>
                </a:lnTo>
                <a:lnTo>
                  <a:pt x="3098" y="3041"/>
                </a:lnTo>
                <a:lnTo>
                  <a:pt x="3104" y="3030"/>
                </a:lnTo>
                <a:lnTo>
                  <a:pt x="3107" y="3020"/>
                </a:lnTo>
                <a:lnTo>
                  <a:pt x="3110" y="3008"/>
                </a:lnTo>
                <a:lnTo>
                  <a:pt x="3112" y="2996"/>
                </a:lnTo>
                <a:lnTo>
                  <a:pt x="3112" y="2984"/>
                </a:lnTo>
                <a:lnTo>
                  <a:pt x="3112" y="2984"/>
                </a:lnTo>
                <a:lnTo>
                  <a:pt x="3112" y="2972"/>
                </a:lnTo>
                <a:lnTo>
                  <a:pt x="3110" y="2960"/>
                </a:lnTo>
                <a:lnTo>
                  <a:pt x="3107" y="2948"/>
                </a:lnTo>
                <a:lnTo>
                  <a:pt x="3104" y="2937"/>
                </a:lnTo>
                <a:lnTo>
                  <a:pt x="3098" y="2926"/>
                </a:lnTo>
                <a:lnTo>
                  <a:pt x="3092" y="2916"/>
                </a:lnTo>
                <a:lnTo>
                  <a:pt x="3084" y="2907"/>
                </a:lnTo>
                <a:lnTo>
                  <a:pt x="3077" y="2898"/>
                </a:lnTo>
                <a:lnTo>
                  <a:pt x="3069" y="2891"/>
                </a:lnTo>
                <a:lnTo>
                  <a:pt x="3059" y="2884"/>
                </a:lnTo>
                <a:lnTo>
                  <a:pt x="3050" y="2878"/>
                </a:lnTo>
                <a:lnTo>
                  <a:pt x="3039" y="2873"/>
                </a:lnTo>
                <a:lnTo>
                  <a:pt x="3028" y="2868"/>
                </a:lnTo>
                <a:lnTo>
                  <a:pt x="3016" y="2866"/>
                </a:lnTo>
                <a:lnTo>
                  <a:pt x="3004" y="2863"/>
                </a:lnTo>
                <a:lnTo>
                  <a:pt x="2992" y="2863"/>
                </a:lnTo>
                <a:lnTo>
                  <a:pt x="2992" y="2863"/>
                </a:lnTo>
                <a:close/>
                <a:moveTo>
                  <a:pt x="1169" y="2336"/>
                </a:moveTo>
                <a:lnTo>
                  <a:pt x="4026" y="2336"/>
                </a:lnTo>
                <a:lnTo>
                  <a:pt x="4026" y="2336"/>
                </a:lnTo>
                <a:lnTo>
                  <a:pt x="4039" y="2335"/>
                </a:lnTo>
                <a:lnTo>
                  <a:pt x="4052" y="2334"/>
                </a:lnTo>
                <a:lnTo>
                  <a:pt x="4064" y="2330"/>
                </a:lnTo>
                <a:lnTo>
                  <a:pt x="4078" y="2325"/>
                </a:lnTo>
                <a:lnTo>
                  <a:pt x="4089" y="2321"/>
                </a:lnTo>
                <a:lnTo>
                  <a:pt x="4099" y="2313"/>
                </a:lnTo>
                <a:lnTo>
                  <a:pt x="4109" y="2306"/>
                </a:lnTo>
                <a:lnTo>
                  <a:pt x="4119" y="2298"/>
                </a:lnTo>
                <a:lnTo>
                  <a:pt x="4127" y="2288"/>
                </a:lnTo>
                <a:lnTo>
                  <a:pt x="4135" y="2279"/>
                </a:lnTo>
                <a:lnTo>
                  <a:pt x="4141" y="2268"/>
                </a:lnTo>
                <a:lnTo>
                  <a:pt x="4147" y="2256"/>
                </a:lnTo>
                <a:lnTo>
                  <a:pt x="4151" y="2244"/>
                </a:lnTo>
                <a:lnTo>
                  <a:pt x="4155" y="2232"/>
                </a:lnTo>
                <a:lnTo>
                  <a:pt x="4157" y="2218"/>
                </a:lnTo>
                <a:lnTo>
                  <a:pt x="4157" y="2205"/>
                </a:lnTo>
                <a:lnTo>
                  <a:pt x="4157" y="2205"/>
                </a:lnTo>
                <a:lnTo>
                  <a:pt x="4157" y="2192"/>
                </a:lnTo>
                <a:lnTo>
                  <a:pt x="4155" y="2179"/>
                </a:lnTo>
                <a:lnTo>
                  <a:pt x="4151" y="2167"/>
                </a:lnTo>
                <a:lnTo>
                  <a:pt x="4147" y="2155"/>
                </a:lnTo>
                <a:lnTo>
                  <a:pt x="4141" y="2143"/>
                </a:lnTo>
                <a:lnTo>
                  <a:pt x="4135" y="2132"/>
                </a:lnTo>
                <a:lnTo>
                  <a:pt x="4127" y="2122"/>
                </a:lnTo>
                <a:lnTo>
                  <a:pt x="4119" y="2113"/>
                </a:lnTo>
                <a:lnTo>
                  <a:pt x="4109" y="2104"/>
                </a:lnTo>
                <a:lnTo>
                  <a:pt x="4099" y="2097"/>
                </a:lnTo>
                <a:lnTo>
                  <a:pt x="4089" y="2090"/>
                </a:lnTo>
                <a:lnTo>
                  <a:pt x="4078" y="2084"/>
                </a:lnTo>
                <a:lnTo>
                  <a:pt x="4064" y="2080"/>
                </a:lnTo>
                <a:lnTo>
                  <a:pt x="4052" y="2077"/>
                </a:lnTo>
                <a:lnTo>
                  <a:pt x="4039" y="2074"/>
                </a:lnTo>
                <a:lnTo>
                  <a:pt x="4026" y="2074"/>
                </a:lnTo>
                <a:lnTo>
                  <a:pt x="1169" y="2074"/>
                </a:lnTo>
                <a:lnTo>
                  <a:pt x="1169" y="2074"/>
                </a:lnTo>
                <a:lnTo>
                  <a:pt x="1156" y="2074"/>
                </a:lnTo>
                <a:lnTo>
                  <a:pt x="1142" y="2077"/>
                </a:lnTo>
                <a:lnTo>
                  <a:pt x="1130" y="2080"/>
                </a:lnTo>
                <a:lnTo>
                  <a:pt x="1117" y="2084"/>
                </a:lnTo>
                <a:lnTo>
                  <a:pt x="1106" y="2090"/>
                </a:lnTo>
                <a:lnTo>
                  <a:pt x="1095" y="2097"/>
                </a:lnTo>
                <a:lnTo>
                  <a:pt x="1086" y="2104"/>
                </a:lnTo>
                <a:lnTo>
                  <a:pt x="1076" y="2113"/>
                </a:lnTo>
                <a:lnTo>
                  <a:pt x="1068" y="2122"/>
                </a:lnTo>
                <a:lnTo>
                  <a:pt x="1059" y="2132"/>
                </a:lnTo>
                <a:lnTo>
                  <a:pt x="1053" y="2143"/>
                </a:lnTo>
                <a:lnTo>
                  <a:pt x="1047" y="2155"/>
                </a:lnTo>
                <a:lnTo>
                  <a:pt x="1044" y="2167"/>
                </a:lnTo>
                <a:lnTo>
                  <a:pt x="1040" y="2179"/>
                </a:lnTo>
                <a:lnTo>
                  <a:pt x="1038" y="2192"/>
                </a:lnTo>
                <a:lnTo>
                  <a:pt x="1038" y="2205"/>
                </a:lnTo>
                <a:lnTo>
                  <a:pt x="1038" y="2205"/>
                </a:lnTo>
                <a:lnTo>
                  <a:pt x="1038" y="2218"/>
                </a:lnTo>
                <a:lnTo>
                  <a:pt x="1040" y="2232"/>
                </a:lnTo>
                <a:lnTo>
                  <a:pt x="1044" y="2244"/>
                </a:lnTo>
                <a:lnTo>
                  <a:pt x="1047" y="2256"/>
                </a:lnTo>
                <a:lnTo>
                  <a:pt x="1053" y="2268"/>
                </a:lnTo>
                <a:lnTo>
                  <a:pt x="1059" y="2279"/>
                </a:lnTo>
                <a:lnTo>
                  <a:pt x="1068" y="2288"/>
                </a:lnTo>
                <a:lnTo>
                  <a:pt x="1076" y="2298"/>
                </a:lnTo>
                <a:lnTo>
                  <a:pt x="1086" y="2306"/>
                </a:lnTo>
                <a:lnTo>
                  <a:pt x="1095" y="2313"/>
                </a:lnTo>
                <a:lnTo>
                  <a:pt x="1106" y="2321"/>
                </a:lnTo>
                <a:lnTo>
                  <a:pt x="1117" y="2325"/>
                </a:lnTo>
                <a:lnTo>
                  <a:pt x="1130" y="2330"/>
                </a:lnTo>
                <a:lnTo>
                  <a:pt x="1142" y="2334"/>
                </a:lnTo>
                <a:lnTo>
                  <a:pt x="1156" y="2335"/>
                </a:lnTo>
                <a:lnTo>
                  <a:pt x="1169" y="2336"/>
                </a:lnTo>
                <a:lnTo>
                  <a:pt x="1169" y="2336"/>
                </a:lnTo>
                <a:close/>
                <a:moveTo>
                  <a:pt x="6016" y="5882"/>
                </a:moveTo>
                <a:lnTo>
                  <a:pt x="6016" y="5882"/>
                </a:lnTo>
                <a:lnTo>
                  <a:pt x="5998" y="5899"/>
                </a:lnTo>
                <a:lnTo>
                  <a:pt x="5980" y="5914"/>
                </a:lnTo>
                <a:lnTo>
                  <a:pt x="5962" y="5929"/>
                </a:lnTo>
                <a:lnTo>
                  <a:pt x="5943" y="5942"/>
                </a:lnTo>
                <a:lnTo>
                  <a:pt x="5924" y="5954"/>
                </a:lnTo>
                <a:lnTo>
                  <a:pt x="5903" y="5965"/>
                </a:lnTo>
                <a:lnTo>
                  <a:pt x="5883" y="5976"/>
                </a:lnTo>
                <a:lnTo>
                  <a:pt x="5861" y="5984"/>
                </a:lnTo>
                <a:lnTo>
                  <a:pt x="5841" y="5992"/>
                </a:lnTo>
                <a:lnTo>
                  <a:pt x="5819" y="5998"/>
                </a:lnTo>
                <a:lnTo>
                  <a:pt x="5797" y="6004"/>
                </a:lnTo>
                <a:lnTo>
                  <a:pt x="5776" y="6009"/>
                </a:lnTo>
                <a:lnTo>
                  <a:pt x="5753" y="6013"/>
                </a:lnTo>
                <a:lnTo>
                  <a:pt x="5731" y="6016"/>
                </a:lnTo>
                <a:lnTo>
                  <a:pt x="5708" y="6018"/>
                </a:lnTo>
                <a:lnTo>
                  <a:pt x="5687" y="6018"/>
                </a:lnTo>
                <a:lnTo>
                  <a:pt x="5687" y="6018"/>
                </a:lnTo>
                <a:lnTo>
                  <a:pt x="5664" y="6018"/>
                </a:lnTo>
                <a:lnTo>
                  <a:pt x="5641" y="6016"/>
                </a:lnTo>
                <a:lnTo>
                  <a:pt x="5619" y="6013"/>
                </a:lnTo>
                <a:lnTo>
                  <a:pt x="5598" y="6009"/>
                </a:lnTo>
                <a:lnTo>
                  <a:pt x="5575" y="6004"/>
                </a:lnTo>
                <a:lnTo>
                  <a:pt x="5553" y="5998"/>
                </a:lnTo>
                <a:lnTo>
                  <a:pt x="5532" y="5992"/>
                </a:lnTo>
                <a:lnTo>
                  <a:pt x="5511" y="5984"/>
                </a:lnTo>
                <a:lnTo>
                  <a:pt x="5489" y="5976"/>
                </a:lnTo>
                <a:lnTo>
                  <a:pt x="5469" y="5965"/>
                </a:lnTo>
                <a:lnTo>
                  <a:pt x="5450" y="5954"/>
                </a:lnTo>
                <a:lnTo>
                  <a:pt x="5429" y="5942"/>
                </a:lnTo>
                <a:lnTo>
                  <a:pt x="5411" y="5929"/>
                </a:lnTo>
                <a:lnTo>
                  <a:pt x="5392" y="5914"/>
                </a:lnTo>
                <a:lnTo>
                  <a:pt x="5374" y="5899"/>
                </a:lnTo>
                <a:lnTo>
                  <a:pt x="5357" y="5882"/>
                </a:lnTo>
                <a:lnTo>
                  <a:pt x="5195" y="5721"/>
                </a:lnTo>
                <a:lnTo>
                  <a:pt x="5195" y="5837"/>
                </a:lnTo>
                <a:lnTo>
                  <a:pt x="5195" y="5837"/>
                </a:lnTo>
                <a:lnTo>
                  <a:pt x="5194" y="5871"/>
                </a:lnTo>
                <a:lnTo>
                  <a:pt x="5191" y="5903"/>
                </a:lnTo>
                <a:lnTo>
                  <a:pt x="5188" y="5936"/>
                </a:lnTo>
                <a:lnTo>
                  <a:pt x="5182" y="5968"/>
                </a:lnTo>
                <a:lnTo>
                  <a:pt x="5174" y="6000"/>
                </a:lnTo>
                <a:lnTo>
                  <a:pt x="5166" y="6031"/>
                </a:lnTo>
                <a:lnTo>
                  <a:pt x="5155" y="6061"/>
                </a:lnTo>
                <a:lnTo>
                  <a:pt x="5144" y="6090"/>
                </a:lnTo>
                <a:lnTo>
                  <a:pt x="5131" y="6118"/>
                </a:lnTo>
                <a:lnTo>
                  <a:pt x="5117" y="6146"/>
                </a:lnTo>
                <a:lnTo>
                  <a:pt x="5101" y="6174"/>
                </a:lnTo>
                <a:lnTo>
                  <a:pt x="5084" y="6200"/>
                </a:lnTo>
                <a:lnTo>
                  <a:pt x="5066" y="6225"/>
                </a:lnTo>
                <a:lnTo>
                  <a:pt x="5047" y="6249"/>
                </a:lnTo>
                <a:lnTo>
                  <a:pt x="5026" y="6273"/>
                </a:lnTo>
                <a:lnTo>
                  <a:pt x="5005" y="6296"/>
                </a:lnTo>
                <a:lnTo>
                  <a:pt x="4982" y="6318"/>
                </a:lnTo>
                <a:lnTo>
                  <a:pt x="4958" y="6338"/>
                </a:lnTo>
                <a:lnTo>
                  <a:pt x="4934" y="6357"/>
                </a:lnTo>
                <a:lnTo>
                  <a:pt x="4909" y="6375"/>
                </a:lnTo>
                <a:lnTo>
                  <a:pt x="4882" y="6392"/>
                </a:lnTo>
                <a:lnTo>
                  <a:pt x="4855" y="6408"/>
                </a:lnTo>
                <a:lnTo>
                  <a:pt x="4827" y="6422"/>
                </a:lnTo>
                <a:lnTo>
                  <a:pt x="4798" y="6436"/>
                </a:lnTo>
                <a:lnTo>
                  <a:pt x="4769" y="6446"/>
                </a:lnTo>
                <a:lnTo>
                  <a:pt x="4739" y="6457"/>
                </a:lnTo>
                <a:lnTo>
                  <a:pt x="4708" y="6466"/>
                </a:lnTo>
                <a:lnTo>
                  <a:pt x="4677" y="6473"/>
                </a:lnTo>
                <a:lnTo>
                  <a:pt x="4644" y="6479"/>
                </a:lnTo>
                <a:lnTo>
                  <a:pt x="4612" y="6482"/>
                </a:lnTo>
                <a:lnTo>
                  <a:pt x="4579" y="6486"/>
                </a:lnTo>
                <a:lnTo>
                  <a:pt x="4545" y="6486"/>
                </a:lnTo>
                <a:lnTo>
                  <a:pt x="649" y="6486"/>
                </a:lnTo>
                <a:lnTo>
                  <a:pt x="649" y="6486"/>
                </a:lnTo>
                <a:lnTo>
                  <a:pt x="616" y="6486"/>
                </a:lnTo>
                <a:lnTo>
                  <a:pt x="583" y="6482"/>
                </a:lnTo>
                <a:lnTo>
                  <a:pt x="551" y="6479"/>
                </a:lnTo>
                <a:lnTo>
                  <a:pt x="518" y="6473"/>
                </a:lnTo>
                <a:lnTo>
                  <a:pt x="487" y="6466"/>
                </a:lnTo>
                <a:lnTo>
                  <a:pt x="456" y="6457"/>
                </a:lnTo>
                <a:lnTo>
                  <a:pt x="426" y="6446"/>
                </a:lnTo>
                <a:lnTo>
                  <a:pt x="397" y="6436"/>
                </a:lnTo>
                <a:lnTo>
                  <a:pt x="368" y="6422"/>
                </a:lnTo>
                <a:lnTo>
                  <a:pt x="340" y="6408"/>
                </a:lnTo>
                <a:lnTo>
                  <a:pt x="313" y="6392"/>
                </a:lnTo>
                <a:lnTo>
                  <a:pt x="286" y="6375"/>
                </a:lnTo>
                <a:lnTo>
                  <a:pt x="261" y="6357"/>
                </a:lnTo>
                <a:lnTo>
                  <a:pt x="237" y="6338"/>
                </a:lnTo>
                <a:lnTo>
                  <a:pt x="213" y="6318"/>
                </a:lnTo>
                <a:lnTo>
                  <a:pt x="190" y="6296"/>
                </a:lnTo>
                <a:lnTo>
                  <a:pt x="168" y="6273"/>
                </a:lnTo>
                <a:lnTo>
                  <a:pt x="148" y="6249"/>
                </a:lnTo>
                <a:lnTo>
                  <a:pt x="129" y="6225"/>
                </a:lnTo>
                <a:lnTo>
                  <a:pt x="111" y="6200"/>
                </a:lnTo>
                <a:lnTo>
                  <a:pt x="94" y="6174"/>
                </a:lnTo>
                <a:lnTo>
                  <a:pt x="78" y="6146"/>
                </a:lnTo>
                <a:lnTo>
                  <a:pt x="64" y="6118"/>
                </a:lnTo>
                <a:lnTo>
                  <a:pt x="51" y="6090"/>
                </a:lnTo>
                <a:lnTo>
                  <a:pt x="40" y="6061"/>
                </a:lnTo>
                <a:lnTo>
                  <a:pt x="29" y="6031"/>
                </a:lnTo>
                <a:lnTo>
                  <a:pt x="20" y="6000"/>
                </a:lnTo>
                <a:lnTo>
                  <a:pt x="13" y="5968"/>
                </a:lnTo>
                <a:lnTo>
                  <a:pt x="7" y="5936"/>
                </a:lnTo>
                <a:lnTo>
                  <a:pt x="4" y="5903"/>
                </a:lnTo>
                <a:lnTo>
                  <a:pt x="1" y="5871"/>
                </a:lnTo>
                <a:lnTo>
                  <a:pt x="0" y="5837"/>
                </a:lnTo>
                <a:lnTo>
                  <a:pt x="0" y="649"/>
                </a:lnTo>
                <a:lnTo>
                  <a:pt x="0" y="649"/>
                </a:lnTo>
                <a:lnTo>
                  <a:pt x="1" y="615"/>
                </a:lnTo>
                <a:lnTo>
                  <a:pt x="4" y="583"/>
                </a:lnTo>
                <a:lnTo>
                  <a:pt x="7" y="550"/>
                </a:lnTo>
                <a:lnTo>
                  <a:pt x="13" y="518"/>
                </a:lnTo>
                <a:lnTo>
                  <a:pt x="20" y="486"/>
                </a:lnTo>
                <a:lnTo>
                  <a:pt x="29" y="455"/>
                </a:lnTo>
                <a:lnTo>
                  <a:pt x="40" y="425"/>
                </a:lnTo>
                <a:lnTo>
                  <a:pt x="51" y="396"/>
                </a:lnTo>
                <a:lnTo>
                  <a:pt x="64" y="368"/>
                </a:lnTo>
                <a:lnTo>
                  <a:pt x="78" y="340"/>
                </a:lnTo>
                <a:lnTo>
                  <a:pt x="94" y="312"/>
                </a:lnTo>
                <a:lnTo>
                  <a:pt x="111" y="286"/>
                </a:lnTo>
                <a:lnTo>
                  <a:pt x="129" y="261"/>
                </a:lnTo>
                <a:lnTo>
                  <a:pt x="148" y="237"/>
                </a:lnTo>
                <a:lnTo>
                  <a:pt x="168" y="213"/>
                </a:lnTo>
                <a:lnTo>
                  <a:pt x="190" y="190"/>
                </a:lnTo>
                <a:lnTo>
                  <a:pt x="213" y="168"/>
                </a:lnTo>
                <a:lnTo>
                  <a:pt x="237" y="148"/>
                </a:lnTo>
                <a:lnTo>
                  <a:pt x="261" y="129"/>
                </a:lnTo>
                <a:lnTo>
                  <a:pt x="286" y="111"/>
                </a:lnTo>
                <a:lnTo>
                  <a:pt x="313" y="94"/>
                </a:lnTo>
                <a:lnTo>
                  <a:pt x="340" y="78"/>
                </a:lnTo>
                <a:lnTo>
                  <a:pt x="368" y="64"/>
                </a:lnTo>
                <a:lnTo>
                  <a:pt x="397" y="50"/>
                </a:lnTo>
                <a:lnTo>
                  <a:pt x="426" y="40"/>
                </a:lnTo>
                <a:lnTo>
                  <a:pt x="456" y="29"/>
                </a:lnTo>
                <a:lnTo>
                  <a:pt x="487" y="20"/>
                </a:lnTo>
                <a:lnTo>
                  <a:pt x="518" y="13"/>
                </a:lnTo>
                <a:lnTo>
                  <a:pt x="551" y="7"/>
                </a:lnTo>
                <a:lnTo>
                  <a:pt x="583" y="4"/>
                </a:lnTo>
                <a:lnTo>
                  <a:pt x="616" y="0"/>
                </a:lnTo>
                <a:lnTo>
                  <a:pt x="649" y="0"/>
                </a:lnTo>
                <a:lnTo>
                  <a:pt x="3766" y="0"/>
                </a:lnTo>
                <a:lnTo>
                  <a:pt x="3766" y="0"/>
                </a:lnTo>
                <a:lnTo>
                  <a:pt x="3782" y="1"/>
                </a:lnTo>
                <a:lnTo>
                  <a:pt x="3782" y="1"/>
                </a:lnTo>
                <a:lnTo>
                  <a:pt x="3783" y="1"/>
                </a:lnTo>
                <a:lnTo>
                  <a:pt x="3783" y="1"/>
                </a:lnTo>
                <a:lnTo>
                  <a:pt x="3801" y="5"/>
                </a:lnTo>
                <a:lnTo>
                  <a:pt x="3801" y="5"/>
                </a:lnTo>
                <a:lnTo>
                  <a:pt x="3801" y="5"/>
                </a:lnTo>
                <a:lnTo>
                  <a:pt x="3801" y="5"/>
                </a:lnTo>
                <a:lnTo>
                  <a:pt x="3819" y="11"/>
                </a:lnTo>
                <a:lnTo>
                  <a:pt x="3819" y="11"/>
                </a:lnTo>
                <a:lnTo>
                  <a:pt x="3819" y="11"/>
                </a:lnTo>
                <a:lnTo>
                  <a:pt x="3819" y="11"/>
                </a:lnTo>
                <a:lnTo>
                  <a:pt x="3828" y="14"/>
                </a:lnTo>
                <a:lnTo>
                  <a:pt x="3828" y="14"/>
                </a:lnTo>
                <a:lnTo>
                  <a:pt x="3828" y="14"/>
                </a:lnTo>
                <a:lnTo>
                  <a:pt x="3828" y="14"/>
                </a:lnTo>
                <a:lnTo>
                  <a:pt x="3835" y="19"/>
                </a:lnTo>
                <a:lnTo>
                  <a:pt x="3835" y="19"/>
                </a:lnTo>
                <a:lnTo>
                  <a:pt x="3836" y="20"/>
                </a:lnTo>
                <a:lnTo>
                  <a:pt x="3836" y="20"/>
                </a:lnTo>
                <a:lnTo>
                  <a:pt x="3843" y="25"/>
                </a:lnTo>
                <a:lnTo>
                  <a:pt x="3843" y="25"/>
                </a:lnTo>
                <a:lnTo>
                  <a:pt x="3843" y="25"/>
                </a:lnTo>
                <a:lnTo>
                  <a:pt x="3843" y="25"/>
                </a:lnTo>
                <a:lnTo>
                  <a:pt x="3850" y="30"/>
                </a:lnTo>
                <a:lnTo>
                  <a:pt x="3850" y="30"/>
                </a:lnTo>
                <a:lnTo>
                  <a:pt x="3852" y="31"/>
                </a:lnTo>
                <a:lnTo>
                  <a:pt x="3852" y="31"/>
                </a:lnTo>
                <a:lnTo>
                  <a:pt x="3858" y="37"/>
                </a:lnTo>
                <a:lnTo>
                  <a:pt x="3858" y="37"/>
                </a:lnTo>
                <a:lnTo>
                  <a:pt x="3858" y="37"/>
                </a:lnTo>
                <a:lnTo>
                  <a:pt x="5158" y="1336"/>
                </a:lnTo>
                <a:lnTo>
                  <a:pt x="5158" y="1336"/>
                </a:lnTo>
                <a:lnTo>
                  <a:pt x="5158" y="1336"/>
                </a:lnTo>
                <a:lnTo>
                  <a:pt x="5158" y="1336"/>
                </a:lnTo>
                <a:lnTo>
                  <a:pt x="5162" y="1342"/>
                </a:lnTo>
                <a:lnTo>
                  <a:pt x="5162" y="1342"/>
                </a:lnTo>
                <a:lnTo>
                  <a:pt x="5165" y="1343"/>
                </a:lnTo>
                <a:lnTo>
                  <a:pt x="5165" y="1343"/>
                </a:lnTo>
                <a:lnTo>
                  <a:pt x="5170" y="1350"/>
                </a:lnTo>
                <a:lnTo>
                  <a:pt x="5170" y="1350"/>
                </a:lnTo>
                <a:lnTo>
                  <a:pt x="5170" y="1350"/>
                </a:lnTo>
                <a:lnTo>
                  <a:pt x="5170" y="1350"/>
                </a:lnTo>
                <a:lnTo>
                  <a:pt x="5174" y="1357"/>
                </a:lnTo>
                <a:lnTo>
                  <a:pt x="5174" y="1357"/>
                </a:lnTo>
                <a:lnTo>
                  <a:pt x="5176" y="1358"/>
                </a:lnTo>
                <a:lnTo>
                  <a:pt x="5176" y="1358"/>
                </a:lnTo>
                <a:lnTo>
                  <a:pt x="5180" y="1366"/>
                </a:lnTo>
                <a:lnTo>
                  <a:pt x="5180" y="1366"/>
                </a:lnTo>
                <a:lnTo>
                  <a:pt x="5180" y="1366"/>
                </a:lnTo>
                <a:lnTo>
                  <a:pt x="5180" y="1366"/>
                </a:lnTo>
                <a:lnTo>
                  <a:pt x="5184" y="1374"/>
                </a:lnTo>
                <a:lnTo>
                  <a:pt x="5184" y="1374"/>
                </a:lnTo>
                <a:lnTo>
                  <a:pt x="5184" y="1374"/>
                </a:lnTo>
                <a:lnTo>
                  <a:pt x="5184" y="1374"/>
                </a:lnTo>
                <a:lnTo>
                  <a:pt x="5190" y="1392"/>
                </a:lnTo>
                <a:lnTo>
                  <a:pt x="5190" y="1392"/>
                </a:lnTo>
                <a:lnTo>
                  <a:pt x="5190" y="1392"/>
                </a:lnTo>
                <a:lnTo>
                  <a:pt x="5190" y="1392"/>
                </a:lnTo>
                <a:lnTo>
                  <a:pt x="5194" y="1410"/>
                </a:lnTo>
                <a:lnTo>
                  <a:pt x="5194" y="1410"/>
                </a:lnTo>
                <a:lnTo>
                  <a:pt x="5194" y="1411"/>
                </a:lnTo>
                <a:lnTo>
                  <a:pt x="5194" y="1411"/>
                </a:lnTo>
                <a:lnTo>
                  <a:pt x="5195" y="1420"/>
                </a:lnTo>
                <a:lnTo>
                  <a:pt x="5195" y="1420"/>
                </a:lnTo>
                <a:lnTo>
                  <a:pt x="5195" y="1421"/>
                </a:lnTo>
                <a:lnTo>
                  <a:pt x="5195" y="1421"/>
                </a:lnTo>
                <a:lnTo>
                  <a:pt x="5195" y="1427"/>
                </a:lnTo>
                <a:lnTo>
                  <a:pt x="5195" y="3009"/>
                </a:lnTo>
                <a:lnTo>
                  <a:pt x="5195" y="3009"/>
                </a:lnTo>
                <a:lnTo>
                  <a:pt x="5228" y="3035"/>
                </a:lnTo>
                <a:lnTo>
                  <a:pt x="5261" y="3064"/>
                </a:lnTo>
                <a:lnTo>
                  <a:pt x="5292" y="3093"/>
                </a:lnTo>
                <a:lnTo>
                  <a:pt x="5323" y="3123"/>
                </a:lnTo>
                <a:lnTo>
                  <a:pt x="5323" y="3123"/>
                </a:lnTo>
                <a:lnTo>
                  <a:pt x="5349" y="3149"/>
                </a:lnTo>
                <a:lnTo>
                  <a:pt x="5374" y="3176"/>
                </a:lnTo>
                <a:lnTo>
                  <a:pt x="5398" y="3203"/>
                </a:lnTo>
                <a:lnTo>
                  <a:pt x="5421" y="3231"/>
                </a:lnTo>
                <a:lnTo>
                  <a:pt x="5444" y="3259"/>
                </a:lnTo>
                <a:lnTo>
                  <a:pt x="5465" y="3287"/>
                </a:lnTo>
                <a:lnTo>
                  <a:pt x="5487" y="3316"/>
                </a:lnTo>
                <a:lnTo>
                  <a:pt x="5507" y="3346"/>
                </a:lnTo>
                <a:lnTo>
                  <a:pt x="5527" y="3376"/>
                </a:lnTo>
                <a:lnTo>
                  <a:pt x="5546" y="3406"/>
                </a:lnTo>
                <a:lnTo>
                  <a:pt x="5564" y="3438"/>
                </a:lnTo>
                <a:lnTo>
                  <a:pt x="5581" y="3469"/>
                </a:lnTo>
                <a:lnTo>
                  <a:pt x="5598" y="3500"/>
                </a:lnTo>
                <a:lnTo>
                  <a:pt x="5613" y="3532"/>
                </a:lnTo>
                <a:lnTo>
                  <a:pt x="5628" y="3565"/>
                </a:lnTo>
                <a:lnTo>
                  <a:pt x="5642" y="3597"/>
                </a:lnTo>
                <a:lnTo>
                  <a:pt x="5655" y="3630"/>
                </a:lnTo>
                <a:lnTo>
                  <a:pt x="5667" y="3663"/>
                </a:lnTo>
                <a:lnTo>
                  <a:pt x="5678" y="3697"/>
                </a:lnTo>
                <a:lnTo>
                  <a:pt x="5689" y="3731"/>
                </a:lnTo>
                <a:lnTo>
                  <a:pt x="5700" y="3765"/>
                </a:lnTo>
                <a:lnTo>
                  <a:pt x="5708" y="3799"/>
                </a:lnTo>
                <a:lnTo>
                  <a:pt x="5717" y="3834"/>
                </a:lnTo>
                <a:lnTo>
                  <a:pt x="5724" y="3870"/>
                </a:lnTo>
                <a:lnTo>
                  <a:pt x="5731" y="3905"/>
                </a:lnTo>
                <a:lnTo>
                  <a:pt x="5736" y="3940"/>
                </a:lnTo>
                <a:lnTo>
                  <a:pt x="5741" y="3976"/>
                </a:lnTo>
                <a:lnTo>
                  <a:pt x="5746" y="4012"/>
                </a:lnTo>
                <a:lnTo>
                  <a:pt x="5748" y="4048"/>
                </a:lnTo>
                <a:lnTo>
                  <a:pt x="5750" y="4084"/>
                </a:lnTo>
                <a:lnTo>
                  <a:pt x="5752" y="4120"/>
                </a:lnTo>
                <a:lnTo>
                  <a:pt x="5753" y="4157"/>
                </a:lnTo>
                <a:lnTo>
                  <a:pt x="5753" y="4157"/>
                </a:lnTo>
                <a:lnTo>
                  <a:pt x="5752" y="4200"/>
                </a:lnTo>
                <a:lnTo>
                  <a:pt x="5750" y="4242"/>
                </a:lnTo>
                <a:lnTo>
                  <a:pt x="5747" y="4286"/>
                </a:lnTo>
                <a:lnTo>
                  <a:pt x="5742" y="4328"/>
                </a:lnTo>
                <a:lnTo>
                  <a:pt x="5737" y="4370"/>
                </a:lnTo>
                <a:lnTo>
                  <a:pt x="5730" y="4412"/>
                </a:lnTo>
                <a:lnTo>
                  <a:pt x="5723" y="4453"/>
                </a:lnTo>
                <a:lnTo>
                  <a:pt x="5713" y="4495"/>
                </a:lnTo>
                <a:lnTo>
                  <a:pt x="5703" y="4534"/>
                </a:lnTo>
                <a:lnTo>
                  <a:pt x="5691" y="4575"/>
                </a:lnTo>
                <a:lnTo>
                  <a:pt x="5679" y="4615"/>
                </a:lnTo>
                <a:lnTo>
                  <a:pt x="5666" y="4654"/>
                </a:lnTo>
                <a:lnTo>
                  <a:pt x="5651" y="4694"/>
                </a:lnTo>
                <a:lnTo>
                  <a:pt x="5635" y="4732"/>
                </a:lnTo>
                <a:lnTo>
                  <a:pt x="5618" y="4771"/>
                </a:lnTo>
                <a:lnTo>
                  <a:pt x="5600" y="4808"/>
                </a:lnTo>
                <a:lnTo>
                  <a:pt x="6016" y="5224"/>
                </a:lnTo>
                <a:lnTo>
                  <a:pt x="6016" y="5224"/>
                </a:lnTo>
                <a:lnTo>
                  <a:pt x="6016" y="5224"/>
                </a:lnTo>
                <a:lnTo>
                  <a:pt x="6016" y="5224"/>
                </a:lnTo>
                <a:lnTo>
                  <a:pt x="6032" y="5242"/>
                </a:lnTo>
                <a:lnTo>
                  <a:pt x="6047" y="5260"/>
                </a:lnTo>
                <a:lnTo>
                  <a:pt x="6062" y="5278"/>
                </a:lnTo>
                <a:lnTo>
                  <a:pt x="6075" y="5297"/>
                </a:lnTo>
                <a:lnTo>
                  <a:pt x="6087" y="5316"/>
                </a:lnTo>
                <a:lnTo>
                  <a:pt x="6099" y="5337"/>
                </a:lnTo>
                <a:lnTo>
                  <a:pt x="6109" y="5357"/>
                </a:lnTo>
                <a:lnTo>
                  <a:pt x="6117" y="5377"/>
                </a:lnTo>
                <a:lnTo>
                  <a:pt x="6126" y="5399"/>
                </a:lnTo>
                <a:lnTo>
                  <a:pt x="6133" y="5421"/>
                </a:lnTo>
                <a:lnTo>
                  <a:pt x="6139" y="5442"/>
                </a:lnTo>
                <a:lnTo>
                  <a:pt x="6144" y="5464"/>
                </a:lnTo>
                <a:lnTo>
                  <a:pt x="6147" y="5487"/>
                </a:lnTo>
                <a:lnTo>
                  <a:pt x="6150" y="5508"/>
                </a:lnTo>
                <a:lnTo>
                  <a:pt x="6151" y="5531"/>
                </a:lnTo>
                <a:lnTo>
                  <a:pt x="6152" y="5553"/>
                </a:lnTo>
                <a:lnTo>
                  <a:pt x="6151" y="5576"/>
                </a:lnTo>
                <a:lnTo>
                  <a:pt x="6150" y="5597"/>
                </a:lnTo>
                <a:lnTo>
                  <a:pt x="6147" y="5620"/>
                </a:lnTo>
                <a:lnTo>
                  <a:pt x="6144" y="5642"/>
                </a:lnTo>
                <a:lnTo>
                  <a:pt x="6139" y="5664"/>
                </a:lnTo>
                <a:lnTo>
                  <a:pt x="6133" y="5686"/>
                </a:lnTo>
                <a:lnTo>
                  <a:pt x="6126" y="5706"/>
                </a:lnTo>
                <a:lnTo>
                  <a:pt x="6117" y="5728"/>
                </a:lnTo>
                <a:lnTo>
                  <a:pt x="6109" y="5749"/>
                </a:lnTo>
                <a:lnTo>
                  <a:pt x="6099" y="5769"/>
                </a:lnTo>
                <a:lnTo>
                  <a:pt x="6087" y="5789"/>
                </a:lnTo>
                <a:lnTo>
                  <a:pt x="6075" y="5809"/>
                </a:lnTo>
                <a:lnTo>
                  <a:pt x="6062" y="5828"/>
                </a:lnTo>
                <a:lnTo>
                  <a:pt x="6047" y="5847"/>
                </a:lnTo>
                <a:lnTo>
                  <a:pt x="6032" y="5865"/>
                </a:lnTo>
                <a:lnTo>
                  <a:pt x="6016" y="5882"/>
                </a:lnTo>
                <a:lnTo>
                  <a:pt x="6016" y="5882"/>
                </a:lnTo>
                <a:close/>
                <a:moveTo>
                  <a:pt x="4288" y="2961"/>
                </a:moveTo>
                <a:lnTo>
                  <a:pt x="4288" y="2961"/>
                </a:lnTo>
                <a:lnTo>
                  <a:pt x="4258" y="2961"/>
                </a:lnTo>
                <a:lnTo>
                  <a:pt x="4227" y="2962"/>
                </a:lnTo>
                <a:lnTo>
                  <a:pt x="4197" y="2964"/>
                </a:lnTo>
                <a:lnTo>
                  <a:pt x="4167" y="2967"/>
                </a:lnTo>
                <a:lnTo>
                  <a:pt x="4137" y="2970"/>
                </a:lnTo>
                <a:lnTo>
                  <a:pt x="4107" y="2974"/>
                </a:lnTo>
                <a:lnTo>
                  <a:pt x="4076" y="2979"/>
                </a:lnTo>
                <a:lnTo>
                  <a:pt x="4048" y="2985"/>
                </a:lnTo>
                <a:lnTo>
                  <a:pt x="4019" y="2991"/>
                </a:lnTo>
                <a:lnTo>
                  <a:pt x="3990" y="2998"/>
                </a:lnTo>
                <a:lnTo>
                  <a:pt x="3961" y="3006"/>
                </a:lnTo>
                <a:lnTo>
                  <a:pt x="3932" y="3015"/>
                </a:lnTo>
                <a:lnTo>
                  <a:pt x="3905" y="3023"/>
                </a:lnTo>
                <a:lnTo>
                  <a:pt x="3877" y="3033"/>
                </a:lnTo>
                <a:lnTo>
                  <a:pt x="3823" y="3054"/>
                </a:lnTo>
                <a:lnTo>
                  <a:pt x="3770" y="3078"/>
                </a:lnTo>
                <a:lnTo>
                  <a:pt x="3718" y="3105"/>
                </a:lnTo>
                <a:lnTo>
                  <a:pt x="3668" y="3134"/>
                </a:lnTo>
                <a:lnTo>
                  <a:pt x="3620" y="3165"/>
                </a:lnTo>
                <a:lnTo>
                  <a:pt x="3573" y="3199"/>
                </a:lnTo>
                <a:lnTo>
                  <a:pt x="3527" y="3235"/>
                </a:lnTo>
                <a:lnTo>
                  <a:pt x="3484" y="3272"/>
                </a:lnTo>
                <a:lnTo>
                  <a:pt x="3442" y="3311"/>
                </a:lnTo>
                <a:lnTo>
                  <a:pt x="3402" y="3354"/>
                </a:lnTo>
                <a:lnTo>
                  <a:pt x="3365" y="3397"/>
                </a:lnTo>
                <a:lnTo>
                  <a:pt x="3329" y="3441"/>
                </a:lnTo>
                <a:lnTo>
                  <a:pt x="3296" y="3488"/>
                </a:lnTo>
                <a:lnTo>
                  <a:pt x="3265" y="3537"/>
                </a:lnTo>
                <a:lnTo>
                  <a:pt x="3236" y="3588"/>
                </a:lnTo>
                <a:lnTo>
                  <a:pt x="3209" y="3638"/>
                </a:lnTo>
                <a:lnTo>
                  <a:pt x="3185" y="3692"/>
                </a:lnTo>
                <a:lnTo>
                  <a:pt x="3164" y="3746"/>
                </a:lnTo>
                <a:lnTo>
                  <a:pt x="3154" y="3774"/>
                </a:lnTo>
                <a:lnTo>
                  <a:pt x="3145" y="3802"/>
                </a:lnTo>
                <a:lnTo>
                  <a:pt x="3136" y="3830"/>
                </a:lnTo>
                <a:lnTo>
                  <a:pt x="3129" y="3858"/>
                </a:lnTo>
                <a:lnTo>
                  <a:pt x="3122" y="3887"/>
                </a:lnTo>
                <a:lnTo>
                  <a:pt x="3116" y="3916"/>
                </a:lnTo>
                <a:lnTo>
                  <a:pt x="3110" y="3946"/>
                </a:lnTo>
                <a:lnTo>
                  <a:pt x="3105" y="3974"/>
                </a:lnTo>
                <a:lnTo>
                  <a:pt x="3100" y="4005"/>
                </a:lnTo>
                <a:lnTo>
                  <a:pt x="3096" y="4035"/>
                </a:lnTo>
                <a:lnTo>
                  <a:pt x="3094" y="4065"/>
                </a:lnTo>
                <a:lnTo>
                  <a:pt x="3093" y="4096"/>
                </a:lnTo>
                <a:lnTo>
                  <a:pt x="3092" y="4126"/>
                </a:lnTo>
                <a:lnTo>
                  <a:pt x="3090" y="4157"/>
                </a:lnTo>
                <a:lnTo>
                  <a:pt x="3090" y="4157"/>
                </a:lnTo>
                <a:lnTo>
                  <a:pt x="3092" y="4188"/>
                </a:lnTo>
                <a:lnTo>
                  <a:pt x="3093" y="4218"/>
                </a:lnTo>
                <a:lnTo>
                  <a:pt x="3094" y="4248"/>
                </a:lnTo>
                <a:lnTo>
                  <a:pt x="3096" y="4280"/>
                </a:lnTo>
                <a:lnTo>
                  <a:pt x="3100" y="4310"/>
                </a:lnTo>
                <a:lnTo>
                  <a:pt x="3105" y="4338"/>
                </a:lnTo>
                <a:lnTo>
                  <a:pt x="3110" y="4368"/>
                </a:lnTo>
                <a:lnTo>
                  <a:pt x="3116" y="4397"/>
                </a:lnTo>
                <a:lnTo>
                  <a:pt x="3122" y="4427"/>
                </a:lnTo>
                <a:lnTo>
                  <a:pt x="3129" y="4456"/>
                </a:lnTo>
                <a:lnTo>
                  <a:pt x="3136" y="4484"/>
                </a:lnTo>
                <a:lnTo>
                  <a:pt x="3145" y="4513"/>
                </a:lnTo>
                <a:lnTo>
                  <a:pt x="3154" y="4540"/>
                </a:lnTo>
                <a:lnTo>
                  <a:pt x="3164" y="4568"/>
                </a:lnTo>
                <a:lnTo>
                  <a:pt x="3185" y="4622"/>
                </a:lnTo>
                <a:lnTo>
                  <a:pt x="3209" y="4675"/>
                </a:lnTo>
                <a:lnTo>
                  <a:pt x="3236" y="4726"/>
                </a:lnTo>
                <a:lnTo>
                  <a:pt x="3265" y="4777"/>
                </a:lnTo>
                <a:lnTo>
                  <a:pt x="3296" y="4825"/>
                </a:lnTo>
                <a:lnTo>
                  <a:pt x="3329" y="4872"/>
                </a:lnTo>
                <a:lnTo>
                  <a:pt x="3365" y="4917"/>
                </a:lnTo>
                <a:lnTo>
                  <a:pt x="3402" y="4961"/>
                </a:lnTo>
                <a:lnTo>
                  <a:pt x="3442" y="5003"/>
                </a:lnTo>
                <a:lnTo>
                  <a:pt x="3484" y="5042"/>
                </a:lnTo>
                <a:lnTo>
                  <a:pt x="3527" y="5079"/>
                </a:lnTo>
                <a:lnTo>
                  <a:pt x="3573" y="5116"/>
                </a:lnTo>
                <a:lnTo>
                  <a:pt x="3620" y="5149"/>
                </a:lnTo>
                <a:lnTo>
                  <a:pt x="3668" y="5179"/>
                </a:lnTo>
                <a:lnTo>
                  <a:pt x="3718" y="5209"/>
                </a:lnTo>
                <a:lnTo>
                  <a:pt x="3770" y="5236"/>
                </a:lnTo>
                <a:lnTo>
                  <a:pt x="3823" y="5260"/>
                </a:lnTo>
                <a:lnTo>
                  <a:pt x="3877" y="5280"/>
                </a:lnTo>
                <a:lnTo>
                  <a:pt x="3905" y="5290"/>
                </a:lnTo>
                <a:lnTo>
                  <a:pt x="3932" y="5299"/>
                </a:lnTo>
                <a:lnTo>
                  <a:pt x="3961" y="5308"/>
                </a:lnTo>
                <a:lnTo>
                  <a:pt x="3990" y="5315"/>
                </a:lnTo>
                <a:lnTo>
                  <a:pt x="4019" y="5322"/>
                </a:lnTo>
                <a:lnTo>
                  <a:pt x="4048" y="5329"/>
                </a:lnTo>
                <a:lnTo>
                  <a:pt x="4076" y="5334"/>
                </a:lnTo>
                <a:lnTo>
                  <a:pt x="4107" y="5339"/>
                </a:lnTo>
                <a:lnTo>
                  <a:pt x="4137" y="5344"/>
                </a:lnTo>
                <a:lnTo>
                  <a:pt x="4167" y="5347"/>
                </a:lnTo>
                <a:lnTo>
                  <a:pt x="4197" y="5350"/>
                </a:lnTo>
                <a:lnTo>
                  <a:pt x="4227" y="5352"/>
                </a:lnTo>
                <a:lnTo>
                  <a:pt x="4258" y="5353"/>
                </a:lnTo>
                <a:lnTo>
                  <a:pt x="4288" y="5353"/>
                </a:lnTo>
                <a:lnTo>
                  <a:pt x="4288" y="5353"/>
                </a:lnTo>
                <a:lnTo>
                  <a:pt x="4329" y="5352"/>
                </a:lnTo>
                <a:lnTo>
                  <a:pt x="4369" y="5351"/>
                </a:lnTo>
                <a:lnTo>
                  <a:pt x="4408" y="5347"/>
                </a:lnTo>
                <a:lnTo>
                  <a:pt x="4448" y="5343"/>
                </a:lnTo>
                <a:lnTo>
                  <a:pt x="4487" y="5337"/>
                </a:lnTo>
                <a:lnTo>
                  <a:pt x="4525" y="5329"/>
                </a:lnTo>
                <a:lnTo>
                  <a:pt x="4563" y="5321"/>
                </a:lnTo>
                <a:lnTo>
                  <a:pt x="4601" y="5311"/>
                </a:lnTo>
                <a:lnTo>
                  <a:pt x="4638" y="5302"/>
                </a:lnTo>
                <a:lnTo>
                  <a:pt x="4675" y="5290"/>
                </a:lnTo>
                <a:lnTo>
                  <a:pt x="4711" y="5276"/>
                </a:lnTo>
                <a:lnTo>
                  <a:pt x="4746" y="5262"/>
                </a:lnTo>
                <a:lnTo>
                  <a:pt x="4781" y="5248"/>
                </a:lnTo>
                <a:lnTo>
                  <a:pt x="4816" y="5231"/>
                </a:lnTo>
                <a:lnTo>
                  <a:pt x="4850" y="5214"/>
                </a:lnTo>
                <a:lnTo>
                  <a:pt x="4883" y="5195"/>
                </a:lnTo>
                <a:lnTo>
                  <a:pt x="4883" y="5195"/>
                </a:lnTo>
                <a:lnTo>
                  <a:pt x="4895" y="5186"/>
                </a:lnTo>
                <a:lnTo>
                  <a:pt x="4895" y="5186"/>
                </a:lnTo>
                <a:lnTo>
                  <a:pt x="4928" y="5167"/>
                </a:lnTo>
                <a:lnTo>
                  <a:pt x="4960" y="5146"/>
                </a:lnTo>
                <a:lnTo>
                  <a:pt x="4990" y="5124"/>
                </a:lnTo>
                <a:lnTo>
                  <a:pt x="5020" y="5101"/>
                </a:lnTo>
                <a:lnTo>
                  <a:pt x="5051" y="5078"/>
                </a:lnTo>
                <a:lnTo>
                  <a:pt x="5079" y="5053"/>
                </a:lnTo>
                <a:lnTo>
                  <a:pt x="5107" y="5028"/>
                </a:lnTo>
                <a:lnTo>
                  <a:pt x="5135" y="5001"/>
                </a:lnTo>
                <a:lnTo>
                  <a:pt x="5161" y="4975"/>
                </a:lnTo>
                <a:lnTo>
                  <a:pt x="5186" y="4946"/>
                </a:lnTo>
                <a:lnTo>
                  <a:pt x="5210" y="4919"/>
                </a:lnTo>
                <a:lnTo>
                  <a:pt x="5234" y="4889"/>
                </a:lnTo>
                <a:lnTo>
                  <a:pt x="5257" y="4858"/>
                </a:lnTo>
                <a:lnTo>
                  <a:pt x="5279" y="4827"/>
                </a:lnTo>
                <a:lnTo>
                  <a:pt x="5299" y="4796"/>
                </a:lnTo>
                <a:lnTo>
                  <a:pt x="5320" y="4764"/>
                </a:lnTo>
                <a:lnTo>
                  <a:pt x="5320" y="4764"/>
                </a:lnTo>
                <a:lnTo>
                  <a:pt x="5328" y="4750"/>
                </a:lnTo>
                <a:lnTo>
                  <a:pt x="5328" y="4750"/>
                </a:lnTo>
                <a:lnTo>
                  <a:pt x="5346" y="4718"/>
                </a:lnTo>
                <a:lnTo>
                  <a:pt x="5363" y="4684"/>
                </a:lnTo>
                <a:lnTo>
                  <a:pt x="5380" y="4650"/>
                </a:lnTo>
                <a:lnTo>
                  <a:pt x="5396" y="4615"/>
                </a:lnTo>
                <a:lnTo>
                  <a:pt x="5409" y="4579"/>
                </a:lnTo>
                <a:lnTo>
                  <a:pt x="5422" y="4543"/>
                </a:lnTo>
                <a:lnTo>
                  <a:pt x="5434" y="4507"/>
                </a:lnTo>
                <a:lnTo>
                  <a:pt x="5445" y="4469"/>
                </a:lnTo>
                <a:lnTo>
                  <a:pt x="5455" y="4432"/>
                </a:lnTo>
                <a:lnTo>
                  <a:pt x="5463" y="4394"/>
                </a:lnTo>
                <a:lnTo>
                  <a:pt x="5470" y="4355"/>
                </a:lnTo>
                <a:lnTo>
                  <a:pt x="5475" y="4317"/>
                </a:lnTo>
                <a:lnTo>
                  <a:pt x="5480" y="4277"/>
                </a:lnTo>
                <a:lnTo>
                  <a:pt x="5483" y="4238"/>
                </a:lnTo>
                <a:lnTo>
                  <a:pt x="5486" y="4197"/>
                </a:lnTo>
                <a:lnTo>
                  <a:pt x="5486" y="4157"/>
                </a:lnTo>
                <a:lnTo>
                  <a:pt x="5486" y="4157"/>
                </a:lnTo>
                <a:lnTo>
                  <a:pt x="5486" y="4126"/>
                </a:lnTo>
                <a:lnTo>
                  <a:pt x="5485" y="4096"/>
                </a:lnTo>
                <a:lnTo>
                  <a:pt x="5482" y="4065"/>
                </a:lnTo>
                <a:lnTo>
                  <a:pt x="5480" y="4035"/>
                </a:lnTo>
                <a:lnTo>
                  <a:pt x="5476" y="4005"/>
                </a:lnTo>
                <a:lnTo>
                  <a:pt x="5473" y="3974"/>
                </a:lnTo>
                <a:lnTo>
                  <a:pt x="5468" y="3946"/>
                </a:lnTo>
                <a:lnTo>
                  <a:pt x="5462" y="3916"/>
                </a:lnTo>
                <a:lnTo>
                  <a:pt x="5456" y="3887"/>
                </a:lnTo>
                <a:lnTo>
                  <a:pt x="5449" y="3858"/>
                </a:lnTo>
                <a:lnTo>
                  <a:pt x="5440" y="3830"/>
                </a:lnTo>
                <a:lnTo>
                  <a:pt x="5432" y="3802"/>
                </a:lnTo>
                <a:lnTo>
                  <a:pt x="5423" y="3774"/>
                </a:lnTo>
                <a:lnTo>
                  <a:pt x="5414" y="3746"/>
                </a:lnTo>
                <a:lnTo>
                  <a:pt x="5392" y="3692"/>
                </a:lnTo>
                <a:lnTo>
                  <a:pt x="5368" y="3638"/>
                </a:lnTo>
                <a:lnTo>
                  <a:pt x="5342" y="3588"/>
                </a:lnTo>
                <a:lnTo>
                  <a:pt x="5313" y="3537"/>
                </a:lnTo>
                <a:lnTo>
                  <a:pt x="5281" y="3488"/>
                </a:lnTo>
                <a:lnTo>
                  <a:pt x="5248" y="3441"/>
                </a:lnTo>
                <a:lnTo>
                  <a:pt x="5213" y="3397"/>
                </a:lnTo>
                <a:lnTo>
                  <a:pt x="5174" y="3354"/>
                </a:lnTo>
                <a:lnTo>
                  <a:pt x="5135" y="3311"/>
                </a:lnTo>
                <a:lnTo>
                  <a:pt x="5094" y="3272"/>
                </a:lnTo>
                <a:lnTo>
                  <a:pt x="5049" y="3235"/>
                </a:lnTo>
                <a:lnTo>
                  <a:pt x="5005" y="3199"/>
                </a:lnTo>
                <a:lnTo>
                  <a:pt x="4958" y="3165"/>
                </a:lnTo>
                <a:lnTo>
                  <a:pt x="4909" y="3134"/>
                </a:lnTo>
                <a:lnTo>
                  <a:pt x="4859" y="3105"/>
                </a:lnTo>
                <a:lnTo>
                  <a:pt x="4808" y="3078"/>
                </a:lnTo>
                <a:lnTo>
                  <a:pt x="4755" y="3054"/>
                </a:lnTo>
                <a:lnTo>
                  <a:pt x="4699" y="3033"/>
                </a:lnTo>
                <a:lnTo>
                  <a:pt x="4672" y="3023"/>
                </a:lnTo>
                <a:lnTo>
                  <a:pt x="4644" y="3015"/>
                </a:lnTo>
                <a:lnTo>
                  <a:pt x="4616" y="3006"/>
                </a:lnTo>
                <a:lnTo>
                  <a:pt x="4588" y="2998"/>
                </a:lnTo>
                <a:lnTo>
                  <a:pt x="4559" y="2991"/>
                </a:lnTo>
                <a:lnTo>
                  <a:pt x="4530" y="2985"/>
                </a:lnTo>
                <a:lnTo>
                  <a:pt x="4500" y="2979"/>
                </a:lnTo>
                <a:lnTo>
                  <a:pt x="4471" y="2974"/>
                </a:lnTo>
                <a:lnTo>
                  <a:pt x="4441" y="2970"/>
                </a:lnTo>
                <a:lnTo>
                  <a:pt x="4411" y="2967"/>
                </a:lnTo>
                <a:lnTo>
                  <a:pt x="4381" y="2964"/>
                </a:lnTo>
                <a:lnTo>
                  <a:pt x="4349" y="2962"/>
                </a:lnTo>
                <a:lnTo>
                  <a:pt x="4319" y="2961"/>
                </a:lnTo>
                <a:lnTo>
                  <a:pt x="4288" y="2961"/>
                </a:lnTo>
                <a:lnTo>
                  <a:pt x="4288" y="2961"/>
                </a:lnTo>
                <a:close/>
                <a:moveTo>
                  <a:pt x="3896" y="1297"/>
                </a:moveTo>
                <a:lnTo>
                  <a:pt x="4751" y="1297"/>
                </a:lnTo>
                <a:lnTo>
                  <a:pt x="3896" y="443"/>
                </a:lnTo>
                <a:lnTo>
                  <a:pt x="3896" y="1297"/>
                </a:lnTo>
                <a:close/>
                <a:moveTo>
                  <a:pt x="4935" y="5837"/>
                </a:moveTo>
                <a:lnTo>
                  <a:pt x="4935" y="5470"/>
                </a:lnTo>
                <a:lnTo>
                  <a:pt x="4935" y="5470"/>
                </a:lnTo>
                <a:lnTo>
                  <a:pt x="4898" y="5487"/>
                </a:lnTo>
                <a:lnTo>
                  <a:pt x="4859" y="5503"/>
                </a:lnTo>
                <a:lnTo>
                  <a:pt x="4821" y="5519"/>
                </a:lnTo>
                <a:lnTo>
                  <a:pt x="4782" y="5534"/>
                </a:lnTo>
                <a:lnTo>
                  <a:pt x="4743" y="5548"/>
                </a:lnTo>
                <a:lnTo>
                  <a:pt x="4703" y="5560"/>
                </a:lnTo>
                <a:lnTo>
                  <a:pt x="4663" y="5571"/>
                </a:lnTo>
                <a:lnTo>
                  <a:pt x="4622" y="5580"/>
                </a:lnTo>
                <a:lnTo>
                  <a:pt x="4582" y="5590"/>
                </a:lnTo>
                <a:lnTo>
                  <a:pt x="4541" y="5597"/>
                </a:lnTo>
                <a:lnTo>
                  <a:pt x="4500" y="5604"/>
                </a:lnTo>
                <a:lnTo>
                  <a:pt x="4458" y="5609"/>
                </a:lnTo>
                <a:lnTo>
                  <a:pt x="4416" y="5614"/>
                </a:lnTo>
                <a:lnTo>
                  <a:pt x="4373" y="5616"/>
                </a:lnTo>
                <a:lnTo>
                  <a:pt x="4331" y="5619"/>
                </a:lnTo>
                <a:lnTo>
                  <a:pt x="4288" y="5619"/>
                </a:lnTo>
                <a:lnTo>
                  <a:pt x="4288" y="5619"/>
                </a:lnTo>
                <a:lnTo>
                  <a:pt x="4252" y="5619"/>
                </a:lnTo>
                <a:lnTo>
                  <a:pt x="4216" y="5618"/>
                </a:lnTo>
                <a:lnTo>
                  <a:pt x="4179" y="5615"/>
                </a:lnTo>
                <a:lnTo>
                  <a:pt x="4143" y="5612"/>
                </a:lnTo>
                <a:lnTo>
                  <a:pt x="4108" y="5608"/>
                </a:lnTo>
                <a:lnTo>
                  <a:pt x="4072" y="5603"/>
                </a:lnTo>
                <a:lnTo>
                  <a:pt x="4036" y="5597"/>
                </a:lnTo>
                <a:lnTo>
                  <a:pt x="4001" y="5591"/>
                </a:lnTo>
                <a:lnTo>
                  <a:pt x="3966" y="5584"/>
                </a:lnTo>
                <a:lnTo>
                  <a:pt x="3931" y="5576"/>
                </a:lnTo>
                <a:lnTo>
                  <a:pt x="3896" y="5566"/>
                </a:lnTo>
                <a:lnTo>
                  <a:pt x="3862" y="5556"/>
                </a:lnTo>
                <a:lnTo>
                  <a:pt x="3828" y="5546"/>
                </a:lnTo>
                <a:lnTo>
                  <a:pt x="3794" y="5534"/>
                </a:lnTo>
                <a:lnTo>
                  <a:pt x="3761" y="5522"/>
                </a:lnTo>
                <a:lnTo>
                  <a:pt x="3728" y="5508"/>
                </a:lnTo>
                <a:lnTo>
                  <a:pt x="3695" y="5495"/>
                </a:lnTo>
                <a:lnTo>
                  <a:pt x="3663" y="5479"/>
                </a:lnTo>
                <a:lnTo>
                  <a:pt x="3630" y="5464"/>
                </a:lnTo>
                <a:lnTo>
                  <a:pt x="3599" y="5448"/>
                </a:lnTo>
                <a:lnTo>
                  <a:pt x="3568" y="5430"/>
                </a:lnTo>
                <a:lnTo>
                  <a:pt x="3538" y="5412"/>
                </a:lnTo>
                <a:lnTo>
                  <a:pt x="3506" y="5394"/>
                </a:lnTo>
                <a:lnTo>
                  <a:pt x="3476" y="5374"/>
                </a:lnTo>
                <a:lnTo>
                  <a:pt x="3448" y="5353"/>
                </a:lnTo>
                <a:lnTo>
                  <a:pt x="3418" y="5333"/>
                </a:lnTo>
                <a:lnTo>
                  <a:pt x="3390" y="5311"/>
                </a:lnTo>
                <a:lnTo>
                  <a:pt x="3361" y="5288"/>
                </a:lnTo>
                <a:lnTo>
                  <a:pt x="3333" y="5266"/>
                </a:lnTo>
                <a:lnTo>
                  <a:pt x="3306" y="5242"/>
                </a:lnTo>
                <a:lnTo>
                  <a:pt x="3279" y="5216"/>
                </a:lnTo>
                <a:lnTo>
                  <a:pt x="3253" y="5191"/>
                </a:lnTo>
                <a:lnTo>
                  <a:pt x="3253" y="5191"/>
                </a:lnTo>
                <a:lnTo>
                  <a:pt x="3228" y="5165"/>
                </a:lnTo>
                <a:lnTo>
                  <a:pt x="3203" y="5138"/>
                </a:lnTo>
                <a:lnTo>
                  <a:pt x="3179" y="5111"/>
                </a:lnTo>
                <a:lnTo>
                  <a:pt x="3155" y="5083"/>
                </a:lnTo>
                <a:lnTo>
                  <a:pt x="3133" y="5055"/>
                </a:lnTo>
                <a:lnTo>
                  <a:pt x="3111" y="5027"/>
                </a:lnTo>
                <a:lnTo>
                  <a:pt x="3090" y="4998"/>
                </a:lnTo>
                <a:lnTo>
                  <a:pt x="3070" y="4968"/>
                </a:lnTo>
                <a:lnTo>
                  <a:pt x="3051" y="4938"/>
                </a:lnTo>
                <a:lnTo>
                  <a:pt x="3032" y="4908"/>
                </a:lnTo>
                <a:lnTo>
                  <a:pt x="3013" y="4877"/>
                </a:lnTo>
                <a:lnTo>
                  <a:pt x="2997" y="4845"/>
                </a:lnTo>
                <a:lnTo>
                  <a:pt x="2980" y="4814"/>
                </a:lnTo>
                <a:lnTo>
                  <a:pt x="2964" y="4782"/>
                </a:lnTo>
                <a:lnTo>
                  <a:pt x="2950" y="4749"/>
                </a:lnTo>
                <a:lnTo>
                  <a:pt x="2935" y="4717"/>
                </a:lnTo>
                <a:lnTo>
                  <a:pt x="2922" y="4684"/>
                </a:lnTo>
                <a:lnTo>
                  <a:pt x="2910" y="4651"/>
                </a:lnTo>
                <a:lnTo>
                  <a:pt x="2898" y="4617"/>
                </a:lnTo>
                <a:lnTo>
                  <a:pt x="2887" y="4583"/>
                </a:lnTo>
                <a:lnTo>
                  <a:pt x="2878" y="4549"/>
                </a:lnTo>
                <a:lnTo>
                  <a:pt x="2868" y="4514"/>
                </a:lnTo>
                <a:lnTo>
                  <a:pt x="2860" y="4479"/>
                </a:lnTo>
                <a:lnTo>
                  <a:pt x="2852" y="4444"/>
                </a:lnTo>
                <a:lnTo>
                  <a:pt x="2846" y="4409"/>
                </a:lnTo>
                <a:lnTo>
                  <a:pt x="2840" y="4373"/>
                </a:lnTo>
                <a:lnTo>
                  <a:pt x="2835" y="4338"/>
                </a:lnTo>
                <a:lnTo>
                  <a:pt x="2832" y="4302"/>
                </a:lnTo>
                <a:lnTo>
                  <a:pt x="2828" y="4266"/>
                </a:lnTo>
                <a:lnTo>
                  <a:pt x="2826" y="4230"/>
                </a:lnTo>
                <a:lnTo>
                  <a:pt x="2825" y="4193"/>
                </a:lnTo>
                <a:lnTo>
                  <a:pt x="2825" y="4157"/>
                </a:lnTo>
                <a:lnTo>
                  <a:pt x="2825" y="4157"/>
                </a:lnTo>
                <a:lnTo>
                  <a:pt x="2825" y="4120"/>
                </a:lnTo>
                <a:lnTo>
                  <a:pt x="2826" y="4084"/>
                </a:lnTo>
                <a:lnTo>
                  <a:pt x="2828" y="4048"/>
                </a:lnTo>
                <a:lnTo>
                  <a:pt x="2832" y="4012"/>
                </a:lnTo>
                <a:lnTo>
                  <a:pt x="2835" y="3976"/>
                </a:lnTo>
                <a:lnTo>
                  <a:pt x="2840" y="3940"/>
                </a:lnTo>
                <a:lnTo>
                  <a:pt x="2846" y="3905"/>
                </a:lnTo>
                <a:lnTo>
                  <a:pt x="2852" y="3870"/>
                </a:lnTo>
                <a:lnTo>
                  <a:pt x="2860" y="3834"/>
                </a:lnTo>
                <a:lnTo>
                  <a:pt x="2868" y="3799"/>
                </a:lnTo>
                <a:lnTo>
                  <a:pt x="2878" y="3765"/>
                </a:lnTo>
                <a:lnTo>
                  <a:pt x="2887" y="3731"/>
                </a:lnTo>
                <a:lnTo>
                  <a:pt x="2898" y="3697"/>
                </a:lnTo>
                <a:lnTo>
                  <a:pt x="2910" y="3663"/>
                </a:lnTo>
                <a:lnTo>
                  <a:pt x="2922" y="3630"/>
                </a:lnTo>
                <a:lnTo>
                  <a:pt x="2935" y="3597"/>
                </a:lnTo>
                <a:lnTo>
                  <a:pt x="2950" y="3565"/>
                </a:lnTo>
                <a:lnTo>
                  <a:pt x="2964" y="3532"/>
                </a:lnTo>
                <a:lnTo>
                  <a:pt x="2980" y="3500"/>
                </a:lnTo>
                <a:lnTo>
                  <a:pt x="2997" y="3469"/>
                </a:lnTo>
                <a:lnTo>
                  <a:pt x="3013" y="3438"/>
                </a:lnTo>
                <a:lnTo>
                  <a:pt x="3032" y="3406"/>
                </a:lnTo>
                <a:lnTo>
                  <a:pt x="3051" y="3376"/>
                </a:lnTo>
                <a:lnTo>
                  <a:pt x="3070" y="3346"/>
                </a:lnTo>
                <a:lnTo>
                  <a:pt x="3090" y="3316"/>
                </a:lnTo>
                <a:lnTo>
                  <a:pt x="3111" y="3287"/>
                </a:lnTo>
                <a:lnTo>
                  <a:pt x="3133" y="3259"/>
                </a:lnTo>
                <a:lnTo>
                  <a:pt x="3155" y="3231"/>
                </a:lnTo>
                <a:lnTo>
                  <a:pt x="3179" y="3203"/>
                </a:lnTo>
                <a:lnTo>
                  <a:pt x="3203" y="3176"/>
                </a:lnTo>
                <a:lnTo>
                  <a:pt x="3228" y="3149"/>
                </a:lnTo>
                <a:lnTo>
                  <a:pt x="3253" y="3123"/>
                </a:lnTo>
                <a:lnTo>
                  <a:pt x="3253" y="3123"/>
                </a:lnTo>
                <a:lnTo>
                  <a:pt x="3279" y="3098"/>
                </a:lnTo>
                <a:lnTo>
                  <a:pt x="3306" y="3072"/>
                </a:lnTo>
                <a:lnTo>
                  <a:pt x="3333" y="3048"/>
                </a:lnTo>
                <a:lnTo>
                  <a:pt x="3361" y="3026"/>
                </a:lnTo>
                <a:lnTo>
                  <a:pt x="3390" y="3003"/>
                </a:lnTo>
                <a:lnTo>
                  <a:pt x="3418" y="2981"/>
                </a:lnTo>
                <a:lnTo>
                  <a:pt x="3448" y="2960"/>
                </a:lnTo>
                <a:lnTo>
                  <a:pt x="3476" y="2939"/>
                </a:lnTo>
                <a:lnTo>
                  <a:pt x="3506" y="2920"/>
                </a:lnTo>
                <a:lnTo>
                  <a:pt x="3538" y="2902"/>
                </a:lnTo>
                <a:lnTo>
                  <a:pt x="3568" y="2884"/>
                </a:lnTo>
                <a:lnTo>
                  <a:pt x="3599" y="2866"/>
                </a:lnTo>
                <a:lnTo>
                  <a:pt x="3630" y="2850"/>
                </a:lnTo>
                <a:lnTo>
                  <a:pt x="3663" y="2835"/>
                </a:lnTo>
                <a:lnTo>
                  <a:pt x="3695" y="2819"/>
                </a:lnTo>
                <a:lnTo>
                  <a:pt x="3728" y="2806"/>
                </a:lnTo>
                <a:lnTo>
                  <a:pt x="3761" y="2793"/>
                </a:lnTo>
                <a:lnTo>
                  <a:pt x="3794" y="2779"/>
                </a:lnTo>
                <a:lnTo>
                  <a:pt x="3828" y="2769"/>
                </a:lnTo>
                <a:lnTo>
                  <a:pt x="3862" y="2758"/>
                </a:lnTo>
                <a:lnTo>
                  <a:pt x="3896" y="2747"/>
                </a:lnTo>
                <a:lnTo>
                  <a:pt x="3931" y="2739"/>
                </a:lnTo>
                <a:lnTo>
                  <a:pt x="3966" y="2730"/>
                </a:lnTo>
                <a:lnTo>
                  <a:pt x="4001" y="2723"/>
                </a:lnTo>
                <a:lnTo>
                  <a:pt x="4036" y="2716"/>
                </a:lnTo>
                <a:lnTo>
                  <a:pt x="4072" y="2711"/>
                </a:lnTo>
                <a:lnTo>
                  <a:pt x="4108" y="2706"/>
                </a:lnTo>
                <a:lnTo>
                  <a:pt x="4143" y="2701"/>
                </a:lnTo>
                <a:lnTo>
                  <a:pt x="4179" y="2699"/>
                </a:lnTo>
                <a:lnTo>
                  <a:pt x="4216" y="2696"/>
                </a:lnTo>
                <a:lnTo>
                  <a:pt x="4252" y="2695"/>
                </a:lnTo>
                <a:lnTo>
                  <a:pt x="4288" y="2695"/>
                </a:lnTo>
                <a:lnTo>
                  <a:pt x="4288" y="2695"/>
                </a:lnTo>
                <a:lnTo>
                  <a:pt x="4331" y="2695"/>
                </a:lnTo>
                <a:lnTo>
                  <a:pt x="4373" y="2698"/>
                </a:lnTo>
                <a:lnTo>
                  <a:pt x="4416" y="2700"/>
                </a:lnTo>
                <a:lnTo>
                  <a:pt x="4458" y="2705"/>
                </a:lnTo>
                <a:lnTo>
                  <a:pt x="4500" y="2710"/>
                </a:lnTo>
                <a:lnTo>
                  <a:pt x="4541" y="2716"/>
                </a:lnTo>
                <a:lnTo>
                  <a:pt x="4582" y="2724"/>
                </a:lnTo>
                <a:lnTo>
                  <a:pt x="4622" y="2733"/>
                </a:lnTo>
                <a:lnTo>
                  <a:pt x="4663" y="2743"/>
                </a:lnTo>
                <a:lnTo>
                  <a:pt x="4703" y="2754"/>
                </a:lnTo>
                <a:lnTo>
                  <a:pt x="4743" y="2766"/>
                </a:lnTo>
                <a:lnTo>
                  <a:pt x="4782" y="2779"/>
                </a:lnTo>
                <a:lnTo>
                  <a:pt x="4821" y="2794"/>
                </a:lnTo>
                <a:lnTo>
                  <a:pt x="4859" y="2809"/>
                </a:lnTo>
                <a:lnTo>
                  <a:pt x="4898" y="2826"/>
                </a:lnTo>
                <a:lnTo>
                  <a:pt x="4935" y="2844"/>
                </a:lnTo>
                <a:lnTo>
                  <a:pt x="4935" y="1557"/>
                </a:lnTo>
                <a:lnTo>
                  <a:pt x="3766" y="1557"/>
                </a:lnTo>
                <a:lnTo>
                  <a:pt x="3766" y="1557"/>
                </a:lnTo>
                <a:lnTo>
                  <a:pt x="3753" y="1555"/>
                </a:lnTo>
                <a:lnTo>
                  <a:pt x="3740" y="1554"/>
                </a:lnTo>
                <a:lnTo>
                  <a:pt x="3728" y="1551"/>
                </a:lnTo>
                <a:lnTo>
                  <a:pt x="3716" y="1546"/>
                </a:lnTo>
                <a:lnTo>
                  <a:pt x="3705" y="1541"/>
                </a:lnTo>
                <a:lnTo>
                  <a:pt x="3694" y="1534"/>
                </a:lnTo>
                <a:lnTo>
                  <a:pt x="3683" y="1527"/>
                </a:lnTo>
                <a:lnTo>
                  <a:pt x="3675" y="1518"/>
                </a:lnTo>
                <a:lnTo>
                  <a:pt x="3666" y="1510"/>
                </a:lnTo>
                <a:lnTo>
                  <a:pt x="3659" y="1499"/>
                </a:lnTo>
                <a:lnTo>
                  <a:pt x="3652" y="1488"/>
                </a:lnTo>
                <a:lnTo>
                  <a:pt x="3647" y="1477"/>
                </a:lnTo>
                <a:lnTo>
                  <a:pt x="3642" y="1465"/>
                </a:lnTo>
                <a:lnTo>
                  <a:pt x="3639" y="1453"/>
                </a:lnTo>
                <a:lnTo>
                  <a:pt x="3638" y="1440"/>
                </a:lnTo>
                <a:lnTo>
                  <a:pt x="3636" y="1427"/>
                </a:lnTo>
                <a:lnTo>
                  <a:pt x="3636" y="259"/>
                </a:lnTo>
                <a:lnTo>
                  <a:pt x="649" y="259"/>
                </a:lnTo>
                <a:lnTo>
                  <a:pt x="649" y="259"/>
                </a:lnTo>
                <a:lnTo>
                  <a:pt x="629" y="259"/>
                </a:lnTo>
                <a:lnTo>
                  <a:pt x="610" y="261"/>
                </a:lnTo>
                <a:lnTo>
                  <a:pt x="590" y="264"/>
                </a:lnTo>
                <a:lnTo>
                  <a:pt x="571" y="267"/>
                </a:lnTo>
                <a:lnTo>
                  <a:pt x="552" y="271"/>
                </a:lnTo>
                <a:lnTo>
                  <a:pt x="534" y="276"/>
                </a:lnTo>
                <a:lnTo>
                  <a:pt x="516" y="282"/>
                </a:lnTo>
                <a:lnTo>
                  <a:pt x="498" y="289"/>
                </a:lnTo>
                <a:lnTo>
                  <a:pt x="481" y="298"/>
                </a:lnTo>
                <a:lnTo>
                  <a:pt x="464" y="306"/>
                </a:lnTo>
                <a:lnTo>
                  <a:pt x="447" y="316"/>
                </a:lnTo>
                <a:lnTo>
                  <a:pt x="432" y="326"/>
                </a:lnTo>
                <a:lnTo>
                  <a:pt x="416" y="336"/>
                </a:lnTo>
                <a:lnTo>
                  <a:pt x="402" y="348"/>
                </a:lnTo>
                <a:lnTo>
                  <a:pt x="387" y="360"/>
                </a:lnTo>
                <a:lnTo>
                  <a:pt x="374" y="374"/>
                </a:lnTo>
                <a:lnTo>
                  <a:pt x="361" y="387"/>
                </a:lnTo>
                <a:lnTo>
                  <a:pt x="349" y="401"/>
                </a:lnTo>
                <a:lnTo>
                  <a:pt x="337" y="416"/>
                </a:lnTo>
                <a:lnTo>
                  <a:pt x="326" y="431"/>
                </a:lnTo>
                <a:lnTo>
                  <a:pt x="316" y="447"/>
                </a:lnTo>
                <a:lnTo>
                  <a:pt x="307" y="464"/>
                </a:lnTo>
                <a:lnTo>
                  <a:pt x="298" y="479"/>
                </a:lnTo>
                <a:lnTo>
                  <a:pt x="290" y="497"/>
                </a:lnTo>
                <a:lnTo>
                  <a:pt x="284" y="515"/>
                </a:lnTo>
                <a:lnTo>
                  <a:pt x="277" y="533"/>
                </a:lnTo>
                <a:lnTo>
                  <a:pt x="272" y="551"/>
                </a:lnTo>
                <a:lnTo>
                  <a:pt x="267" y="571"/>
                </a:lnTo>
                <a:lnTo>
                  <a:pt x="265" y="590"/>
                </a:lnTo>
                <a:lnTo>
                  <a:pt x="262" y="609"/>
                </a:lnTo>
                <a:lnTo>
                  <a:pt x="260" y="628"/>
                </a:lnTo>
                <a:lnTo>
                  <a:pt x="260" y="649"/>
                </a:lnTo>
                <a:lnTo>
                  <a:pt x="260" y="5837"/>
                </a:lnTo>
                <a:lnTo>
                  <a:pt x="260" y="5837"/>
                </a:lnTo>
                <a:lnTo>
                  <a:pt x="260" y="5858"/>
                </a:lnTo>
                <a:lnTo>
                  <a:pt x="262" y="5877"/>
                </a:lnTo>
                <a:lnTo>
                  <a:pt x="265" y="5896"/>
                </a:lnTo>
                <a:lnTo>
                  <a:pt x="267" y="5915"/>
                </a:lnTo>
                <a:lnTo>
                  <a:pt x="272" y="5935"/>
                </a:lnTo>
                <a:lnTo>
                  <a:pt x="277" y="5953"/>
                </a:lnTo>
                <a:lnTo>
                  <a:pt x="284" y="5971"/>
                </a:lnTo>
                <a:lnTo>
                  <a:pt x="290" y="5989"/>
                </a:lnTo>
                <a:lnTo>
                  <a:pt x="298" y="6007"/>
                </a:lnTo>
                <a:lnTo>
                  <a:pt x="307" y="6022"/>
                </a:lnTo>
                <a:lnTo>
                  <a:pt x="316" y="6039"/>
                </a:lnTo>
                <a:lnTo>
                  <a:pt x="326" y="6055"/>
                </a:lnTo>
                <a:lnTo>
                  <a:pt x="337" y="6070"/>
                </a:lnTo>
                <a:lnTo>
                  <a:pt x="349" y="6085"/>
                </a:lnTo>
                <a:lnTo>
                  <a:pt x="361" y="6099"/>
                </a:lnTo>
                <a:lnTo>
                  <a:pt x="374" y="6112"/>
                </a:lnTo>
                <a:lnTo>
                  <a:pt x="387" y="6126"/>
                </a:lnTo>
                <a:lnTo>
                  <a:pt x="402" y="6138"/>
                </a:lnTo>
                <a:lnTo>
                  <a:pt x="416" y="6150"/>
                </a:lnTo>
                <a:lnTo>
                  <a:pt x="432" y="6160"/>
                </a:lnTo>
                <a:lnTo>
                  <a:pt x="447" y="6170"/>
                </a:lnTo>
                <a:lnTo>
                  <a:pt x="464" y="6180"/>
                </a:lnTo>
                <a:lnTo>
                  <a:pt x="481" y="6188"/>
                </a:lnTo>
                <a:lnTo>
                  <a:pt x="498" y="6197"/>
                </a:lnTo>
                <a:lnTo>
                  <a:pt x="516" y="6204"/>
                </a:lnTo>
                <a:lnTo>
                  <a:pt x="534" y="6210"/>
                </a:lnTo>
                <a:lnTo>
                  <a:pt x="552" y="6215"/>
                </a:lnTo>
                <a:lnTo>
                  <a:pt x="571" y="6219"/>
                </a:lnTo>
                <a:lnTo>
                  <a:pt x="590" y="6222"/>
                </a:lnTo>
                <a:lnTo>
                  <a:pt x="610" y="6225"/>
                </a:lnTo>
                <a:lnTo>
                  <a:pt x="629" y="6227"/>
                </a:lnTo>
                <a:lnTo>
                  <a:pt x="649" y="6227"/>
                </a:lnTo>
                <a:lnTo>
                  <a:pt x="4545" y="6227"/>
                </a:lnTo>
                <a:lnTo>
                  <a:pt x="4545" y="6227"/>
                </a:lnTo>
                <a:lnTo>
                  <a:pt x="4566" y="6227"/>
                </a:lnTo>
                <a:lnTo>
                  <a:pt x="4585" y="6225"/>
                </a:lnTo>
                <a:lnTo>
                  <a:pt x="4604" y="6222"/>
                </a:lnTo>
                <a:lnTo>
                  <a:pt x="4624" y="6219"/>
                </a:lnTo>
                <a:lnTo>
                  <a:pt x="4643" y="6215"/>
                </a:lnTo>
                <a:lnTo>
                  <a:pt x="4661" y="6210"/>
                </a:lnTo>
                <a:lnTo>
                  <a:pt x="4679" y="6204"/>
                </a:lnTo>
                <a:lnTo>
                  <a:pt x="4697" y="6197"/>
                </a:lnTo>
                <a:lnTo>
                  <a:pt x="4714" y="6188"/>
                </a:lnTo>
                <a:lnTo>
                  <a:pt x="4731" y="6180"/>
                </a:lnTo>
                <a:lnTo>
                  <a:pt x="4747" y="6170"/>
                </a:lnTo>
                <a:lnTo>
                  <a:pt x="4763" y="6160"/>
                </a:lnTo>
                <a:lnTo>
                  <a:pt x="4779" y="6150"/>
                </a:lnTo>
                <a:lnTo>
                  <a:pt x="4793" y="6138"/>
                </a:lnTo>
                <a:lnTo>
                  <a:pt x="4808" y="6126"/>
                </a:lnTo>
                <a:lnTo>
                  <a:pt x="4821" y="6112"/>
                </a:lnTo>
                <a:lnTo>
                  <a:pt x="4834" y="6099"/>
                </a:lnTo>
                <a:lnTo>
                  <a:pt x="4846" y="6085"/>
                </a:lnTo>
                <a:lnTo>
                  <a:pt x="4858" y="6070"/>
                </a:lnTo>
                <a:lnTo>
                  <a:pt x="4869" y="6055"/>
                </a:lnTo>
                <a:lnTo>
                  <a:pt x="4879" y="6039"/>
                </a:lnTo>
                <a:lnTo>
                  <a:pt x="4888" y="6022"/>
                </a:lnTo>
                <a:lnTo>
                  <a:pt x="4897" y="6007"/>
                </a:lnTo>
                <a:lnTo>
                  <a:pt x="4905" y="5989"/>
                </a:lnTo>
                <a:lnTo>
                  <a:pt x="4911" y="5971"/>
                </a:lnTo>
                <a:lnTo>
                  <a:pt x="4918" y="5953"/>
                </a:lnTo>
                <a:lnTo>
                  <a:pt x="4923" y="5935"/>
                </a:lnTo>
                <a:lnTo>
                  <a:pt x="4928" y="5915"/>
                </a:lnTo>
                <a:lnTo>
                  <a:pt x="4930" y="5896"/>
                </a:lnTo>
                <a:lnTo>
                  <a:pt x="4933" y="5877"/>
                </a:lnTo>
                <a:lnTo>
                  <a:pt x="4935" y="5858"/>
                </a:lnTo>
                <a:lnTo>
                  <a:pt x="4935" y="5837"/>
                </a:lnTo>
                <a:lnTo>
                  <a:pt x="4935" y="5837"/>
                </a:lnTo>
                <a:close/>
                <a:moveTo>
                  <a:pt x="5827" y="5412"/>
                </a:moveTo>
                <a:lnTo>
                  <a:pt x="5456" y="5040"/>
                </a:lnTo>
                <a:lnTo>
                  <a:pt x="5456" y="5040"/>
                </a:lnTo>
                <a:lnTo>
                  <a:pt x="5424" y="5079"/>
                </a:lnTo>
                <a:lnTo>
                  <a:pt x="5392" y="5118"/>
                </a:lnTo>
                <a:lnTo>
                  <a:pt x="5358" y="5155"/>
                </a:lnTo>
                <a:lnTo>
                  <a:pt x="5323" y="5191"/>
                </a:lnTo>
                <a:lnTo>
                  <a:pt x="5323" y="5191"/>
                </a:lnTo>
                <a:lnTo>
                  <a:pt x="5292" y="5221"/>
                </a:lnTo>
                <a:lnTo>
                  <a:pt x="5261" y="5250"/>
                </a:lnTo>
                <a:lnTo>
                  <a:pt x="5228" y="5278"/>
                </a:lnTo>
                <a:lnTo>
                  <a:pt x="5195" y="5305"/>
                </a:lnTo>
                <a:lnTo>
                  <a:pt x="5195" y="5345"/>
                </a:lnTo>
                <a:lnTo>
                  <a:pt x="5545" y="5694"/>
                </a:lnTo>
                <a:lnTo>
                  <a:pt x="5545" y="5694"/>
                </a:lnTo>
                <a:lnTo>
                  <a:pt x="5560" y="5708"/>
                </a:lnTo>
                <a:lnTo>
                  <a:pt x="5576" y="5720"/>
                </a:lnTo>
                <a:lnTo>
                  <a:pt x="5593" y="5729"/>
                </a:lnTo>
                <a:lnTo>
                  <a:pt x="5611" y="5738"/>
                </a:lnTo>
                <a:lnTo>
                  <a:pt x="5629" y="5744"/>
                </a:lnTo>
                <a:lnTo>
                  <a:pt x="5648" y="5749"/>
                </a:lnTo>
                <a:lnTo>
                  <a:pt x="5667" y="5751"/>
                </a:lnTo>
                <a:lnTo>
                  <a:pt x="5687" y="5752"/>
                </a:lnTo>
                <a:lnTo>
                  <a:pt x="5706" y="5751"/>
                </a:lnTo>
                <a:lnTo>
                  <a:pt x="5724" y="5749"/>
                </a:lnTo>
                <a:lnTo>
                  <a:pt x="5743" y="5744"/>
                </a:lnTo>
                <a:lnTo>
                  <a:pt x="5761" y="5738"/>
                </a:lnTo>
                <a:lnTo>
                  <a:pt x="5779" y="5729"/>
                </a:lnTo>
                <a:lnTo>
                  <a:pt x="5796" y="5720"/>
                </a:lnTo>
                <a:lnTo>
                  <a:pt x="5812" y="5708"/>
                </a:lnTo>
                <a:lnTo>
                  <a:pt x="5827" y="5694"/>
                </a:lnTo>
                <a:lnTo>
                  <a:pt x="5827" y="5694"/>
                </a:lnTo>
                <a:lnTo>
                  <a:pt x="5841" y="5679"/>
                </a:lnTo>
                <a:lnTo>
                  <a:pt x="5853" y="5663"/>
                </a:lnTo>
                <a:lnTo>
                  <a:pt x="5863" y="5645"/>
                </a:lnTo>
                <a:lnTo>
                  <a:pt x="5871" y="5628"/>
                </a:lnTo>
                <a:lnTo>
                  <a:pt x="5878" y="5610"/>
                </a:lnTo>
                <a:lnTo>
                  <a:pt x="5883" y="5591"/>
                </a:lnTo>
                <a:lnTo>
                  <a:pt x="5885" y="5572"/>
                </a:lnTo>
                <a:lnTo>
                  <a:pt x="5886" y="5553"/>
                </a:lnTo>
                <a:lnTo>
                  <a:pt x="5885" y="5534"/>
                </a:lnTo>
                <a:lnTo>
                  <a:pt x="5883" y="5516"/>
                </a:lnTo>
                <a:lnTo>
                  <a:pt x="5878" y="5496"/>
                </a:lnTo>
                <a:lnTo>
                  <a:pt x="5871" y="5478"/>
                </a:lnTo>
                <a:lnTo>
                  <a:pt x="5863" y="5460"/>
                </a:lnTo>
                <a:lnTo>
                  <a:pt x="5853" y="5443"/>
                </a:lnTo>
                <a:lnTo>
                  <a:pt x="5841" y="5427"/>
                </a:lnTo>
                <a:lnTo>
                  <a:pt x="5827" y="5412"/>
                </a:lnTo>
                <a:lnTo>
                  <a:pt x="5827" y="5412"/>
                </a:lnTo>
                <a:close/>
              </a:path>
            </a:pathLst>
          </a:custGeom>
          <a:solidFill>
            <a:schemeClr val="tx1"/>
          </a:solidFill>
          <a:ln>
            <a:noFill/>
          </a:ln>
        </p:spPr>
        <p:txBody>
          <a:bodyPr vert="horz" wrap="square" lIns="121807" tIns="60904" rIns="121807" bIns="60904" numCol="1" anchor="t" anchorCtr="0" compatLnSpc="1">
            <a:prstTxWarp prst="textNoShape">
              <a:avLst/>
            </a:prstTxWarp>
          </a:bodyPr>
          <a:lstStyle/>
          <a:p>
            <a:endParaRPr lang="en-US" sz="2395"/>
          </a:p>
        </p:txBody>
      </p:sp>
      <p:sp>
        <p:nvSpPr>
          <p:cNvPr id="7" name="Freeform 325">
            <a:extLst>
              <a:ext uri="{FF2B5EF4-FFF2-40B4-BE49-F238E27FC236}">
                <a16:creationId xmlns:a16="http://schemas.microsoft.com/office/drawing/2014/main" id="{97C55211-2FB7-5FA9-E3C3-EE2CA7BC2FF2}"/>
              </a:ext>
              <a:ext uri="{C183D7F6-B498-43B3-948B-1728B52AA6E4}">
                <adec:decorative xmlns:adec="http://schemas.microsoft.com/office/drawing/2017/decorative" val="1"/>
              </a:ext>
            </a:extLst>
          </p:cNvPr>
          <p:cNvSpPr>
            <a:spLocks noChangeAspect="1" noEditPoints="1"/>
          </p:cNvSpPr>
          <p:nvPr/>
        </p:nvSpPr>
        <p:spPr bwMode="auto">
          <a:xfrm>
            <a:off x="5283134" y="3850796"/>
            <a:ext cx="1335380" cy="1334144"/>
          </a:xfrm>
          <a:custGeom>
            <a:avLst/>
            <a:gdLst>
              <a:gd name="T0" fmla="*/ 2365 w 6492"/>
              <a:gd name="T1" fmla="*/ 976 h 6486"/>
              <a:gd name="T2" fmla="*/ 2541 w 6492"/>
              <a:gd name="T3" fmla="*/ 841 h 6486"/>
              <a:gd name="T4" fmla="*/ 5009 w 6492"/>
              <a:gd name="T5" fmla="*/ 2271 h 6486"/>
              <a:gd name="T6" fmla="*/ 4880 w 6492"/>
              <a:gd name="T7" fmla="*/ 2452 h 6486"/>
              <a:gd name="T8" fmla="*/ 5460 w 6492"/>
              <a:gd name="T9" fmla="*/ 2609 h 6486"/>
              <a:gd name="T10" fmla="*/ 3306 w 6492"/>
              <a:gd name="T11" fmla="*/ 818 h 6486"/>
              <a:gd name="T12" fmla="*/ 3166 w 6492"/>
              <a:gd name="T13" fmla="*/ 253 h 6486"/>
              <a:gd name="T14" fmla="*/ 2965 w 6492"/>
              <a:gd name="T15" fmla="*/ 345 h 6486"/>
              <a:gd name="T16" fmla="*/ 4031 w 6492"/>
              <a:gd name="T17" fmla="*/ 120 h 6486"/>
              <a:gd name="T18" fmla="*/ 3833 w 6492"/>
              <a:gd name="T19" fmla="*/ 28 h 6486"/>
              <a:gd name="T20" fmla="*/ 3886 w 6492"/>
              <a:gd name="T21" fmla="*/ 651 h 6486"/>
              <a:gd name="T22" fmla="*/ 4857 w 6492"/>
              <a:gd name="T23" fmla="*/ 345 h 6486"/>
              <a:gd name="T24" fmla="*/ 4654 w 6492"/>
              <a:gd name="T25" fmla="*/ 253 h 6486"/>
              <a:gd name="T26" fmla="*/ 4998 w 6492"/>
              <a:gd name="T27" fmla="*/ 1271 h 6486"/>
              <a:gd name="T28" fmla="*/ 5422 w 6492"/>
              <a:gd name="T29" fmla="*/ 857 h 6486"/>
              <a:gd name="T30" fmla="*/ 4863 w 6492"/>
              <a:gd name="T31" fmla="*/ 1143 h 6486"/>
              <a:gd name="T32" fmla="*/ 2373 w 6492"/>
              <a:gd name="T33" fmla="*/ 2542 h 6486"/>
              <a:gd name="T34" fmla="*/ 2899 w 6492"/>
              <a:gd name="T35" fmla="*/ 2492 h 6486"/>
              <a:gd name="T36" fmla="*/ 2881 w 6492"/>
              <a:gd name="T37" fmla="*/ 2276 h 6486"/>
              <a:gd name="T38" fmla="*/ 5038 w 6492"/>
              <a:gd name="T39" fmla="*/ 1723 h 6486"/>
              <a:gd name="T40" fmla="*/ 5585 w 6492"/>
              <a:gd name="T41" fmla="*/ 1888 h 6486"/>
              <a:gd name="T42" fmla="*/ 5629 w 6492"/>
              <a:gd name="T43" fmla="*/ 1670 h 6486"/>
              <a:gd name="T44" fmla="*/ 2672 w 6492"/>
              <a:gd name="T45" fmla="*/ 1649 h 6486"/>
              <a:gd name="T46" fmla="*/ 2160 w 6492"/>
              <a:gd name="T47" fmla="*/ 1837 h 6486"/>
              <a:gd name="T48" fmla="*/ 2788 w 6492"/>
              <a:gd name="T49" fmla="*/ 1806 h 6486"/>
              <a:gd name="T50" fmla="*/ 4634 w 6492"/>
              <a:gd name="T51" fmla="*/ 2396 h 6486"/>
              <a:gd name="T52" fmla="*/ 4336 w 6492"/>
              <a:gd name="T53" fmla="*/ 3248 h 6486"/>
              <a:gd name="T54" fmla="*/ 3576 w 6492"/>
              <a:gd name="T55" fmla="*/ 3307 h 6486"/>
              <a:gd name="T56" fmla="*/ 3377 w 6492"/>
              <a:gd name="T57" fmla="*/ 2635 h 6486"/>
              <a:gd name="T58" fmla="*/ 2965 w 6492"/>
              <a:gd name="T59" fmla="*/ 1803 h 6486"/>
              <a:gd name="T60" fmla="*/ 3500 w 6492"/>
              <a:gd name="T61" fmla="*/ 918 h 6486"/>
              <a:gd name="T62" fmla="*/ 4546 w 6492"/>
              <a:gd name="T63" fmla="*/ 1070 h 6486"/>
              <a:gd name="T64" fmla="*/ 3622 w 6492"/>
              <a:gd name="T65" fmla="*/ 3032 h 6486"/>
              <a:gd name="T66" fmla="*/ 4188 w 6492"/>
              <a:gd name="T67" fmla="*/ 3054 h 6486"/>
              <a:gd name="T68" fmla="*/ 4408 w 6492"/>
              <a:gd name="T69" fmla="*/ 1272 h 6486"/>
              <a:gd name="T70" fmla="*/ 3637 w 6492"/>
              <a:gd name="T71" fmla="*/ 1120 h 6486"/>
              <a:gd name="T72" fmla="*/ 3206 w 6492"/>
              <a:gd name="T73" fmla="*/ 1770 h 6486"/>
              <a:gd name="T74" fmla="*/ 4297 w 6492"/>
              <a:gd name="T75" fmla="*/ 2432 h 6486"/>
              <a:gd name="T76" fmla="*/ 6481 w 6492"/>
              <a:gd name="T77" fmla="*/ 4096 h 6486"/>
              <a:gd name="T78" fmla="*/ 4143 w 6492"/>
              <a:gd name="T79" fmla="*/ 5693 h 6486"/>
              <a:gd name="T80" fmla="*/ 2185 w 6492"/>
              <a:gd name="T81" fmla="*/ 5851 h 6486"/>
              <a:gd name="T82" fmla="*/ 1801 w 6492"/>
              <a:gd name="T83" fmla="*/ 6473 h 6486"/>
              <a:gd name="T84" fmla="*/ 1628 w 6492"/>
              <a:gd name="T85" fmla="*/ 6343 h 6486"/>
              <a:gd name="T86" fmla="*/ 131 w 6492"/>
              <a:gd name="T87" fmla="*/ 4862 h 6486"/>
              <a:gd name="T88" fmla="*/ 27 w 6492"/>
              <a:gd name="T89" fmla="*/ 4666 h 6486"/>
              <a:gd name="T90" fmla="*/ 807 w 6492"/>
              <a:gd name="T91" fmla="*/ 4292 h 6486"/>
              <a:gd name="T92" fmla="*/ 1715 w 6492"/>
              <a:gd name="T93" fmla="*/ 3565 h 6486"/>
              <a:gd name="T94" fmla="*/ 2854 w 6492"/>
              <a:gd name="T95" fmla="*/ 3597 h 6486"/>
              <a:gd name="T96" fmla="*/ 4758 w 6492"/>
              <a:gd name="T97" fmla="*/ 3822 h 6486"/>
              <a:gd name="T98" fmla="*/ 5972 w 6492"/>
              <a:gd name="T99" fmla="*/ 3497 h 6486"/>
              <a:gd name="T100" fmla="*/ 6403 w 6492"/>
              <a:gd name="T101" fmla="*/ 3708 h 6486"/>
              <a:gd name="T102" fmla="*/ 6037 w 6492"/>
              <a:gd name="T103" fmla="*/ 3742 h 6486"/>
              <a:gd name="T104" fmla="*/ 4876 w 6492"/>
              <a:gd name="T105" fmla="*/ 4554 h 6486"/>
              <a:gd name="T106" fmla="*/ 2835 w 6492"/>
              <a:gd name="T107" fmla="*/ 4732 h 6486"/>
              <a:gd name="T108" fmla="*/ 2813 w 6492"/>
              <a:gd name="T109" fmla="*/ 4512 h 6486"/>
              <a:gd name="T110" fmla="*/ 4751 w 6492"/>
              <a:gd name="T111" fmla="*/ 4231 h 6486"/>
              <a:gd name="T112" fmla="*/ 3177 w 6492"/>
              <a:gd name="T113" fmla="*/ 3987 h 6486"/>
              <a:gd name="T114" fmla="*/ 2170 w 6492"/>
              <a:gd name="T115" fmla="*/ 3738 h 6486"/>
              <a:gd name="T116" fmla="*/ 1273 w 6492"/>
              <a:gd name="T117" fmla="*/ 4120 h 6486"/>
              <a:gd name="T118" fmla="*/ 2331 w 6492"/>
              <a:gd name="T119" fmla="*/ 5516 h 6486"/>
              <a:gd name="T120" fmla="*/ 6128 w 6492"/>
              <a:gd name="T121" fmla="*/ 4214 h 6486"/>
              <a:gd name="T122" fmla="*/ 6247 w 6492"/>
              <a:gd name="T123" fmla="*/ 3948 h 6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92" h="6486">
                <a:moveTo>
                  <a:pt x="2942" y="1211"/>
                </a:moveTo>
                <a:lnTo>
                  <a:pt x="2942" y="1211"/>
                </a:lnTo>
                <a:lnTo>
                  <a:pt x="2934" y="1225"/>
                </a:lnTo>
                <a:lnTo>
                  <a:pt x="2923" y="1237"/>
                </a:lnTo>
                <a:lnTo>
                  <a:pt x="2911" y="1247"/>
                </a:lnTo>
                <a:lnTo>
                  <a:pt x="2898" y="1256"/>
                </a:lnTo>
                <a:lnTo>
                  <a:pt x="2883" y="1263"/>
                </a:lnTo>
                <a:lnTo>
                  <a:pt x="2869" y="1267"/>
                </a:lnTo>
                <a:lnTo>
                  <a:pt x="2854" y="1271"/>
                </a:lnTo>
                <a:lnTo>
                  <a:pt x="2838" y="1271"/>
                </a:lnTo>
                <a:lnTo>
                  <a:pt x="2838" y="1271"/>
                </a:lnTo>
                <a:lnTo>
                  <a:pt x="2823" y="1271"/>
                </a:lnTo>
                <a:lnTo>
                  <a:pt x="2807" y="1267"/>
                </a:lnTo>
                <a:lnTo>
                  <a:pt x="2793" y="1263"/>
                </a:lnTo>
                <a:lnTo>
                  <a:pt x="2778" y="1255"/>
                </a:lnTo>
                <a:lnTo>
                  <a:pt x="2420" y="1049"/>
                </a:lnTo>
                <a:lnTo>
                  <a:pt x="2420" y="1049"/>
                </a:lnTo>
                <a:lnTo>
                  <a:pt x="2410" y="1042"/>
                </a:lnTo>
                <a:lnTo>
                  <a:pt x="2401" y="1035"/>
                </a:lnTo>
                <a:lnTo>
                  <a:pt x="2392" y="1026"/>
                </a:lnTo>
                <a:lnTo>
                  <a:pt x="2385" y="1018"/>
                </a:lnTo>
                <a:lnTo>
                  <a:pt x="2378" y="1008"/>
                </a:lnTo>
                <a:lnTo>
                  <a:pt x="2373" y="997"/>
                </a:lnTo>
                <a:lnTo>
                  <a:pt x="2368" y="987"/>
                </a:lnTo>
                <a:lnTo>
                  <a:pt x="2365" y="976"/>
                </a:lnTo>
                <a:lnTo>
                  <a:pt x="2362" y="965"/>
                </a:lnTo>
                <a:lnTo>
                  <a:pt x="2361" y="953"/>
                </a:lnTo>
                <a:lnTo>
                  <a:pt x="2360" y="942"/>
                </a:lnTo>
                <a:lnTo>
                  <a:pt x="2361" y="930"/>
                </a:lnTo>
                <a:lnTo>
                  <a:pt x="2363" y="918"/>
                </a:lnTo>
                <a:lnTo>
                  <a:pt x="2366" y="907"/>
                </a:lnTo>
                <a:lnTo>
                  <a:pt x="2371" y="895"/>
                </a:lnTo>
                <a:lnTo>
                  <a:pt x="2377" y="884"/>
                </a:lnTo>
                <a:lnTo>
                  <a:pt x="2377" y="884"/>
                </a:lnTo>
                <a:lnTo>
                  <a:pt x="2383" y="875"/>
                </a:lnTo>
                <a:lnTo>
                  <a:pt x="2391" y="865"/>
                </a:lnTo>
                <a:lnTo>
                  <a:pt x="2400" y="857"/>
                </a:lnTo>
                <a:lnTo>
                  <a:pt x="2408" y="849"/>
                </a:lnTo>
                <a:lnTo>
                  <a:pt x="2418" y="842"/>
                </a:lnTo>
                <a:lnTo>
                  <a:pt x="2428" y="836"/>
                </a:lnTo>
                <a:lnTo>
                  <a:pt x="2438" y="832"/>
                </a:lnTo>
                <a:lnTo>
                  <a:pt x="2450" y="829"/>
                </a:lnTo>
                <a:lnTo>
                  <a:pt x="2461" y="826"/>
                </a:lnTo>
                <a:lnTo>
                  <a:pt x="2472" y="825"/>
                </a:lnTo>
                <a:lnTo>
                  <a:pt x="2484" y="824"/>
                </a:lnTo>
                <a:lnTo>
                  <a:pt x="2496" y="825"/>
                </a:lnTo>
                <a:lnTo>
                  <a:pt x="2507" y="828"/>
                </a:lnTo>
                <a:lnTo>
                  <a:pt x="2519" y="830"/>
                </a:lnTo>
                <a:lnTo>
                  <a:pt x="2530" y="835"/>
                </a:lnTo>
                <a:lnTo>
                  <a:pt x="2541" y="841"/>
                </a:lnTo>
                <a:lnTo>
                  <a:pt x="2899" y="1047"/>
                </a:lnTo>
                <a:lnTo>
                  <a:pt x="2899" y="1047"/>
                </a:lnTo>
                <a:lnTo>
                  <a:pt x="2908" y="1053"/>
                </a:lnTo>
                <a:lnTo>
                  <a:pt x="2918" y="1061"/>
                </a:lnTo>
                <a:lnTo>
                  <a:pt x="2926" y="1070"/>
                </a:lnTo>
                <a:lnTo>
                  <a:pt x="2935" y="1078"/>
                </a:lnTo>
                <a:lnTo>
                  <a:pt x="2941" y="1088"/>
                </a:lnTo>
                <a:lnTo>
                  <a:pt x="2947" y="1099"/>
                </a:lnTo>
                <a:lnTo>
                  <a:pt x="2951" y="1108"/>
                </a:lnTo>
                <a:lnTo>
                  <a:pt x="2954" y="1120"/>
                </a:lnTo>
                <a:lnTo>
                  <a:pt x="2957" y="1131"/>
                </a:lnTo>
                <a:lnTo>
                  <a:pt x="2959" y="1143"/>
                </a:lnTo>
                <a:lnTo>
                  <a:pt x="2959" y="1154"/>
                </a:lnTo>
                <a:lnTo>
                  <a:pt x="2958" y="1166"/>
                </a:lnTo>
                <a:lnTo>
                  <a:pt x="2955" y="1177"/>
                </a:lnTo>
                <a:lnTo>
                  <a:pt x="2953" y="1189"/>
                </a:lnTo>
                <a:lnTo>
                  <a:pt x="2948" y="1200"/>
                </a:lnTo>
                <a:lnTo>
                  <a:pt x="2942" y="1211"/>
                </a:lnTo>
                <a:lnTo>
                  <a:pt x="2942" y="1211"/>
                </a:lnTo>
                <a:close/>
                <a:moveTo>
                  <a:pt x="5401" y="2490"/>
                </a:moveTo>
                <a:lnTo>
                  <a:pt x="5043" y="2284"/>
                </a:lnTo>
                <a:lnTo>
                  <a:pt x="5043" y="2284"/>
                </a:lnTo>
                <a:lnTo>
                  <a:pt x="5032" y="2278"/>
                </a:lnTo>
                <a:lnTo>
                  <a:pt x="5021" y="2273"/>
                </a:lnTo>
                <a:lnTo>
                  <a:pt x="5009" y="2271"/>
                </a:lnTo>
                <a:lnTo>
                  <a:pt x="4998" y="2268"/>
                </a:lnTo>
                <a:lnTo>
                  <a:pt x="4986" y="2267"/>
                </a:lnTo>
                <a:lnTo>
                  <a:pt x="4974" y="2268"/>
                </a:lnTo>
                <a:lnTo>
                  <a:pt x="4963" y="2270"/>
                </a:lnTo>
                <a:lnTo>
                  <a:pt x="4951" y="2272"/>
                </a:lnTo>
                <a:lnTo>
                  <a:pt x="4940" y="2276"/>
                </a:lnTo>
                <a:lnTo>
                  <a:pt x="4929" y="2279"/>
                </a:lnTo>
                <a:lnTo>
                  <a:pt x="4920" y="2285"/>
                </a:lnTo>
                <a:lnTo>
                  <a:pt x="4910" y="2293"/>
                </a:lnTo>
                <a:lnTo>
                  <a:pt x="4900" y="2300"/>
                </a:lnTo>
                <a:lnTo>
                  <a:pt x="4893" y="2308"/>
                </a:lnTo>
                <a:lnTo>
                  <a:pt x="4885" y="2318"/>
                </a:lnTo>
                <a:lnTo>
                  <a:pt x="4879" y="2327"/>
                </a:lnTo>
                <a:lnTo>
                  <a:pt x="4879" y="2327"/>
                </a:lnTo>
                <a:lnTo>
                  <a:pt x="4873" y="2338"/>
                </a:lnTo>
                <a:lnTo>
                  <a:pt x="4868" y="2350"/>
                </a:lnTo>
                <a:lnTo>
                  <a:pt x="4865" y="2361"/>
                </a:lnTo>
                <a:lnTo>
                  <a:pt x="4863" y="2373"/>
                </a:lnTo>
                <a:lnTo>
                  <a:pt x="4862" y="2385"/>
                </a:lnTo>
                <a:lnTo>
                  <a:pt x="4863" y="2396"/>
                </a:lnTo>
                <a:lnTo>
                  <a:pt x="4864" y="2408"/>
                </a:lnTo>
                <a:lnTo>
                  <a:pt x="4867" y="2419"/>
                </a:lnTo>
                <a:lnTo>
                  <a:pt x="4870" y="2430"/>
                </a:lnTo>
                <a:lnTo>
                  <a:pt x="4874" y="2441"/>
                </a:lnTo>
                <a:lnTo>
                  <a:pt x="4880" y="2452"/>
                </a:lnTo>
                <a:lnTo>
                  <a:pt x="4887" y="2461"/>
                </a:lnTo>
                <a:lnTo>
                  <a:pt x="4894" y="2470"/>
                </a:lnTo>
                <a:lnTo>
                  <a:pt x="4903" y="2478"/>
                </a:lnTo>
                <a:lnTo>
                  <a:pt x="4912" y="2485"/>
                </a:lnTo>
                <a:lnTo>
                  <a:pt x="4922" y="2492"/>
                </a:lnTo>
                <a:lnTo>
                  <a:pt x="5280" y="2698"/>
                </a:lnTo>
                <a:lnTo>
                  <a:pt x="5280" y="2698"/>
                </a:lnTo>
                <a:lnTo>
                  <a:pt x="5295" y="2706"/>
                </a:lnTo>
                <a:lnTo>
                  <a:pt x="5309" y="2711"/>
                </a:lnTo>
                <a:lnTo>
                  <a:pt x="5325" y="2714"/>
                </a:lnTo>
                <a:lnTo>
                  <a:pt x="5340" y="2714"/>
                </a:lnTo>
                <a:lnTo>
                  <a:pt x="5340" y="2714"/>
                </a:lnTo>
                <a:lnTo>
                  <a:pt x="5356" y="2714"/>
                </a:lnTo>
                <a:lnTo>
                  <a:pt x="5371" y="2711"/>
                </a:lnTo>
                <a:lnTo>
                  <a:pt x="5385" y="2706"/>
                </a:lnTo>
                <a:lnTo>
                  <a:pt x="5400" y="2698"/>
                </a:lnTo>
                <a:lnTo>
                  <a:pt x="5413" y="2690"/>
                </a:lnTo>
                <a:lnTo>
                  <a:pt x="5425" y="2680"/>
                </a:lnTo>
                <a:lnTo>
                  <a:pt x="5436" y="2668"/>
                </a:lnTo>
                <a:lnTo>
                  <a:pt x="5444" y="2654"/>
                </a:lnTo>
                <a:lnTo>
                  <a:pt x="5444" y="2654"/>
                </a:lnTo>
                <a:lnTo>
                  <a:pt x="5450" y="2643"/>
                </a:lnTo>
                <a:lnTo>
                  <a:pt x="5455" y="2632"/>
                </a:lnTo>
                <a:lnTo>
                  <a:pt x="5457" y="2620"/>
                </a:lnTo>
                <a:lnTo>
                  <a:pt x="5460" y="2609"/>
                </a:lnTo>
                <a:lnTo>
                  <a:pt x="5461" y="2597"/>
                </a:lnTo>
                <a:lnTo>
                  <a:pt x="5460" y="2585"/>
                </a:lnTo>
                <a:lnTo>
                  <a:pt x="5459" y="2574"/>
                </a:lnTo>
                <a:lnTo>
                  <a:pt x="5456" y="2564"/>
                </a:lnTo>
                <a:lnTo>
                  <a:pt x="5453" y="2552"/>
                </a:lnTo>
                <a:lnTo>
                  <a:pt x="5449" y="2542"/>
                </a:lnTo>
                <a:lnTo>
                  <a:pt x="5443" y="2531"/>
                </a:lnTo>
                <a:lnTo>
                  <a:pt x="5437" y="2521"/>
                </a:lnTo>
                <a:lnTo>
                  <a:pt x="5428" y="2513"/>
                </a:lnTo>
                <a:lnTo>
                  <a:pt x="5420" y="2505"/>
                </a:lnTo>
                <a:lnTo>
                  <a:pt x="5410" y="2496"/>
                </a:lnTo>
                <a:lnTo>
                  <a:pt x="5401" y="2490"/>
                </a:lnTo>
                <a:lnTo>
                  <a:pt x="5401" y="2490"/>
                </a:lnTo>
                <a:close/>
                <a:moveTo>
                  <a:pt x="3187" y="759"/>
                </a:moveTo>
                <a:lnTo>
                  <a:pt x="3187" y="759"/>
                </a:lnTo>
                <a:lnTo>
                  <a:pt x="3197" y="772"/>
                </a:lnTo>
                <a:lnTo>
                  <a:pt x="3207" y="784"/>
                </a:lnTo>
                <a:lnTo>
                  <a:pt x="3219" y="795"/>
                </a:lnTo>
                <a:lnTo>
                  <a:pt x="3232" y="804"/>
                </a:lnTo>
                <a:lnTo>
                  <a:pt x="3246" y="810"/>
                </a:lnTo>
                <a:lnTo>
                  <a:pt x="3260" y="814"/>
                </a:lnTo>
                <a:lnTo>
                  <a:pt x="3276" y="818"/>
                </a:lnTo>
                <a:lnTo>
                  <a:pt x="3292" y="819"/>
                </a:lnTo>
                <a:lnTo>
                  <a:pt x="3292" y="819"/>
                </a:lnTo>
                <a:lnTo>
                  <a:pt x="3306" y="818"/>
                </a:lnTo>
                <a:lnTo>
                  <a:pt x="3322" y="814"/>
                </a:lnTo>
                <a:lnTo>
                  <a:pt x="3338" y="810"/>
                </a:lnTo>
                <a:lnTo>
                  <a:pt x="3352" y="802"/>
                </a:lnTo>
                <a:lnTo>
                  <a:pt x="3352" y="802"/>
                </a:lnTo>
                <a:lnTo>
                  <a:pt x="3362" y="796"/>
                </a:lnTo>
                <a:lnTo>
                  <a:pt x="3371" y="788"/>
                </a:lnTo>
                <a:lnTo>
                  <a:pt x="3380" y="779"/>
                </a:lnTo>
                <a:lnTo>
                  <a:pt x="3387" y="771"/>
                </a:lnTo>
                <a:lnTo>
                  <a:pt x="3394" y="761"/>
                </a:lnTo>
                <a:lnTo>
                  <a:pt x="3400" y="751"/>
                </a:lnTo>
                <a:lnTo>
                  <a:pt x="3404" y="741"/>
                </a:lnTo>
                <a:lnTo>
                  <a:pt x="3408" y="730"/>
                </a:lnTo>
                <a:lnTo>
                  <a:pt x="3410" y="718"/>
                </a:lnTo>
                <a:lnTo>
                  <a:pt x="3411" y="707"/>
                </a:lnTo>
                <a:lnTo>
                  <a:pt x="3412" y="695"/>
                </a:lnTo>
                <a:lnTo>
                  <a:pt x="3411" y="683"/>
                </a:lnTo>
                <a:lnTo>
                  <a:pt x="3409" y="672"/>
                </a:lnTo>
                <a:lnTo>
                  <a:pt x="3406" y="660"/>
                </a:lnTo>
                <a:lnTo>
                  <a:pt x="3402" y="649"/>
                </a:lnTo>
                <a:lnTo>
                  <a:pt x="3396" y="638"/>
                </a:lnTo>
                <a:lnTo>
                  <a:pt x="3189" y="281"/>
                </a:lnTo>
                <a:lnTo>
                  <a:pt x="3189" y="281"/>
                </a:lnTo>
                <a:lnTo>
                  <a:pt x="3183" y="271"/>
                </a:lnTo>
                <a:lnTo>
                  <a:pt x="3175" y="261"/>
                </a:lnTo>
                <a:lnTo>
                  <a:pt x="3166" y="253"/>
                </a:lnTo>
                <a:lnTo>
                  <a:pt x="3158" y="245"/>
                </a:lnTo>
                <a:lnTo>
                  <a:pt x="3148" y="239"/>
                </a:lnTo>
                <a:lnTo>
                  <a:pt x="3137" y="233"/>
                </a:lnTo>
                <a:lnTo>
                  <a:pt x="3128" y="229"/>
                </a:lnTo>
                <a:lnTo>
                  <a:pt x="3116" y="225"/>
                </a:lnTo>
                <a:lnTo>
                  <a:pt x="3105" y="223"/>
                </a:lnTo>
                <a:lnTo>
                  <a:pt x="3093" y="220"/>
                </a:lnTo>
                <a:lnTo>
                  <a:pt x="3082" y="220"/>
                </a:lnTo>
                <a:lnTo>
                  <a:pt x="3070" y="222"/>
                </a:lnTo>
                <a:lnTo>
                  <a:pt x="3059" y="224"/>
                </a:lnTo>
                <a:lnTo>
                  <a:pt x="3047" y="226"/>
                </a:lnTo>
                <a:lnTo>
                  <a:pt x="3036" y="231"/>
                </a:lnTo>
                <a:lnTo>
                  <a:pt x="3025" y="237"/>
                </a:lnTo>
                <a:lnTo>
                  <a:pt x="3025" y="237"/>
                </a:lnTo>
                <a:lnTo>
                  <a:pt x="3014" y="243"/>
                </a:lnTo>
                <a:lnTo>
                  <a:pt x="3005" y="251"/>
                </a:lnTo>
                <a:lnTo>
                  <a:pt x="2996" y="259"/>
                </a:lnTo>
                <a:lnTo>
                  <a:pt x="2989" y="269"/>
                </a:lnTo>
                <a:lnTo>
                  <a:pt x="2982" y="278"/>
                </a:lnTo>
                <a:lnTo>
                  <a:pt x="2977" y="288"/>
                </a:lnTo>
                <a:lnTo>
                  <a:pt x="2972" y="299"/>
                </a:lnTo>
                <a:lnTo>
                  <a:pt x="2969" y="310"/>
                </a:lnTo>
                <a:lnTo>
                  <a:pt x="2966" y="322"/>
                </a:lnTo>
                <a:lnTo>
                  <a:pt x="2965" y="332"/>
                </a:lnTo>
                <a:lnTo>
                  <a:pt x="2965" y="345"/>
                </a:lnTo>
                <a:lnTo>
                  <a:pt x="2965" y="357"/>
                </a:lnTo>
                <a:lnTo>
                  <a:pt x="2967" y="367"/>
                </a:lnTo>
                <a:lnTo>
                  <a:pt x="2971" y="379"/>
                </a:lnTo>
                <a:lnTo>
                  <a:pt x="2975" y="390"/>
                </a:lnTo>
                <a:lnTo>
                  <a:pt x="2981" y="401"/>
                </a:lnTo>
                <a:lnTo>
                  <a:pt x="3187" y="759"/>
                </a:lnTo>
                <a:close/>
                <a:moveTo>
                  <a:pt x="3910" y="653"/>
                </a:moveTo>
                <a:lnTo>
                  <a:pt x="3910" y="653"/>
                </a:lnTo>
                <a:lnTo>
                  <a:pt x="3922" y="653"/>
                </a:lnTo>
                <a:lnTo>
                  <a:pt x="3935" y="651"/>
                </a:lnTo>
                <a:lnTo>
                  <a:pt x="3947" y="648"/>
                </a:lnTo>
                <a:lnTo>
                  <a:pt x="3957" y="643"/>
                </a:lnTo>
                <a:lnTo>
                  <a:pt x="3968" y="638"/>
                </a:lnTo>
                <a:lnTo>
                  <a:pt x="3978" y="632"/>
                </a:lnTo>
                <a:lnTo>
                  <a:pt x="3988" y="625"/>
                </a:lnTo>
                <a:lnTo>
                  <a:pt x="3996" y="618"/>
                </a:lnTo>
                <a:lnTo>
                  <a:pt x="4003" y="610"/>
                </a:lnTo>
                <a:lnTo>
                  <a:pt x="4010" y="600"/>
                </a:lnTo>
                <a:lnTo>
                  <a:pt x="4017" y="590"/>
                </a:lnTo>
                <a:lnTo>
                  <a:pt x="4021" y="579"/>
                </a:lnTo>
                <a:lnTo>
                  <a:pt x="4026" y="569"/>
                </a:lnTo>
                <a:lnTo>
                  <a:pt x="4029" y="557"/>
                </a:lnTo>
                <a:lnTo>
                  <a:pt x="4031" y="545"/>
                </a:lnTo>
                <a:lnTo>
                  <a:pt x="4031" y="532"/>
                </a:lnTo>
                <a:lnTo>
                  <a:pt x="4031" y="120"/>
                </a:lnTo>
                <a:lnTo>
                  <a:pt x="4031" y="120"/>
                </a:lnTo>
                <a:lnTo>
                  <a:pt x="4031" y="108"/>
                </a:lnTo>
                <a:lnTo>
                  <a:pt x="4029" y="96"/>
                </a:lnTo>
                <a:lnTo>
                  <a:pt x="4026" y="84"/>
                </a:lnTo>
                <a:lnTo>
                  <a:pt x="4021" y="73"/>
                </a:lnTo>
                <a:lnTo>
                  <a:pt x="4017" y="63"/>
                </a:lnTo>
                <a:lnTo>
                  <a:pt x="4010" y="53"/>
                </a:lnTo>
                <a:lnTo>
                  <a:pt x="4003" y="43"/>
                </a:lnTo>
                <a:lnTo>
                  <a:pt x="3996" y="35"/>
                </a:lnTo>
                <a:lnTo>
                  <a:pt x="3988" y="28"/>
                </a:lnTo>
                <a:lnTo>
                  <a:pt x="3978" y="20"/>
                </a:lnTo>
                <a:lnTo>
                  <a:pt x="3968" y="14"/>
                </a:lnTo>
                <a:lnTo>
                  <a:pt x="3957" y="10"/>
                </a:lnTo>
                <a:lnTo>
                  <a:pt x="3947" y="5"/>
                </a:lnTo>
                <a:lnTo>
                  <a:pt x="3935" y="2"/>
                </a:lnTo>
                <a:lnTo>
                  <a:pt x="3922" y="0"/>
                </a:lnTo>
                <a:lnTo>
                  <a:pt x="3910" y="0"/>
                </a:lnTo>
                <a:lnTo>
                  <a:pt x="3910" y="0"/>
                </a:lnTo>
                <a:lnTo>
                  <a:pt x="3898" y="0"/>
                </a:lnTo>
                <a:lnTo>
                  <a:pt x="3886" y="2"/>
                </a:lnTo>
                <a:lnTo>
                  <a:pt x="3874" y="5"/>
                </a:lnTo>
                <a:lnTo>
                  <a:pt x="3863" y="10"/>
                </a:lnTo>
                <a:lnTo>
                  <a:pt x="3853" y="14"/>
                </a:lnTo>
                <a:lnTo>
                  <a:pt x="3843" y="20"/>
                </a:lnTo>
                <a:lnTo>
                  <a:pt x="3833" y="28"/>
                </a:lnTo>
                <a:lnTo>
                  <a:pt x="3825" y="35"/>
                </a:lnTo>
                <a:lnTo>
                  <a:pt x="3818" y="43"/>
                </a:lnTo>
                <a:lnTo>
                  <a:pt x="3810" y="53"/>
                </a:lnTo>
                <a:lnTo>
                  <a:pt x="3804" y="63"/>
                </a:lnTo>
                <a:lnTo>
                  <a:pt x="3799" y="73"/>
                </a:lnTo>
                <a:lnTo>
                  <a:pt x="3796" y="84"/>
                </a:lnTo>
                <a:lnTo>
                  <a:pt x="3792" y="96"/>
                </a:lnTo>
                <a:lnTo>
                  <a:pt x="3791" y="108"/>
                </a:lnTo>
                <a:lnTo>
                  <a:pt x="3790" y="120"/>
                </a:lnTo>
                <a:lnTo>
                  <a:pt x="3790" y="532"/>
                </a:lnTo>
                <a:lnTo>
                  <a:pt x="3790" y="532"/>
                </a:lnTo>
                <a:lnTo>
                  <a:pt x="3791" y="545"/>
                </a:lnTo>
                <a:lnTo>
                  <a:pt x="3792" y="557"/>
                </a:lnTo>
                <a:lnTo>
                  <a:pt x="3796" y="569"/>
                </a:lnTo>
                <a:lnTo>
                  <a:pt x="3799" y="579"/>
                </a:lnTo>
                <a:lnTo>
                  <a:pt x="3804" y="590"/>
                </a:lnTo>
                <a:lnTo>
                  <a:pt x="3810" y="600"/>
                </a:lnTo>
                <a:lnTo>
                  <a:pt x="3818" y="610"/>
                </a:lnTo>
                <a:lnTo>
                  <a:pt x="3825" y="618"/>
                </a:lnTo>
                <a:lnTo>
                  <a:pt x="3833" y="625"/>
                </a:lnTo>
                <a:lnTo>
                  <a:pt x="3843" y="632"/>
                </a:lnTo>
                <a:lnTo>
                  <a:pt x="3853" y="638"/>
                </a:lnTo>
                <a:lnTo>
                  <a:pt x="3863" y="643"/>
                </a:lnTo>
                <a:lnTo>
                  <a:pt x="3874" y="648"/>
                </a:lnTo>
                <a:lnTo>
                  <a:pt x="3886" y="651"/>
                </a:lnTo>
                <a:lnTo>
                  <a:pt x="3898" y="653"/>
                </a:lnTo>
                <a:lnTo>
                  <a:pt x="3910" y="653"/>
                </a:lnTo>
                <a:lnTo>
                  <a:pt x="3910" y="653"/>
                </a:lnTo>
                <a:close/>
                <a:moveTo>
                  <a:pt x="4469" y="802"/>
                </a:moveTo>
                <a:lnTo>
                  <a:pt x="4469" y="802"/>
                </a:lnTo>
                <a:lnTo>
                  <a:pt x="4484" y="810"/>
                </a:lnTo>
                <a:lnTo>
                  <a:pt x="4499" y="814"/>
                </a:lnTo>
                <a:lnTo>
                  <a:pt x="4514" y="818"/>
                </a:lnTo>
                <a:lnTo>
                  <a:pt x="4529" y="819"/>
                </a:lnTo>
                <a:lnTo>
                  <a:pt x="4529" y="819"/>
                </a:lnTo>
                <a:lnTo>
                  <a:pt x="4545" y="818"/>
                </a:lnTo>
                <a:lnTo>
                  <a:pt x="4560" y="814"/>
                </a:lnTo>
                <a:lnTo>
                  <a:pt x="4575" y="810"/>
                </a:lnTo>
                <a:lnTo>
                  <a:pt x="4589" y="804"/>
                </a:lnTo>
                <a:lnTo>
                  <a:pt x="4603" y="795"/>
                </a:lnTo>
                <a:lnTo>
                  <a:pt x="4615" y="784"/>
                </a:lnTo>
                <a:lnTo>
                  <a:pt x="4624" y="772"/>
                </a:lnTo>
                <a:lnTo>
                  <a:pt x="4634" y="759"/>
                </a:lnTo>
                <a:lnTo>
                  <a:pt x="4840" y="401"/>
                </a:lnTo>
                <a:lnTo>
                  <a:pt x="4840" y="401"/>
                </a:lnTo>
                <a:lnTo>
                  <a:pt x="4846" y="390"/>
                </a:lnTo>
                <a:lnTo>
                  <a:pt x="4851" y="379"/>
                </a:lnTo>
                <a:lnTo>
                  <a:pt x="4853" y="367"/>
                </a:lnTo>
                <a:lnTo>
                  <a:pt x="4856" y="357"/>
                </a:lnTo>
                <a:lnTo>
                  <a:pt x="4857" y="345"/>
                </a:lnTo>
                <a:lnTo>
                  <a:pt x="4856" y="332"/>
                </a:lnTo>
                <a:lnTo>
                  <a:pt x="4855" y="322"/>
                </a:lnTo>
                <a:lnTo>
                  <a:pt x="4852" y="310"/>
                </a:lnTo>
                <a:lnTo>
                  <a:pt x="4849" y="299"/>
                </a:lnTo>
                <a:lnTo>
                  <a:pt x="4844" y="288"/>
                </a:lnTo>
                <a:lnTo>
                  <a:pt x="4839" y="278"/>
                </a:lnTo>
                <a:lnTo>
                  <a:pt x="4832" y="269"/>
                </a:lnTo>
                <a:lnTo>
                  <a:pt x="4824" y="259"/>
                </a:lnTo>
                <a:lnTo>
                  <a:pt x="4816" y="251"/>
                </a:lnTo>
                <a:lnTo>
                  <a:pt x="4806" y="243"/>
                </a:lnTo>
                <a:lnTo>
                  <a:pt x="4797" y="237"/>
                </a:lnTo>
                <a:lnTo>
                  <a:pt x="4797" y="237"/>
                </a:lnTo>
                <a:lnTo>
                  <a:pt x="4785" y="231"/>
                </a:lnTo>
                <a:lnTo>
                  <a:pt x="4774" y="226"/>
                </a:lnTo>
                <a:lnTo>
                  <a:pt x="4763" y="224"/>
                </a:lnTo>
                <a:lnTo>
                  <a:pt x="4751" y="222"/>
                </a:lnTo>
                <a:lnTo>
                  <a:pt x="4739" y="220"/>
                </a:lnTo>
                <a:lnTo>
                  <a:pt x="4728" y="220"/>
                </a:lnTo>
                <a:lnTo>
                  <a:pt x="4716" y="223"/>
                </a:lnTo>
                <a:lnTo>
                  <a:pt x="4705" y="225"/>
                </a:lnTo>
                <a:lnTo>
                  <a:pt x="4694" y="229"/>
                </a:lnTo>
                <a:lnTo>
                  <a:pt x="4683" y="233"/>
                </a:lnTo>
                <a:lnTo>
                  <a:pt x="4672" y="239"/>
                </a:lnTo>
                <a:lnTo>
                  <a:pt x="4663" y="245"/>
                </a:lnTo>
                <a:lnTo>
                  <a:pt x="4654" y="253"/>
                </a:lnTo>
                <a:lnTo>
                  <a:pt x="4646" y="261"/>
                </a:lnTo>
                <a:lnTo>
                  <a:pt x="4639" y="271"/>
                </a:lnTo>
                <a:lnTo>
                  <a:pt x="4631" y="281"/>
                </a:lnTo>
                <a:lnTo>
                  <a:pt x="4425" y="638"/>
                </a:lnTo>
                <a:lnTo>
                  <a:pt x="4425" y="638"/>
                </a:lnTo>
                <a:lnTo>
                  <a:pt x="4419" y="649"/>
                </a:lnTo>
                <a:lnTo>
                  <a:pt x="4416" y="660"/>
                </a:lnTo>
                <a:lnTo>
                  <a:pt x="4412" y="672"/>
                </a:lnTo>
                <a:lnTo>
                  <a:pt x="4410" y="683"/>
                </a:lnTo>
                <a:lnTo>
                  <a:pt x="4408" y="695"/>
                </a:lnTo>
                <a:lnTo>
                  <a:pt x="4410" y="707"/>
                </a:lnTo>
                <a:lnTo>
                  <a:pt x="4411" y="718"/>
                </a:lnTo>
                <a:lnTo>
                  <a:pt x="4413" y="730"/>
                </a:lnTo>
                <a:lnTo>
                  <a:pt x="4417" y="741"/>
                </a:lnTo>
                <a:lnTo>
                  <a:pt x="4422" y="751"/>
                </a:lnTo>
                <a:lnTo>
                  <a:pt x="4426" y="761"/>
                </a:lnTo>
                <a:lnTo>
                  <a:pt x="4434" y="771"/>
                </a:lnTo>
                <a:lnTo>
                  <a:pt x="4441" y="779"/>
                </a:lnTo>
                <a:lnTo>
                  <a:pt x="4449" y="788"/>
                </a:lnTo>
                <a:lnTo>
                  <a:pt x="4459" y="796"/>
                </a:lnTo>
                <a:lnTo>
                  <a:pt x="4469" y="802"/>
                </a:lnTo>
                <a:lnTo>
                  <a:pt x="4469" y="802"/>
                </a:lnTo>
                <a:close/>
                <a:moveTo>
                  <a:pt x="4982" y="1271"/>
                </a:moveTo>
                <a:lnTo>
                  <a:pt x="4982" y="1271"/>
                </a:lnTo>
                <a:lnTo>
                  <a:pt x="4998" y="1271"/>
                </a:lnTo>
                <a:lnTo>
                  <a:pt x="5014" y="1267"/>
                </a:lnTo>
                <a:lnTo>
                  <a:pt x="5028" y="1263"/>
                </a:lnTo>
                <a:lnTo>
                  <a:pt x="5043" y="1255"/>
                </a:lnTo>
                <a:lnTo>
                  <a:pt x="5401" y="1049"/>
                </a:lnTo>
                <a:lnTo>
                  <a:pt x="5401" y="1049"/>
                </a:lnTo>
                <a:lnTo>
                  <a:pt x="5410" y="1042"/>
                </a:lnTo>
                <a:lnTo>
                  <a:pt x="5420" y="1035"/>
                </a:lnTo>
                <a:lnTo>
                  <a:pt x="5428" y="1026"/>
                </a:lnTo>
                <a:lnTo>
                  <a:pt x="5437" y="1018"/>
                </a:lnTo>
                <a:lnTo>
                  <a:pt x="5443" y="1008"/>
                </a:lnTo>
                <a:lnTo>
                  <a:pt x="5449" y="997"/>
                </a:lnTo>
                <a:lnTo>
                  <a:pt x="5453" y="987"/>
                </a:lnTo>
                <a:lnTo>
                  <a:pt x="5456" y="976"/>
                </a:lnTo>
                <a:lnTo>
                  <a:pt x="5459" y="965"/>
                </a:lnTo>
                <a:lnTo>
                  <a:pt x="5460" y="953"/>
                </a:lnTo>
                <a:lnTo>
                  <a:pt x="5461" y="942"/>
                </a:lnTo>
                <a:lnTo>
                  <a:pt x="5460" y="930"/>
                </a:lnTo>
                <a:lnTo>
                  <a:pt x="5457" y="918"/>
                </a:lnTo>
                <a:lnTo>
                  <a:pt x="5455" y="907"/>
                </a:lnTo>
                <a:lnTo>
                  <a:pt x="5450" y="895"/>
                </a:lnTo>
                <a:lnTo>
                  <a:pt x="5444" y="884"/>
                </a:lnTo>
                <a:lnTo>
                  <a:pt x="5444" y="884"/>
                </a:lnTo>
                <a:lnTo>
                  <a:pt x="5438" y="875"/>
                </a:lnTo>
                <a:lnTo>
                  <a:pt x="5430" y="865"/>
                </a:lnTo>
                <a:lnTo>
                  <a:pt x="5422" y="857"/>
                </a:lnTo>
                <a:lnTo>
                  <a:pt x="5413" y="849"/>
                </a:lnTo>
                <a:lnTo>
                  <a:pt x="5403" y="842"/>
                </a:lnTo>
                <a:lnTo>
                  <a:pt x="5394" y="836"/>
                </a:lnTo>
                <a:lnTo>
                  <a:pt x="5383" y="832"/>
                </a:lnTo>
                <a:lnTo>
                  <a:pt x="5372" y="829"/>
                </a:lnTo>
                <a:lnTo>
                  <a:pt x="5360" y="826"/>
                </a:lnTo>
                <a:lnTo>
                  <a:pt x="5349" y="825"/>
                </a:lnTo>
                <a:lnTo>
                  <a:pt x="5337" y="824"/>
                </a:lnTo>
                <a:lnTo>
                  <a:pt x="5325" y="825"/>
                </a:lnTo>
                <a:lnTo>
                  <a:pt x="5314" y="828"/>
                </a:lnTo>
                <a:lnTo>
                  <a:pt x="5302" y="830"/>
                </a:lnTo>
                <a:lnTo>
                  <a:pt x="5291" y="835"/>
                </a:lnTo>
                <a:lnTo>
                  <a:pt x="5280" y="841"/>
                </a:lnTo>
                <a:lnTo>
                  <a:pt x="4922" y="1047"/>
                </a:lnTo>
                <a:lnTo>
                  <a:pt x="4922" y="1047"/>
                </a:lnTo>
                <a:lnTo>
                  <a:pt x="4912" y="1053"/>
                </a:lnTo>
                <a:lnTo>
                  <a:pt x="4903" y="1061"/>
                </a:lnTo>
                <a:lnTo>
                  <a:pt x="4894" y="1070"/>
                </a:lnTo>
                <a:lnTo>
                  <a:pt x="4887" y="1078"/>
                </a:lnTo>
                <a:lnTo>
                  <a:pt x="4880" y="1088"/>
                </a:lnTo>
                <a:lnTo>
                  <a:pt x="4874" y="1099"/>
                </a:lnTo>
                <a:lnTo>
                  <a:pt x="4870" y="1108"/>
                </a:lnTo>
                <a:lnTo>
                  <a:pt x="4867" y="1120"/>
                </a:lnTo>
                <a:lnTo>
                  <a:pt x="4864" y="1131"/>
                </a:lnTo>
                <a:lnTo>
                  <a:pt x="4863" y="1143"/>
                </a:lnTo>
                <a:lnTo>
                  <a:pt x="4862" y="1154"/>
                </a:lnTo>
                <a:lnTo>
                  <a:pt x="4863" y="1166"/>
                </a:lnTo>
                <a:lnTo>
                  <a:pt x="4865" y="1177"/>
                </a:lnTo>
                <a:lnTo>
                  <a:pt x="4868" y="1189"/>
                </a:lnTo>
                <a:lnTo>
                  <a:pt x="4873" y="1200"/>
                </a:lnTo>
                <a:lnTo>
                  <a:pt x="4879" y="1211"/>
                </a:lnTo>
                <a:lnTo>
                  <a:pt x="4879" y="1211"/>
                </a:lnTo>
                <a:lnTo>
                  <a:pt x="4887" y="1225"/>
                </a:lnTo>
                <a:lnTo>
                  <a:pt x="4898" y="1237"/>
                </a:lnTo>
                <a:lnTo>
                  <a:pt x="4910" y="1247"/>
                </a:lnTo>
                <a:lnTo>
                  <a:pt x="4923" y="1256"/>
                </a:lnTo>
                <a:lnTo>
                  <a:pt x="4938" y="1263"/>
                </a:lnTo>
                <a:lnTo>
                  <a:pt x="4952" y="1267"/>
                </a:lnTo>
                <a:lnTo>
                  <a:pt x="4968" y="1271"/>
                </a:lnTo>
                <a:lnTo>
                  <a:pt x="4982" y="1271"/>
                </a:lnTo>
                <a:lnTo>
                  <a:pt x="4982" y="1271"/>
                </a:lnTo>
                <a:close/>
                <a:moveTo>
                  <a:pt x="2778" y="2284"/>
                </a:moveTo>
                <a:lnTo>
                  <a:pt x="2420" y="2490"/>
                </a:lnTo>
                <a:lnTo>
                  <a:pt x="2420" y="2490"/>
                </a:lnTo>
                <a:lnTo>
                  <a:pt x="2410" y="2496"/>
                </a:lnTo>
                <a:lnTo>
                  <a:pt x="2401" y="2505"/>
                </a:lnTo>
                <a:lnTo>
                  <a:pt x="2392" y="2513"/>
                </a:lnTo>
                <a:lnTo>
                  <a:pt x="2385" y="2521"/>
                </a:lnTo>
                <a:lnTo>
                  <a:pt x="2378" y="2531"/>
                </a:lnTo>
                <a:lnTo>
                  <a:pt x="2373" y="2542"/>
                </a:lnTo>
                <a:lnTo>
                  <a:pt x="2368" y="2552"/>
                </a:lnTo>
                <a:lnTo>
                  <a:pt x="2365" y="2564"/>
                </a:lnTo>
                <a:lnTo>
                  <a:pt x="2362" y="2574"/>
                </a:lnTo>
                <a:lnTo>
                  <a:pt x="2361" y="2585"/>
                </a:lnTo>
                <a:lnTo>
                  <a:pt x="2360" y="2597"/>
                </a:lnTo>
                <a:lnTo>
                  <a:pt x="2361" y="2609"/>
                </a:lnTo>
                <a:lnTo>
                  <a:pt x="2363" y="2620"/>
                </a:lnTo>
                <a:lnTo>
                  <a:pt x="2366" y="2632"/>
                </a:lnTo>
                <a:lnTo>
                  <a:pt x="2371" y="2643"/>
                </a:lnTo>
                <a:lnTo>
                  <a:pt x="2377" y="2654"/>
                </a:lnTo>
                <a:lnTo>
                  <a:pt x="2377" y="2654"/>
                </a:lnTo>
                <a:lnTo>
                  <a:pt x="2385" y="2668"/>
                </a:lnTo>
                <a:lnTo>
                  <a:pt x="2396" y="2680"/>
                </a:lnTo>
                <a:lnTo>
                  <a:pt x="2408" y="2690"/>
                </a:lnTo>
                <a:lnTo>
                  <a:pt x="2421" y="2698"/>
                </a:lnTo>
                <a:lnTo>
                  <a:pt x="2436" y="2706"/>
                </a:lnTo>
                <a:lnTo>
                  <a:pt x="2450" y="2711"/>
                </a:lnTo>
                <a:lnTo>
                  <a:pt x="2466" y="2714"/>
                </a:lnTo>
                <a:lnTo>
                  <a:pt x="2482" y="2714"/>
                </a:lnTo>
                <a:lnTo>
                  <a:pt x="2482" y="2714"/>
                </a:lnTo>
                <a:lnTo>
                  <a:pt x="2496" y="2714"/>
                </a:lnTo>
                <a:lnTo>
                  <a:pt x="2512" y="2711"/>
                </a:lnTo>
                <a:lnTo>
                  <a:pt x="2526" y="2706"/>
                </a:lnTo>
                <a:lnTo>
                  <a:pt x="2541" y="2698"/>
                </a:lnTo>
                <a:lnTo>
                  <a:pt x="2899" y="2492"/>
                </a:lnTo>
                <a:lnTo>
                  <a:pt x="2899" y="2492"/>
                </a:lnTo>
                <a:lnTo>
                  <a:pt x="2908" y="2485"/>
                </a:lnTo>
                <a:lnTo>
                  <a:pt x="2918" y="2478"/>
                </a:lnTo>
                <a:lnTo>
                  <a:pt x="2926" y="2470"/>
                </a:lnTo>
                <a:lnTo>
                  <a:pt x="2935" y="2461"/>
                </a:lnTo>
                <a:lnTo>
                  <a:pt x="2941" y="2452"/>
                </a:lnTo>
                <a:lnTo>
                  <a:pt x="2947" y="2441"/>
                </a:lnTo>
                <a:lnTo>
                  <a:pt x="2951" y="2430"/>
                </a:lnTo>
                <a:lnTo>
                  <a:pt x="2954" y="2419"/>
                </a:lnTo>
                <a:lnTo>
                  <a:pt x="2957" y="2408"/>
                </a:lnTo>
                <a:lnTo>
                  <a:pt x="2959" y="2396"/>
                </a:lnTo>
                <a:lnTo>
                  <a:pt x="2959" y="2385"/>
                </a:lnTo>
                <a:lnTo>
                  <a:pt x="2958" y="2373"/>
                </a:lnTo>
                <a:lnTo>
                  <a:pt x="2955" y="2361"/>
                </a:lnTo>
                <a:lnTo>
                  <a:pt x="2953" y="2350"/>
                </a:lnTo>
                <a:lnTo>
                  <a:pt x="2948" y="2338"/>
                </a:lnTo>
                <a:lnTo>
                  <a:pt x="2942" y="2327"/>
                </a:lnTo>
                <a:lnTo>
                  <a:pt x="2942" y="2327"/>
                </a:lnTo>
                <a:lnTo>
                  <a:pt x="2936" y="2318"/>
                </a:lnTo>
                <a:lnTo>
                  <a:pt x="2929" y="2308"/>
                </a:lnTo>
                <a:lnTo>
                  <a:pt x="2920" y="2300"/>
                </a:lnTo>
                <a:lnTo>
                  <a:pt x="2911" y="2293"/>
                </a:lnTo>
                <a:lnTo>
                  <a:pt x="2901" y="2285"/>
                </a:lnTo>
                <a:lnTo>
                  <a:pt x="2891" y="2279"/>
                </a:lnTo>
                <a:lnTo>
                  <a:pt x="2881" y="2276"/>
                </a:lnTo>
                <a:lnTo>
                  <a:pt x="2870" y="2272"/>
                </a:lnTo>
                <a:lnTo>
                  <a:pt x="2858" y="2270"/>
                </a:lnTo>
                <a:lnTo>
                  <a:pt x="2847" y="2268"/>
                </a:lnTo>
                <a:lnTo>
                  <a:pt x="2835" y="2267"/>
                </a:lnTo>
                <a:lnTo>
                  <a:pt x="2823" y="2268"/>
                </a:lnTo>
                <a:lnTo>
                  <a:pt x="2812" y="2271"/>
                </a:lnTo>
                <a:lnTo>
                  <a:pt x="2800" y="2273"/>
                </a:lnTo>
                <a:lnTo>
                  <a:pt x="2789" y="2278"/>
                </a:lnTo>
                <a:lnTo>
                  <a:pt x="2778" y="2284"/>
                </a:lnTo>
                <a:lnTo>
                  <a:pt x="2778" y="2284"/>
                </a:lnTo>
                <a:close/>
                <a:moveTo>
                  <a:pt x="5561" y="1649"/>
                </a:moveTo>
                <a:lnTo>
                  <a:pt x="5149" y="1649"/>
                </a:lnTo>
                <a:lnTo>
                  <a:pt x="5149" y="1649"/>
                </a:lnTo>
                <a:lnTo>
                  <a:pt x="5137" y="1649"/>
                </a:lnTo>
                <a:lnTo>
                  <a:pt x="5125" y="1652"/>
                </a:lnTo>
                <a:lnTo>
                  <a:pt x="5113" y="1654"/>
                </a:lnTo>
                <a:lnTo>
                  <a:pt x="5102" y="1659"/>
                </a:lnTo>
                <a:lnTo>
                  <a:pt x="5091" y="1664"/>
                </a:lnTo>
                <a:lnTo>
                  <a:pt x="5081" y="1670"/>
                </a:lnTo>
                <a:lnTo>
                  <a:pt x="5072" y="1677"/>
                </a:lnTo>
                <a:lnTo>
                  <a:pt x="5063" y="1684"/>
                </a:lnTo>
                <a:lnTo>
                  <a:pt x="5056" y="1693"/>
                </a:lnTo>
                <a:lnTo>
                  <a:pt x="5049" y="1702"/>
                </a:lnTo>
                <a:lnTo>
                  <a:pt x="5043" y="1712"/>
                </a:lnTo>
                <a:lnTo>
                  <a:pt x="5038" y="1723"/>
                </a:lnTo>
                <a:lnTo>
                  <a:pt x="5033" y="1734"/>
                </a:lnTo>
                <a:lnTo>
                  <a:pt x="5031" y="1746"/>
                </a:lnTo>
                <a:lnTo>
                  <a:pt x="5028" y="1758"/>
                </a:lnTo>
                <a:lnTo>
                  <a:pt x="5028" y="1770"/>
                </a:lnTo>
                <a:lnTo>
                  <a:pt x="5028" y="1770"/>
                </a:lnTo>
                <a:lnTo>
                  <a:pt x="5028" y="1782"/>
                </a:lnTo>
                <a:lnTo>
                  <a:pt x="5031" y="1794"/>
                </a:lnTo>
                <a:lnTo>
                  <a:pt x="5033" y="1806"/>
                </a:lnTo>
                <a:lnTo>
                  <a:pt x="5038" y="1817"/>
                </a:lnTo>
                <a:lnTo>
                  <a:pt x="5043" y="1828"/>
                </a:lnTo>
                <a:lnTo>
                  <a:pt x="5049" y="1837"/>
                </a:lnTo>
                <a:lnTo>
                  <a:pt x="5056" y="1846"/>
                </a:lnTo>
                <a:lnTo>
                  <a:pt x="5063" y="1855"/>
                </a:lnTo>
                <a:lnTo>
                  <a:pt x="5072" y="1862"/>
                </a:lnTo>
                <a:lnTo>
                  <a:pt x="5081" y="1870"/>
                </a:lnTo>
                <a:lnTo>
                  <a:pt x="5091" y="1876"/>
                </a:lnTo>
                <a:lnTo>
                  <a:pt x="5102" y="1881"/>
                </a:lnTo>
                <a:lnTo>
                  <a:pt x="5113" y="1884"/>
                </a:lnTo>
                <a:lnTo>
                  <a:pt x="5125" y="1888"/>
                </a:lnTo>
                <a:lnTo>
                  <a:pt x="5137" y="1889"/>
                </a:lnTo>
                <a:lnTo>
                  <a:pt x="5149" y="1890"/>
                </a:lnTo>
                <a:lnTo>
                  <a:pt x="5561" y="1890"/>
                </a:lnTo>
                <a:lnTo>
                  <a:pt x="5561" y="1890"/>
                </a:lnTo>
                <a:lnTo>
                  <a:pt x="5573" y="1889"/>
                </a:lnTo>
                <a:lnTo>
                  <a:pt x="5585" y="1888"/>
                </a:lnTo>
                <a:lnTo>
                  <a:pt x="5597" y="1884"/>
                </a:lnTo>
                <a:lnTo>
                  <a:pt x="5608" y="1881"/>
                </a:lnTo>
                <a:lnTo>
                  <a:pt x="5619" y="1876"/>
                </a:lnTo>
                <a:lnTo>
                  <a:pt x="5629" y="1870"/>
                </a:lnTo>
                <a:lnTo>
                  <a:pt x="5638" y="1862"/>
                </a:lnTo>
                <a:lnTo>
                  <a:pt x="5647" y="1855"/>
                </a:lnTo>
                <a:lnTo>
                  <a:pt x="5654" y="1846"/>
                </a:lnTo>
                <a:lnTo>
                  <a:pt x="5661" y="1837"/>
                </a:lnTo>
                <a:lnTo>
                  <a:pt x="5667" y="1828"/>
                </a:lnTo>
                <a:lnTo>
                  <a:pt x="5672" y="1817"/>
                </a:lnTo>
                <a:lnTo>
                  <a:pt x="5677" y="1806"/>
                </a:lnTo>
                <a:lnTo>
                  <a:pt x="5679" y="1794"/>
                </a:lnTo>
                <a:lnTo>
                  <a:pt x="5682" y="1782"/>
                </a:lnTo>
                <a:lnTo>
                  <a:pt x="5682" y="1770"/>
                </a:lnTo>
                <a:lnTo>
                  <a:pt x="5682" y="1770"/>
                </a:lnTo>
                <a:lnTo>
                  <a:pt x="5682" y="1758"/>
                </a:lnTo>
                <a:lnTo>
                  <a:pt x="5679" y="1746"/>
                </a:lnTo>
                <a:lnTo>
                  <a:pt x="5677" y="1734"/>
                </a:lnTo>
                <a:lnTo>
                  <a:pt x="5672" y="1723"/>
                </a:lnTo>
                <a:lnTo>
                  <a:pt x="5667" y="1712"/>
                </a:lnTo>
                <a:lnTo>
                  <a:pt x="5661" y="1702"/>
                </a:lnTo>
                <a:lnTo>
                  <a:pt x="5654" y="1693"/>
                </a:lnTo>
                <a:lnTo>
                  <a:pt x="5647" y="1684"/>
                </a:lnTo>
                <a:lnTo>
                  <a:pt x="5638" y="1677"/>
                </a:lnTo>
                <a:lnTo>
                  <a:pt x="5629" y="1670"/>
                </a:lnTo>
                <a:lnTo>
                  <a:pt x="5619" y="1664"/>
                </a:lnTo>
                <a:lnTo>
                  <a:pt x="5608" y="1659"/>
                </a:lnTo>
                <a:lnTo>
                  <a:pt x="5597" y="1654"/>
                </a:lnTo>
                <a:lnTo>
                  <a:pt x="5585" y="1652"/>
                </a:lnTo>
                <a:lnTo>
                  <a:pt x="5573" y="1649"/>
                </a:lnTo>
                <a:lnTo>
                  <a:pt x="5561" y="1649"/>
                </a:lnTo>
                <a:lnTo>
                  <a:pt x="5561" y="1649"/>
                </a:lnTo>
                <a:close/>
                <a:moveTo>
                  <a:pt x="2793" y="1770"/>
                </a:moveTo>
                <a:lnTo>
                  <a:pt x="2793" y="1770"/>
                </a:lnTo>
                <a:lnTo>
                  <a:pt x="2793" y="1758"/>
                </a:lnTo>
                <a:lnTo>
                  <a:pt x="2790" y="1746"/>
                </a:lnTo>
                <a:lnTo>
                  <a:pt x="2788" y="1734"/>
                </a:lnTo>
                <a:lnTo>
                  <a:pt x="2783" y="1723"/>
                </a:lnTo>
                <a:lnTo>
                  <a:pt x="2778" y="1712"/>
                </a:lnTo>
                <a:lnTo>
                  <a:pt x="2772" y="1702"/>
                </a:lnTo>
                <a:lnTo>
                  <a:pt x="2765" y="1693"/>
                </a:lnTo>
                <a:lnTo>
                  <a:pt x="2758" y="1684"/>
                </a:lnTo>
                <a:lnTo>
                  <a:pt x="2749" y="1677"/>
                </a:lnTo>
                <a:lnTo>
                  <a:pt x="2740" y="1670"/>
                </a:lnTo>
                <a:lnTo>
                  <a:pt x="2730" y="1664"/>
                </a:lnTo>
                <a:lnTo>
                  <a:pt x="2719" y="1659"/>
                </a:lnTo>
                <a:lnTo>
                  <a:pt x="2708" y="1654"/>
                </a:lnTo>
                <a:lnTo>
                  <a:pt x="2696" y="1652"/>
                </a:lnTo>
                <a:lnTo>
                  <a:pt x="2684" y="1649"/>
                </a:lnTo>
                <a:lnTo>
                  <a:pt x="2672" y="1649"/>
                </a:lnTo>
                <a:lnTo>
                  <a:pt x="2260" y="1649"/>
                </a:lnTo>
                <a:lnTo>
                  <a:pt x="2260" y="1649"/>
                </a:lnTo>
                <a:lnTo>
                  <a:pt x="2248" y="1649"/>
                </a:lnTo>
                <a:lnTo>
                  <a:pt x="2236" y="1652"/>
                </a:lnTo>
                <a:lnTo>
                  <a:pt x="2223" y="1654"/>
                </a:lnTo>
                <a:lnTo>
                  <a:pt x="2213" y="1659"/>
                </a:lnTo>
                <a:lnTo>
                  <a:pt x="2202" y="1664"/>
                </a:lnTo>
                <a:lnTo>
                  <a:pt x="2192" y="1670"/>
                </a:lnTo>
                <a:lnTo>
                  <a:pt x="2182" y="1677"/>
                </a:lnTo>
                <a:lnTo>
                  <a:pt x="2174" y="1684"/>
                </a:lnTo>
                <a:lnTo>
                  <a:pt x="2167" y="1693"/>
                </a:lnTo>
                <a:lnTo>
                  <a:pt x="2160" y="1702"/>
                </a:lnTo>
                <a:lnTo>
                  <a:pt x="2154" y="1712"/>
                </a:lnTo>
                <a:lnTo>
                  <a:pt x="2149" y="1723"/>
                </a:lnTo>
                <a:lnTo>
                  <a:pt x="2144" y="1734"/>
                </a:lnTo>
                <a:lnTo>
                  <a:pt x="2141" y="1746"/>
                </a:lnTo>
                <a:lnTo>
                  <a:pt x="2140" y="1758"/>
                </a:lnTo>
                <a:lnTo>
                  <a:pt x="2139" y="1770"/>
                </a:lnTo>
                <a:lnTo>
                  <a:pt x="2139" y="1770"/>
                </a:lnTo>
                <a:lnTo>
                  <a:pt x="2140" y="1782"/>
                </a:lnTo>
                <a:lnTo>
                  <a:pt x="2141" y="1794"/>
                </a:lnTo>
                <a:lnTo>
                  <a:pt x="2144" y="1806"/>
                </a:lnTo>
                <a:lnTo>
                  <a:pt x="2149" y="1817"/>
                </a:lnTo>
                <a:lnTo>
                  <a:pt x="2154" y="1828"/>
                </a:lnTo>
                <a:lnTo>
                  <a:pt x="2160" y="1837"/>
                </a:lnTo>
                <a:lnTo>
                  <a:pt x="2167" y="1846"/>
                </a:lnTo>
                <a:lnTo>
                  <a:pt x="2174" y="1855"/>
                </a:lnTo>
                <a:lnTo>
                  <a:pt x="2182" y="1862"/>
                </a:lnTo>
                <a:lnTo>
                  <a:pt x="2192" y="1870"/>
                </a:lnTo>
                <a:lnTo>
                  <a:pt x="2202" y="1876"/>
                </a:lnTo>
                <a:lnTo>
                  <a:pt x="2213" y="1881"/>
                </a:lnTo>
                <a:lnTo>
                  <a:pt x="2223" y="1884"/>
                </a:lnTo>
                <a:lnTo>
                  <a:pt x="2236" y="1888"/>
                </a:lnTo>
                <a:lnTo>
                  <a:pt x="2248" y="1889"/>
                </a:lnTo>
                <a:lnTo>
                  <a:pt x="2260" y="1890"/>
                </a:lnTo>
                <a:lnTo>
                  <a:pt x="2672" y="1890"/>
                </a:lnTo>
                <a:lnTo>
                  <a:pt x="2672" y="1890"/>
                </a:lnTo>
                <a:lnTo>
                  <a:pt x="2684" y="1889"/>
                </a:lnTo>
                <a:lnTo>
                  <a:pt x="2696" y="1888"/>
                </a:lnTo>
                <a:lnTo>
                  <a:pt x="2708" y="1884"/>
                </a:lnTo>
                <a:lnTo>
                  <a:pt x="2719" y="1881"/>
                </a:lnTo>
                <a:lnTo>
                  <a:pt x="2730" y="1876"/>
                </a:lnTo>
                <a:lnTo>
                  <a:pt x="2740" y="1870"/>
                </a:lnTo>
                <a:lnTo>
                  <a:pt x="2749" y="1862"/>
                </a:lnTo>
                <a:lnTo>
                  <a:pt x="2758" y="1855"/>
                </a:lnTo>
                <a:lnTo>
                  <a:pt x="2765" y="1846"/>
                </a:lnTo>
                <a:lnTo>
                  <a:pt x="2772" y="1837"/>
                </a:lnTo>
                <a:lnTo>
                  <a:pt x="2778" y="1828"/>
                </a:lnTo>
                <a:lnTo>
                  <a:pt x="2783" y="1817"/>
                </a:lnTo>
                <a:lnTo>
                  <a:pt x="2788" y="1806"/>
                </a:lnTo>
                <a:lnTo>
                  <a:pt x="2790" y="1794"/>
                </a:lnTo>
                <a:lnTo>
                  <a:pt x="2793" y="1782"/>
                </a:lnTo>
                <a:lnTo>
                  <a:pt x="2793" y="1770"/>
                </a:lnTo>
                <a:lnTo>
                  <a:pt x="2793" y="1770"/>
                </a:lnTo>
                <a:close/>
                <a:moveTo>
                  <a:pt x="4857" y="1770"/>
                </a:moveTo>
                <a:lnTo>
                  <a:pt x="4857" y="1770"/>
                </a:lnTo>
                <a:lnTo>
                  <a:pt x="4856" y="1803"/>
                </a:lnTo>
                <a:lnTo>
                  <a:pt x="4855" y="1836"/>
                </a:lnTo>
                <a:lnTo>
                  <a:pt x="4852" y="1867"/>
                </a:lnTo>
                <a:lnTo>
                  <a:pt x="4849" y="1899"/>
                </a:lnTo>
                <a:lnTo>
                  <a:pt x="4844" y="1930"/>
                </a:lnTo>
                <a:lnTo>
                  <a:pt x="4838" y="1959"/>
                </a:lnTo>
                <a:lnTo>
                  <a:pt x="4832" y="1989"/>
                </a:lnTo>
                <a:lnTo>
                  <a:pt x="4824" y="2017"/>
                </a:lnTo>
                <a:lnTo>
                  <a:pt x="4817" y="2044"/>
                </a:lnTo>
                <a:lnTo>
                  <a:pt x="4809" y="2072"/>
                </a:lnTo>
                <a:lnTo>
                  <a:pt x="4799" y="2099"/>
                </a:lnTo>
                <a:lnTo>
                  <a:pt x="4789" y="2125"/>
                </a:lnTo>
                <a:lnTo>
                  <a:pt x="4779" y="2150"/>
                </a:lnTo>
                <a:lnTo>
                  <a:pt x="4768" y="2176"/>
                </a:lnTo>
                <a:lnTo>
                  <a:pt x="4744" y="2223"/>
                </a:lnTo>
                <a:lnTo>
                  <a:pt x="4718" y="2270"/>
                </a:lnTo>
                <a:lnTo>
                  <a:pt x="4691" y="2313"/>
                </a:lnTo>
                <a:lnTo>
                  <a:pt x="4663" y="2355"/>
                </a:lnTo>
                <a:lnTo>
                  <a:pt x="4634" y="2396"/>
                </a:lnTo>
                <a:lnTo>
                  <a:pt x="4605" y="2435"/>
                </a:lnTo>
                <a:lnTo>
                  <a:pt x="4575" y="2472"/>
                </a:lnTo>
                <a:lnTo>
                  <a:pt x="4517" y="2544"/>
                </a:lnTo>
                <a:lnTo>
                  <a:pt x="4517" y="2544"/>
                </a:lnTo>
                <a:lnTo>
                  <a:pt x="4480" y="2590"/>
                </a:lnTo>
                <a:lnTo>
                  <a:pt x="4443" y="2635"/>
                </a:lnTo>
                <a:lnTo>
                  <a:pt x="4443" y="3007"/>
                </a:lnTo>
                <a:lnTo>
                  <a:pt x="4443" y="3007"/>
                </a:lnTo>
                <a:lnTo>
                  <a:pt x="4443" y="3024"/>
                </a:lnTo>
                <a:lnTo>
                  <a:pt x="4442" y="3039"/>
                </a:lnTo>
                <a:lnTo>
                  <a:pt x="4440" y="3056"/>
                </a:lnTo>
                <a:lnTo>
                  <a:pt x="4437" y="3072"/>
                </a:lnTo>
                <a:lnTo>
                  <a:pt x="4434" y="3088"/>
                </a:lnTo>
                <a:lnTo>
                  <a:pt x="4429" y="3103"/>
                </a:lnTo>
                <a:lnTo>
                  <a:pt x="4424" y="3119"/>
                </a:lnTo>
                <a:lnTo>
                  <a:pt x="4418" y="3133"/>
                </a:lnTo>
                <a:lnTo>
                  <a:pt x="4412" y="3148"/>
                </a:lnTo>
                <a:lnTo>
                  <a:pt x="4405" y="3162"/>
                </a:lnTo>
                <a:lnTo>
                  <a:pt x="4396" y="3176"/>
                </a:lnTo>
                <a:lnTo>
                  <a:pt x="4388" y="3189"/>
                </a:lnTo>
                <a:lnTo>
                  <a:pt x="4378" y="3202"/>
                </a:lnTo>
                <a:lnTo>
                  <a:pt x="4369" y="3214"/>
                </a:lnTo>
                <a:lnTo>
                  <a:pt x="4359" y="3226"/>
                </a:lnTo>
                <a:lnTo>
                  <a:pt x="4348" y="3237"/>
                </a:lnTo>
                <a:lnTo>
                  <a:pt x="4336" y="3248"/>
                </a:lnTo>
                <a:lnTo>
                  <a:pt x="4325" y="3259"/>
                </a:lnTo>
                <a:lnTo>
                  <a:pt x="4312" y="3268"/>
                </a:lnTo>
                <a:lnTo>
                  <a:pt x="4300" y="3277"/>
                </a:lnTo>
                <a:lnTo>
                  <a:pt x="4287" y="3286"/>
                </a:lnTo>
                <a:lnTo>
                  <a:pt x="4272" y="3294"/>
                </a:lnTo>
                <a:lnTo>
                  <a:pt x="4259" y="3301"/>
                </a:lnTo>
                <a:lnTo>
                  <a:pt x="4244" y="3307"/>
                </a:lnTo>
                <a:lnTo>
                  <a:pt x="4229" y="3313"/>
                </a:lnTo>
                <a:lnTo>
                  <a:pt x="4214" y="3319"/>
                </a:lnTo>
                <a:lnTo>
                  <a:pt x="4199" y="3323"/>
                </a:lnTo>
                <a:lnTo>
                  <a:pt x="4183" y="3326"/>
                </a:lnTo>
                <a:lnTo>
                  <a:pt x="4166" y="3330"/>
                </a:lnTo>
                <a:lnTo>
                  <a:pt x="4150" y="3331"/>
                </a:lnTo>
                <a:lnTo>
                  <a:pt x="4133" y="3332"/>
                </a:lnTo>
                <a:lnTo>
                  <a:pt x="4117" y="3333"/>
                </a:lnTo>
                <a:lnTo>
                  <a:pt x="3704" y="3333"/>
                </a:lnTo>
                <a:lnTo>
                  <a:pt x="3704" y="3333"/>
                </a:lnTo>
                <a:lnTo>
                  <a:pt x="3687" y="3332"/>
                </a:lnTo>
                <a:lnTo>
                  <a:pt x="3670" y="3331"/>
                </a:lnTo>
                <a:lnTo>
                  <a:pt x="3655" y="3330"/>
                </a:lnTo>
                <a:lnTo>
                  <a:pt x="3638" y="3326"/>
                </a:lnTo>
                <a:lnTo>
                  <a:pt x="3622" y="3323"/>
                </a:lnTo>
                <a:lnTo>
                  <a:pt x="3607" y="3319"/>
                </a:lnTo>
                <a:lnTo>
                  <a:pt x="3592" y="3313"/>
                </a:lnTo>
                <a:lnTo>
                  <a:pt x="3576" y="3307"/>
                </a:lnTo>
                <a:lnTo>
                  <a:pt x="3562" y="3301"/>
                </a:lnTo>
                <a:lnTo>
                  <a:pt x="3549" y="3294"/>
                </a:lnTo>
                <a:lnTo>
                  <a:pt x="3534" y="3286"/>
                </a:lnTo>
                <a:lnTo>
                  <a:pt x="3521" y="3277"/>
                </a:lnTo>
                <a:lnTo>
                  <a:pt x="3509" y="3268"/>
                </a:lnTo>
                <a:lnTo>
                  <a:pt x="3497" y="3259"/>
                </a:lnTo>
                <a:lnTo>
                  <a:pt x="3485" y="3248"/>
                </a:lnTo>
                <a:lnTo>
                  <a:pt x="3473" y="3237"/>
                </a:lnTo>
                <a:lnTo>
                  <a:pt x="3462" y="3226"/>
                </a:lnTo>
                <a:lnTo>
                  <a:pt x="3452" y="3214"/>
                </a:lnTo>
                <a:lnTo>
                  <a:pt x="3443" y="3202"/>
                </a:lnTo>
                <a:lnTo>
                  <a:pt x="3433" y="3189"/>
                </a:lnTo>
                <a:lnTo>
                  <a:pt x="3424" y="3176"/>
                </a:lnTo>
                <a:lnTo>
                  <a:pt x="3417" y="3162"/>
                </a:lnTo>
                <a:lnTo>
                  <a:pt x="3410" y="3148"/>
                </a:lnTo>
                <a:lnTo>
                  <a:pt x="3403" y="3133"/>
                </a:lnTo>
                <a:lnTo>
                  <a:pt x="3397" y="3119"/>
                </a:lnTo>
                <a:lnTo>
                  <a:pt x="3392" y="3103"/>
                </a:lnTo>
                <a:lnTo>
                  <a:pt x="3387" y="3088"/>
                </a:lnTo>
                <a:lnTo>
                  <a:pt x="3383" y="3072"/>
                </a:lnTo>
                <a:lnTo>
                  <a:pt x="3381" y="3056"/>
                </a:lnTo>
                <a:lnTo>
                  <a:pt x="3379" y="3039"/>
                </a:lnTo>
                <a:lnTo>
                  <a:pt x="3377" y="3024"/>
                </a:lnTo>
                <a:lnTo>
                  <a:pt x="3377" y="3007"/>
                </a:lnTo>
                <a:lnTo>
                  <a:pt x="3377" y="2635"/>
                </a:lnTo>
                <a:lnTo>
                  <a:pt x="3377" y="2635"/>
                </a:lnTo>
                <a:lnTo>
                  <a:pt x="3341" y="2590"/>
                </a:lnTo>
                <a:lnTo>
                  <a:pt x="3304" y="2544"/>
                </a:lnTo>
                <a:lnTo>
                  <a:pt x="3304" y="2544"/>
                </a:lnTo>
                <a:lnTo>
                  <a:pt x="3246" y="2472"/>
                </a:lnTo>
                <a:lnTo>
                  <a:pt x="3217" y="2435"/>
                </a:lnTo>
                <a:lnTo>
                  <a:pt x="3187" y="2396"/>
                </a:lnTo>
                <a:lnTo>
                  <a:pt x="3158" y="2355"/>
                </a:lnTo>
                <a:lnTo>
                  <a:pt x="3130" y="2313"/>
                </a:lnTo>
                <a:lnTo>
                  <a:pt x="3103" y="2270"/>
                </a:lnTo>
                <a:lnTo>
                  <a:pt x="3077" y="2223"/>
                </a:lnTo>
                <a:lnTo>
                  <a:pt x="3054" y="2176"/>
                </a:lnTo>
                <a:lnTo>
                  <a:pt x="3042" y="2150"/>
                </a:lnTo>
                <a:lnTo>
                  <a:pt x="3033" y="2125"/>
                </a:lnTo>
                <a:lnTo>
                  <a:pt x="3022" y="2099"/>
                </a:lnTo>
                <a:lnTo>
                  <a:pt x="3013" y="2072"/>
                </a:lnTo>
                <a:lnTo>
                  <a:pt x="3004" y="2044"/>
                </a:lnTo>
                <a:lnTo>
                  <a:pt x="2996" y="2017"/>
                </a:lnTo>
                <a:lnTo>
                  <a:pt x="2989" y="1989"/>
                </a:lnTo>
                <a:lnTo>
                  <a:pt x="2983" y="1959"/>
                </a:lnTo>
                <a:lnTo>
                  <a:pt x="2977" y="1930"/>
                </a:lnTo>
                <a:lnTo>
                  <a:pt x="2972" y="1899"/>
                </a:lnTo>
                <a:lnTo>
                  <a:pt x="2969" y="1867"/>
                </a:lnTo>
                <a:lnTo>
                  <a:pt x="2966" y="1836"/>
                </a:lnTo>
                <a:lnTo>
                  <a:pt x="2965" y="1803"/>
                </a:lnTo>
                <a:lnTo>
                  <a:pt x="2965" y="1770"/>
                </a:lnTo>
                <a:lnTo>
                  <a:pt x="2965" y="1770"/>
                </a:lnTo>
                <a:lnTo>
                  <a:pt x="2966" y="1721"/>
                </a:lnTo>
                <a:lnTo>
                  <a:pt x="2970" y="1673"/>
                </a:lnTo>
                <a:lnTo>
                  <a:pt x="2976" y="1626"/>
                </a:lnTo>
                <a:lnTo>
                  <a:pt x="2983" y="1579"/>
                </a:lnTo>
                <a:lnTo>
                  <a:pt x="2994" y="1534"/>
                </a:lnTo>
                <a:lnTo>
                  <a:pt x="3007" y="1489"/>
                </a:lnTo>
                <a:lnTo>
                  <a:pt x="3022" y="1444"/>
                </a:lnTo>
                <a:lnTo>
                  <a:pt x="3039" y="1402"/>
                </a:lnTo>
                <a:lnTo>
                  <a:pt x="3058" y="1360"/>
                </a:lnTo>
                <a:lnTo>
                  <a:pt x="3078" y="1319"/>
                </a:lnTo>
                <a:lnTo>
                  <a:pt x="3101" y="1279"/>
                </a:lnTo>
                <a:lnTo>
                  <a:pt x="3127" y="1242"/>
                </a:lnTo>
                <a:lnTo>
                  <a:pt x="3153" y="1205"/>
                </a:lnTo>
                <a:lnTo>
                  <a:pt x="3181" y="1169"/>
                </a:lnTo>
                <a:lnTo>
                  <a:pt x="3211" y="1135"/>
                </a:lnTo>
                <a:lnTo>
                  <a:pt x="3242" y="1101"/>
                </a:lnTo>
                <a:lnTo>
                  <a:pt x="3275" y="1070"/>
                </a:lnTo>
                <a:lnTo>
                  <a:pt x="3309" y="1041"/>
                </a:lnTo>
                <a:lnTo>
                  <a:pt x="3345" y="1012"/>
                </a:lnTo>
                <a:lnTo>
                  <a:pt x="3382" y="987"/>
                </a:lnTo>
                <a:lnTo>
                  <a:pt x="3421" y="961"/>
                </a:lnTo>
                <a:lnTo>
                  <a:pt x="3459" y="938"/>
                </a:lnTo>
                <a:lnTo>
                  <a:pt x="3500" y="918"/>
                </a:lnTo>
                <a:lnTo>
                  <a:pt x="3543" y="899"/>
                </a:lnTo>
                <a:lnTo>
                  <a:pt x="3586" y="882"/>
                </a:lnTo>
                <a:lnTo>
                  <a:pt x="3629" y="867"/>
                </a:lnTo>
                <a:lnTo>
                  <a:pt x="3674" y="854"/>
                </a:lnTo>
                <a:lnTo>
                  <a:pt x="3720" y="843"/>
                </a:lnTo>
                <a:lnTo>
                  <a:pt x="3767" y="835"/>
                </a:lnTo>
                <a:lnTo>
                  <a:pt x="3814" y="829"/>
                </a:lnTo>
                <a:lnTo>
                  <a:pt x="3862" y="825"/>
                </a:lnTo>
                <a:lnTo>
                  <a:pt x="3910" y="824"/>
                </a:lnTo>
                <a:lnTo>
                  <a:pt x="3910" y="824"/>
                </a:lnTo>
                <a:lnTo>
                  <a:pt x="3959" y="825"/>
                </a:lnTo>
                <a:lnTo>
                  <a:pt x="4007" y="829"/>
                </a:lnTo>
                <a:lnTo>
                  <a:pt x="4054" y="835"/>
                </a:lnTo>
                <a:lnTo>
                  <a:pt x="4101" y="843"/>
                </a:lnTo>
                <a:lnTo>
                  <a:pt x="4147" y="854"/>
                </a:lnTo>
                <a:lnTo>
                  <a:pt x="4191" y="867"/>
                </a:lnTo>
                <a:lnTo>
                  <a:pt x="4236" y="882"/>
                </a:lnTo>
                <a:lnTo>
                  <a:pt x="4278" y="899"/>
                </a:lnTo>
                <a:lnTo>
                  <a:pt x="4320" y="918"/>
                </a:lnTo>
                <a:lnTo>
                  <a:pt x="4361" y="938"/>
                </a:lnTo>
                <a:lnTo>
                  <a:pt x="4401" y="961"/>
                </a:lnTo>
                <a:lnTo>
                  <a:pt x="4439" y="987"/>
                </a:lnTo>
                <a:lnTo>
                  <a:pt x="4476" y="1012"/>
                </a:lnTo>
                <a:lnTo>
                  <a:pt x="4512" y="1041"/>
                </a:lnTo>
                <a:lnTo>
                  <a:pt x="4546" y="1070"/>
                </a:lnTo>
                <a:lnTo>
                  <a:pt x="4580" y="1101"/>
                </a:lnTo>
                <a:lnTo>
                  <a:pt x="4611" y="1135"/>
                </a:lnTo>
                <a:lnTo>
                  <a:pt x="4640" y="1169"/>
                </a:lnTo>
                <a:lnTo>
                  <a:pt x="4669" y="1205"/>
                </a:lnTo>
                <a:lnTo>
                  <a:pt x="4694" y="1242"/>
                </a:lnTo>
                <a:lnTo>
                  <a:pt x="4719" y="1279"/>
                </a:lnTo>
                <a:lnTo>
                  <a:pt x="4742" y="1319"/>
                </a:lnTo>
                <a:lnTo>
                  <a:pt x="4763" y="1360"/>
                </a:lnTo>
                <a:lnTo>
                  <a:pt x="4782" y="1402"/>
                </a:lnTo>
                <a:lnTo>
                  <a:pt x="4799" y="1444"/>
                </a:lnTo>
                <a:lnTo>
                  <a:pt x="4814" y="1489"/>
                </a:lnTo>
                <a:lnTo>
                  <a:pt x="4827" y="1534"/>
                </a:lnTo>
                <a:lnTo>
                  <a:pt x="4838" y="1579"/>
                </a:lnTo>
                <a:lnTo>
                  <a:pt x="4846" y="1626"/>
                </a:lnTo>
                <a:lnTo>
                  <a:pt x="4852" y="1673"/>
                </a:lnTo>
                <a:lnTo>
                  <a:pt x="4856" y="1721"/>
                </a:lnTo>
                <a:lnTo>
                  <a:pt x="4857" y="1770"/>
                </a:lnTo>
                <a:lnTo>
                  <a:pt x="4857" y="1770"/>
                </a:lnTo>
                <a:close/>
                <a:moveTo>
                  <a:pt x="4202" y="2714"/>
                </a:moveTo>
                <a:lnTo>
                  <a:pt x="3619" y="2714"/>
                </a:lnTo>
                <a:lnTo>
                  <a:pt x="3619" y="3007"/>
                </a:lnTo>
                <a:lnTo>
                  <a:pt x="3619" y="3007"/>
                </a:lnTo>
                <a:lnTo>
                  <a:pt x="3619" y="3015"/>
                </a:lnTo>
                <a:lnTo>
                  <a:pt x="3620" y="3024"/>
                </a:lnTo>
                <a:lnTo>
                  <a:pt x="3622" y="3032"/>
                </a:lnTo>
                <a:lnTo>
                  <a:pt x="3625" y="3039"/>
                </a:lnTo>
                <a:lnTo>
                  <a:pt x="3628" y="3048"/>
                </a:lnTo>
                <a:lnTo>
                  <a:pt x="3633" y="3054"/>
                </a:lnTo>
                <a:lnTo>
                  <a:pt x="3638" y="3061"/>
                </a:lnTo>
                <a:lnTo>
                  <a:pt x="3644" y="3067"/>
                </a:lnTo>
                <a:lnTo>
                  <a:pt x="3650" y="3073"/>
                </a:lnTo>
                <a:lnTo>
                  <a:pt x="3656" y="3078"/>
                </a:lnTo>
                <a:lnTo>
                  <a:pt x="3663" y="3082"/>
                </a:lnTo>
                <a:lnTo>
                  <a:pt x="3670" y="3085"/>
                </a:lnTo>
                <a:lnTo>
                  <a:pt x="3679" y="3089"/>
                </a:lnTo>
                <a:lnTo>
                  <a:pt x="3687" y="3090"/>
                </a:lnTo>
                <a:lnTo>
                  <a:pt x="3696" y="3091"/>
                </a:lnTo>
                <a:lnTo>
                  <a:pt x="3704" y="3092"/>
                </a:lnTo>
                <a:lnTo>
                  <a:pt x="4117" y="3092"/>
                </a:lnTo>
                <a:lnTo>
                  <a:pt x="4117" y="3092"/>
                </a:lnTo>
                <a:lnTo>
                  <a:pt x="4125" y="3091"/>
                </a:lnTo>
                <a:lnTo>
                  <a:pt x="4135" y="3090"/>
                </a:lnTo>
                <a:lnTo>
                  <a:pt x="4142" y="3089"/>
                </a:lnTo>
                <a:lnTo>
                  <a:pt x="4150" y="3085"/>
                </a:lnTo>
                <a:lnTo>
                  <a:pt x="4158" y="3082"/>
                </a:lnTo>
                <a:lnTo>
                  <a:pt x="4165" y="3078"/>
                </a:lnTo>
                <a:lnTo>
                  <a:pt x="4171" y="3073"/>
                </a:lnTo>
                <a:lnTo>
                  <a:pt x="4177" y="3067"/>
                </a:lnTo>
                <a:lnTo>
                  <a:pt x="4183" y="3061"/>
                </a:lnTo>
                <a:lnTo>
                  <a:pt x="4188" y="3054"/>
                </a:lnTo>
                <a:lnTo>
                  <a:pt x="4193" y="3048"/>
                </a:lnTo>
                <a:lnTo>
                  <a:pt x="4196" y="3039"/>
                </a:lnTo>
                <a:lnTo>
                  <a:pt x="4199" y="3032"/>
                </a:lnTo>
                <a:lnTo>
                  <a:pt x="4201" y="3024"/>
                </a:lnTo>
                <a:lnTo>
                  <a:pt x="4202" y="3015"/>
                </a:lnTo>
                <a:lnTo>
                  <a:pt x="4202" y="3007"/>
                </a:lnTo>
                <a:lnTo>
                  <a:pt x="4202" y="2714"/>
                </a:lnTo>
                <a:close/>
                <a:moveTo>
                  <a:pt x="4616" y="1770"/>
                </a:moveTo>
                <a:lnTo>
                  <a:pt x="4616" y="1770"/>
                </a:lnTo>
                <a:lnTo>
                  <a:pt x="4615" y="1734"/>
                </a:lnTo>
                <a:lnTo>
                  <a:pt x="4612" y="1697"/>
                </a:lnTo>
                <a:lnTo>
                  <a:pt x="4607" y="1662"/>
                </a:lnTo>
                <a:lnTo>
                  <a:pt x="4601" y="1628"/>
                </a:lnTo>
                <a:lnTo>
                  <a:pt x="4593" y="1594"/>
                </a:lnTo>
                <a:lnTo>
                  <a:pt x="4583" y="1560"/>
                </a:lnTo>
                <a:lnTo>
                  <a:pt x="4572" y="1528"/>
                </a:lnTo>
                <a:lnTo>
                  <a:pt x="4560" y="1496"/>
                </a:lnTo>
                <a:lnTo>
                  <a:pt x="4546" y="1465"/>
                </a:lnTo>
                <a:lnTo>
                  <a:pt x="4530" y="1434"/>
                </a:lnTo>
                <a:lnTo>
                  <a:pt x="4513" y="1405"/>
                </a:lnTo>
                <a:lnTo>
                  <a:pt x="4495" y="1376"/>
                </a:lnTo>
                <a:lnTo>
                  <a:pt x="4475" y="1348"/>
                </a:lnTo>
                <a:lnTo>
                  <a:pt x="4454" y="1322"/>
                </a:lnTo>
                <a:lnTo>
                  <a:pt x="4433" y="1296"/>
                </a:lnTo>
                <a:lnTo>
                  <a:pt x="4408" y="1272"/>
                </a:lnTo>
                <a:lnTo>
                  <a:pt x="4384" y="1248"/>
                </a:lnTo>
                <a:lnTo>
                  <a:pt x="4359" y="1226"/>
                </a:lnTo>
                <a:lnTo>
                  <a:pt x="4332" y="1206"/>
                </a:lnTo>
                <a:lnTo>
                  <a:pt x="4305" y="1185"/>
                </a:lnTo>
                <a:lnTo>
                  <a:pt x="4276" y="1167"/>
                </a:lnTo>
                <a:lnTo>
                  <a:pt x="4246" y="1150"/>
                </a:lnTo>
                <a:lnTo>
                  <a:pt x="4215" y="1135"/>
                </a:lnTo>
                <a:lnTo>
                  <a:pt x="4184" y="1120"/>
                </a:lnTo>
                <a:lnTo>
                  <a:pt x="4153" y="1108"/>
                </a:lnTo>
                <a:lnTo>
                  <a:pt x="4120" y="1097"/>
                </a:lnTo>
                <a:lnTo>
                  <a:pt x="4086" y="1088"/>
                </a:lnTo>
                <a:lnTo>
                  <a:pt x="4053" y="1079"/>
                </a:lnTo>
                <a:lnTo>
                  <a:pt x="4018" y="1073"/>
                </a:lnTo>
                <a:lnTo>
                  <a:pt x="3983" y="1069"/>
                </a:lnTo>
                <a:lnTo>
                  <a:pt x="3947" y="1066"/>
                </a:lnTo>
                <a:lnTo>
                  <a:pt x="3910" y="1065"/>
                </a:lnTo>
                <a:lnTo>
                  <a:pt x="3910" y="1065"/>
                </a:lnTo>
                <a:lnTo>
                  <a:pt x="3874" y="1066"/>
                </a:lnTo>
                <a:lnTo>
                  <a:pt x="3838" y="1069"/>
                </a:lnTo>
                <a:lnTo>
                  <a:pt x="3803" y="1073"/>
                </a:lnTo>
                <a:lnTo>
                  <a:pt x="3768" y="1079"/>
                </a:lnTo>
                <a:lnTo>
                  <a:pt x="3734" y="1088"/>
                </a:lnTo>
                <a:lnTo>
                  <a:pt x="3701" y="1097"/>
                </a:lnTo>
                <a:lnTo>
                  <a:pt x="3668" y="1108"/>
                </a:lnTo>
                <a:lnTo>
                  <a:pt x="3637" y="1120"/>
                </a:lnTo>
                <a:lnTo>
                  <a:pt x="3605" y="1135"/>
                </a:lnTo>
                <a:lnTo>
                  <a:pt x="3575" y="1150"/>
                </a:lnTo>
                <a:lnTo>
                  <a:pt x="3545" y="1167"/>
                </a:lnTo>
                <a:lnTo>
                  <a:pt x="3516" y="1185"/>
                </a:lnTo>
                <a:lnTo>
                  <a:pt x="3490" y="1206"/>
                </a:lnTo>
                <a:lnTo>
                  <a:pt x="3462" y="1226"/>
                </a:lnTo>
                <a:lnTo>
                  <a:pt x="3437" y="1248"/>
                </a:lnTo>
                <a:lnTo>
                  <a:pt x="3412" y="1272"/>
                </a:lnTo>
                <a:lnTo>
                  <a:pt x="3389" y="1296"/>
                </a:lnTo>
                <a:lnTo>
                  <a:pt x="3367" y="1322"/>
                </a:lnTo>
                <a:lnTo>
                  <a:pt x="3346" y="1348"/>
                </a:lnTo>
                <a:lnTo>
                  <a:pt x="3326" y="1376"/>
                </a:lnTo>
                <a:lnTo>
                  <a:pt x="3307" y="1405"/>
                </a:lnTo>
                <a:lnTo>
                  <a:pt x="3291" y="1434"/>
                </a:lnTo>
                <a:lnTo>
                  <a:pt x="3275" y="1465"/>
                </a:lnTo>
                <a:lnTo>
                  <a:pt x="3262" y="1496"/>
                </a:lnTo>
                <a:lnTo>
                  <a:pt x="3248" y="1528"/>
                </a:lnTo>
                <a:lnTo>
                  <a:pt x="3238" y="1560"/>
                </a:lnTo>
                <a:lnTo>
                  <a:pt x="3228" y="1594"/>
                </a:lnTo>
                <a:lnTo>
                  <a:pt x="3219" y="1628"/>
                </a:lnTo>
                <a:lnTo>
                  <a:pt x="3213" y="1662"/>
                </a:lnTo>
                <a:lnTo>
                  <a:pt x="3210" y="1697"/>
                </a:lnTo>
                <a:lnTo>
                  <a:pt x="3206" y="1734"/>
                </a:lnTo>
                <a:lnTo>
                  <a:pt x="3206" y="1770"/>
                </a:lnTo>
                <a:lnTo>
                  <a:pt x="3206" y="1770"/>
                </a:lnTo>
                <a:lnTo>
                  <a:pt x="3206" y="1795"/>
                </a:lnTo>
                <a:lnTo>
                  <a:pt x="3207" y="1820"/>
                </a:lnTo>
                <a:lnTo>
                  <a:pt x="3210" y="1844"/>
                </a:lnTo>
                <a:lnTo>
                  <a:pt x="3212" y="1868"/>
                </a:lnTo>
                <a:lnTo>
                  <a:pt x="3216" y="1891"/>
                </a:lnTo>
                <a:lnTo>
                  <a:pt x="3219" y="1914"/>
                </a:lnTo>
                <a:lnTo>
                  <a:pt x="3224" y="1937"/>
                </a:lnTo>
                <a:lnTo>
                  <a:pt x="3230" y="1959"/>
                </a:lnTo>
                <a:lnTo>
                  <a:pt x="3244" y="2001"/>
                </a:lnTo>
                <a:lnTo>
                  <a:pt x="3259" y="2042"/>
                </a:lnTo>
                <a:lnTo>
                  <a:pt x="3276" y="2082"/>
                </a:lnTo>
                <a:lnTo>
                  <a:pt x="3295" y="2119"/>
                </a:lnTo>
                <a:lnTo>
                  <a:pt x="3316" y="2156"/>
                </a:lnTo>
                <a:lnTo>
                  <a:pt x="3339" y="2193"/>
                </a:lnTo>
                <a:lnTo>
                  <a:pt x="3362" y="2226"/>
                </a:lnTo>
                <a:lnTo>
                  <a:pt x="3387" y="2261"/>
                </a:lnTo>
                <a:lnTo>
                  <a:pt x="3412" y="2294"/>
                </a:lnTo>
                <a:lnTo>
                  <a:pt x="3438" y="2326"/>
                </a:lnTo>
                <a:lnTo>
                  <a:pt x="3491" y="2391"/>
                </a:lnTo>
                <a:lnTo>
                  <a:pt x="3491" y="2391"/>
                </a:lnTo>
                <a:lnTo>
                  <a:pt x="3525" y="2432"/>
                </a:lnTo>
                <a:lnTo>
                  <a:pt x="3557" y="2473"/>
                </a:lnTo>
                <a:lnTo>
                  <a:pt x="4264" y="2473"/>
                </a:lnTo>
                <a:lnTo>
                  <a:pt x="4264" y="2473"/>
                </a:lnTo>
                <a:lnTo>
                  <a:pt x="4297" y="2432"/>
                </a:lnTo>
                <a:lnTo>
                  <a:pt x="4330" y="2391"/>
                </a:lnTo>
                <a:lnTo>
                  <a:pt x="4330" y="2391"/>
                </a:lnTo>
                <a:lnTo>
                  <a:pt x="4383" y="2326"/>
                </a:lnTo>
                <a:lnTo>
                  <a:pt x="4408" y="2294"/>
                </a:lnTo>
                <a:lnTo>
                  <a:pt x="4434" y="2261"/>
                </a:lnTo>
                <a:lnTo>
                  <a:pt x="4459" y="2226"/>
                </a:lnTo>
                <a:lnTo>
                  <a:pt x="4482" y="2193"/>
                </a:lnTo>
                <a:lnTo>
                  <a:pt x="4505" y="2156"/>
                </a:lnTo>
                <a:lnTo>
                  <a:pt x="4525" y="2119"/>
                </a:lnTo>
                <a:lnTo>
                  <a:pt x="4545" y="2082"/>
                </a:lnTo>
                <a:lnTo>
                  <a:pt x="4563" y="2042"/>
                </a:lnTo>
                <a:lnTo>
                  <a:pt x="4577" y="2001"/>
                </a:lnTo>
                <a:lnTo>
                  <a:pt x="4590" y="1959"/>
                </a:lnTo>
                <a:lnTo>
                  <a:pt x="4596" y="1937"/>
                </a:lnTo>
                <a:lnTo>
                  <a:pt x="4601" y="1914"/>
                </a:lnTo>
                <a:lnTo>
                  <a:pt x="4605" y="1891"/>
                </a:lnTo>
                <a:lnTo>
                  <a:pt x="4609" y="1868"/>
                </a:lnTo>
                <a:lnTo>
                  <a:pt x="4612" y="1844"/>
                </a:lnTo>
                <a:lnTo>
                  <a:pt x="4613" y="1820"/>
                </a:lnTo>
                <a:lnTo>
                  <a:pt x="4615" y="1795"/>
                </a:lnTo>
                <a:lnTo>
                  <a:pt x="4616" y="1770"/>
                </a:lnTo>
                <a:lnTo>
                  <a:pt x="4616" y="1770"/>
                </a:lnTo>
                <a:close/>
                <a:moveTo>
                  <a:pt x="6486" y="4069"/>
                </a:moveTo>
                <a:lnTo>
                  <a:pt x="6486" y="4069"/>
                </a:lnTo>
                <a:lnTo>
                  <a:pt x="6481" y="4096"/>
                </a:lnTo>
                <a:lnTo>
                  <a:pt x="6475" y="4122"/>
                </a:lnTo>
                <a:lnTo>
                  <a:pt x="6468" y="4149"/>
                </a:lnTo>
                <a:lnTo>
                  <a:pt x="6458" y="4174"/>
                </a:lnTo>
                <a:lnTo>
                  <a:pt x="6449" y="4198"/>
                </a:lnTo>
                <a:lnTo>
                  <a:pt x="6437" y="4222"/>
                </a:lnTo>
                <a:lnTo>
                  <a:pt x="6423" y="4246"/>
                </a:lnTo>
                <a:lnTo>
                  <a:pt x="6410" y="4269"/>
                </a:lnTo>
                <a:lnTo>
                  <a:pt x="6394" y="4291"/>
                </a:lnTo>
                <a:lnTo>
                  <a:pt x="6377" y="4312"/>
                </a:lnTo>
                <a:lnTo>
                  <a:pt x="6361" y="4332"/>
                </a:lnTo>
                <a:lnTo>
                  <a:pt x="6341" y="4351"/>
                </a:lnTo>
                <a:lnTo>
                  <a:pt x="6322" y="4369"/>
                </a:lnTo>
                <a:lnTo>
                  <a:pt x="6301" y="4387"/>
                </a:lnTo>
                <a:lnTo>
                  <a:pt x="6279" y="4403"/>
                </a:lnTo>
                <a:lnTo>
                  <a:pt x="6256" y="4419"/>
                </a:lnTo>
                <a:lnTo>
                  <a:pt x="4429" y="5566"/>
                </a:lnTo>
                <a:lnTo>
                  <a:pt x="4429" y="5566"/>
                </a:lnTo>
                <a:lnTo>
                  <a:pt x="4395" y="5586"/>
                </a:lnTo>
                <a:lnTo>
                  <a:pt x="4361" y="5605"/>
                </a:lnTo>
                <a:lnTo>
                  <a:pt x="4326" y="5622"/>
                </a:lnTo>
                <a:lnTo>
                  <a:pt x="4290" y="5639"/>
                </a:lnTo>
                <a:lnTo>
                  <a:pt x="4254" y="5655"/>
                </a:lnTo>
                <a:lnTo>
                  <a:pt x="4218" y="5669"/>
                </a:lnTo>
                <a:lnTo>
                  <a:pt x="4180" y="5681"/>
                </a:lnTo>
                <a:lnTo>
                  <a:pt x="4143" y="5693"/>
                </a:lnTo>
                <a:lnTo>
                  <a:pt x="4106" y="5703"/>
                </a:lnTo>
                <a:lnTo>
                  <a:pt x="4067" y="5713"/>
                </a:lnTo>
                <a:lnTo>
                  <a:pt x="4029" y="5720"/>
                </a:lnTo>
                <a:lnTo>
                  <a:pt x="3990" y="5726"/>
                </a:lnTo>
                <a:lnTo>
                  <a:pt x="3951" y="5731"/>
                </a:lnTo>
                <a:lnTo>
                  <a:pt x="3912" y="5734"/>
                </a:lnTo>
                <a:lnTo>
                  <a:pt x="3873" y="5735"/>
                </a:lnTo>
                <a:lnTo>
                  <a:pt x="3833" y="5737"/>
                </a:lnTo>
                <a:lnTo>
                  <a:pt x="2504" y="5737"/>
                </a:lnTo>
                <a:lnTo>
                  <a:pt x="2504" y="5737"/>
                </a:lnTo>
                <a:lnTo>
                  <a:pt x="2482" y="5738"/>
                </a:lnTo>
                <a:lnTo>
                  <a:pt x="2457" y="5739"/>
                </a:lnTo>
                <a:lnTo>
                  <a:pt x="2435" y="5742"/>
                </a:lnTo>
                <a:lnTo>
                  <a:pt x="2412" y="5745"/>
                </a:lnTo>
                <a:lnTo>
                  <a:pt x="2389" y="5750"/>
                </a:lnTo>
                <a:lnTo>
                  <a:pt x="2367" y="5756"/>
                </a:lnTo>
                <a:lnTo>
                  <a:pt x="2345" y="5762"/>
                </a:lnTo>
                <a:lnTo>
                  <a:pt x="2324" y="5770"/>
                </a:lnTo>
                <a:lnTo>
                  <a:pt x="2302" y="5779"/>
                </a:lnTo>
                <a:lnTo>
                  <a:pt x="2281" y="5788"/>
                </a:lnTo>
                <a:lnTo>
                  <a:pt x="2261" y="5799"/>
                </a:lnTo>
                <a:lnTo>
                  <a:pt x="2242" y="5811"/>
                </a:lnTo>
                <a:lnTo>
                  <a:pt x="2221" y="5823"/>
                </a:lnTo>
                <a:lnTo>
                  <a:pt x="2203" y="5837"/>
                </a:lnTo>
                <a:lnTo>
                  <a:pt x="2185" y="5851"/>
                </a:lnTo>
                <a:lnTo>
                  <a:pt x="2167" y="5867"/>
                </a:lnTo>
                <a:lnTo>
                  <a:pt x="2207" y="5905"/>
                </a:lnTo>
                <a:lnTo>
                  <a:pt x="2207" y="5905"/>
                </a:lnTo>
                <a:lnTo>
                  <a:pt x="2214" y="5915"/>
                </a:lnTo>
                <a:lnTo>
                  <a:pt x="2221" y="5925"/>
                </a:lnTo>
                <a:lnTo>
                  <a:pt x="2227" y="5934"/>
                </a:lnTo>
                <a:lnTo>
                  <a:pt x="2232" y="5945"/>
                </a:lnTo>
                <a:lnTo>
                  <a:pt x="2236" y="5956"/>
                </a:lnTo>
                <a:lnTo>
                  <a:pt x="2239" y="5968"/>
                </a:lnTo>
                <a:lnTo>
                  <a:pt x="2240" y="5979"/>
                </a:lnTo>
                <a:lnTo>
                  <a:pt x="2242" y="5991"/>
                </a:lnTo>
                <a:lnTo>
                  <a:pt x="2242" y="5991"/>
                </a:lnTo>
                <a:lnTo>
                  <a:pt x="2240" y="6003"/>
                </a:lnTo>
                <a:lnTo>
                  <a:pt x="2239" y="6015"/>
                </a:lnTo>
                <a:lnTo>
                  <a:pt x="2236" y="6026"/>
                </a:lnTo>
                <a:lnTo>
                  <a:pt x="2232" y="6037"/>
                </a:lnTo>
                <a:lnTo>
                  <a:pt x="2227" y="6047"/>
                </a:lnTo>
                <a:lnTo>
                  <a:pt x="2221" y="6058"/>
                </a:lnTo>
                <a:lnTo>
                  <a:pt x="2214" y="6068"/>
                </a:lnTo>
                <a:lnTo>
                  <a:pt x="2207" y="6076"/>
                </a:lnTo>
                <a:lnTo>
                  <a:pt x="1830" y="6451"/>
                </a:lnTo>
                <a:lnTo>
                  <a:pt x="1830" y="6451"/>
                </a:lnTo>
                <a:lnTo>
                  <a:pt x="1822" y="6459"/>
                </a:lnTo>
                <a:lnTo>
                  <a:pt x="1812" y="6467"/>
                </a:lnTo>
                <a:lnTo>
                  <a:pt x="1801" y="6473"/>
                </a:lnTo>
                <a:lnTo>
                  <a:pt x="1791" y="6478"/>
                </a:lnTo>
                <a:lnTo>
                  <a:pt x="1780" y="6481"/>
                </a:lnTo>
                <a:lnTo>
                  <a:pt x="1769" y="6484"/>
                </a:lnTo>
                <a:lnTo>
                  <a:pt x="1757" y="6486"/>
                </a:lnTo>
                <a:lnTo>
                  <a:pt x="1746" y="6486"/>
                </a:lnTo>
                <a:lnTo>
                  <a:pt x="1746" y="6486"/>
                </a:lnTo>
                <a:lnTo>
                  <a:pt x="1734" y="6486"/>
                </a:lnTo>
                <a:lnTo>
                  <a:pt x="1723" y="6484"/>
                </a:lnTo>
                <a:lnTo>
                  <a:pt x="1711" y="6481"/>
                </a:lnTo>
                <a:lnTo>
                  <a:pt x="1700" y="6478"/>
                </a:lnTo>
                <a:lnTo>
                  <a:pt x="1689" y="6473"/>
                </a:lnTo>
                <a:lnTo>
                  <a:pt x="1680" y="6467"/>
                </a:lnTo>
                <a:lnTo>
                  <a:pt x="1670" y="6459"/>
                </a:lnTo>
                <a:lnTo>
                  <a:pt x="1660" y="6451"/>
                </a:lnTo>
                <a:lnTo>
                  <a:pt x="1660" y="6451"/>
                </a:lnTo>
                <a:lnTo>
                  <a:pt x="1652" y="6441"/>
                </a:lnTo>
                <a:lnTo>
                  <a:pt x="1645" y="6432"/>
                </a:lnTo>
                <a:lnTo>
                  <a:pt x="1639" y="6422"/>
                </a:lnTo>
                <a:lnTo>
                  <a:pt x="1634" y="6411"/>
                </a:lnTo>
                <a:lnTo>
                  <a:pt x="1630" y="6400"/>
                </a:lnTo>
                <a:lnTo>
                  <a:pt x="1628" y="6388"/>
                </a:lnTo>
                <a:lnTo>
                  <a:pt x="1625" y="6378"/>
                </a:lnTo>
                <a:lnTo>
                  <a:pt x="1625" y="6366"/>
                </a:lnTo>
                <a:lnTo>
                  <a:pt x="1625" y="6355"/>
                </a:lnTo>
                <a:lnTo>
                  <a:pt x="1628" y="6343"/>
                </a:lnTo>
                <a:lnTo>
                  <a:pt x="1630" y="6332"/>
                </a:lnTo>
                <a:lnTo>
                  <a:pt x="1634" y="6321"/>
                </a:lnTo>
                <a:lnTo>
                  <a:pt x="1639" y="6310"/>
                </a:lnTo>
                <a:lnTo>
                  <a:pt x="1645" y="6299"/>
                </a:lnTo>
                <a:lnTo>
                  <a:pt x="1652" y="6290"/>
                </a:lnTo>
                <a:lnTo>
                  <a:pt x="1660" y="6280"/>
                </a:lnTo>
                <a:lnTo>
                  <a:pt x="1950" y="5991"/>
                </a:lnTo>
                <a:lnTo>
                  <a:pt x="1910" y="5951"/>
                </a:lnTo>
                <a:lnTo>
                  <a:pt x="1910" y="5951"/>
                </a:lnTo>
                <a:lnTo>
                  <a:pt x="1910" y="5951"/>
                </a:lnTo>
                <a:lnTo>
                  <a:pt x="1910" y="5951"/>
                </a:lnTo>
                <a:lnTo>
                  <a:pt x="1910" y="5951"/>
                </a:lnTo>
                <a:lnTo>
                  <a:pt x="662" y="4704"/>
                </a:lnTo>
                <a:lnTo>
                  <a:pt x="662" y="4704"/>
                </a:lnTo>
                <a:lnTo>
                  <a:pt x="661" y="4702"/>
                </a:lnTo>
                <a:lnTo>
                  <a:pt x="496" y="4538"/>
                </a:lnTo>
                <a:lnTo>
                  <a:pt x="206" y="4827"/>
                </a:lnTo>
                <a:lnTo>
                  <a:pt x="206" y="4827"/>
                </a:lnTo>
                <a:lnTo>
                  <a:pt x="197" y="4836"/>
                </a:lnTo>
                <a:lnTo>
                  <a:pt x="187" y="4843"/>
                </a:lnTo>
                <a:lnTo>
                  <a:pt x="176" y="4849"/>
                </a:lnTo>
                <a:lnTo>
                  <a:pt x="165" y="4854"/>
                </a:lnTo>
                <a:lnTo>
                  <a:pt x="154" y="4857"/>
                </a:lnTo>
                <a:lnTo>
                  <a:pt x="143" y="4860"/>
                </a:lnTo>
                <a:lnTo>
                  <a:pt x="131" y="4862"/>
                </a:lnTo>
                <a:lnTo>
                  <a:pt x="121" y="4862"/>
                </a:lnTo>
                <a:lnTo>
                  <a:pt x="109" y="4862"/>
                </a:lnTo>
                <a:lnTo>
                  <a:pt x="98" y="4860"/>
                </a:lnTo>
                <a:lnTo>
                  <a:pt x="86" y="4857"/>
                </a:lnTo>
                <a:lnTo>
                  <a:pt x="75" y="4854"/>
                </a:lnTo>
                <a:lnTo>
                  <a:pt x="64" y="4849"/>
                </a:lnTo>
                <a:lnTo>
                  <a:pt x="54" y="4843"/>
                </a:lnTo>
                <a:lnTo>
                  <a:pt x="45" y="4836"/>
                </a:lnTo>
                <a:lnTo>
                  <a:pt x="35" y="4827"/>
                </a:lnTo>
                <a:lnTo>
                  <a:pt x="35" y="4827"/>
                </a:lnTo>
                <a:lnTo>
                  <a:pt x="27" y="4818"/>
                </a:lnTo>
                <a:lnTo>
                  <a:pt x="19" y="4808"/>
                </a:lnTo>
                <a:lnTo>
                  <a:pt x="13" y="4798"/>
                </a:lnTo>
                <a:lnTo>
                  <a:pt x="8" y="4787"/>
                </a:lnTo>
                <a:lnTo>
                  <a:pt x="5" y="4777"/>
                </a:lnTo>
                <a:lnTo>
                  <a:pt x="2" y="4765"/>
                </a:lnTo>
                <a:lnTo>
                  <a:pt x="0" y="4754"/>
                </a:lnTo>
                <a:lnTo>
                  <a:pt x="0" y="4742"/>
                </a:lnTo>
                <a:lnTo>
                  <a:pt x="0" y="4731"/>
                </a:lnTo>
                <a:lnTo>
                  <a:pt x="2" y="4719"/>
                </a:lnTo>
                <a:lnTo>
                  <a:pt x="5" y="4708"/>
                </a:lnTo>
                <a:lnTo>
                  <a:pt x="8" y="4697"/>
                </a:lnTo>
                <a:lnTo>
                  <a:pt x="13" y="4686"/>
                </a:lnTo>
                <a:lnTo>
                  <a:pt x="19" y="4675"/>
                </a:lnTo>
                <a:lnTo>
                  <a:pt x="27" y="4666"/>
                </a:lnTo>
                <a:lnTo>
                  <a:pt x="35" y="4657"/>
                </a:lnTo>
                <a:lnTo>
                  <a:pt x="410" y="4281"/>
                </a:lnTo>
                <a:lnTo>
                  <a:pt x="410" y="4281"/>
                </a:lnTo>
                <a:lnTo>
                  <a:pt x="418" y="4274"/>
                </a:lnTo>
                <a:lnTo>
                  <a:pt x="428" y="4267"/>
                </a:lnTo>
                <a:lnTo>
                  <a:pt x="439" y="4261"/>
                </a:lnTo>
                <a:lnTo>
                  <a:pt x="450" y="4256"/>
                </a:lnTo>
                <a:lnTo>
                  <a:pt x="461" y="4253"/>
                </a:lnTo>
                <a:lnTo>
                  <a:pt x="471" y="4249"/>
                </a:lnTo>
                <a:lnTo>
                  <a:pt x="484" y="4248"/>
                </a:lnTo>
                <a:lnTo>
                  <a:pt x="496" y="4246"/>
                </a:lnTo>
                <a:lnTo>
                  <a:pt x="496" y="4246"/>
                </a:lnTo>
                <a:lnTo>
                  <a:pt x="508" y="4248"/>
                </a:lnTo>
                <a:lnTo>
                  <a:pt x="518" y="4249"/>
                </a:lnTo>
                <a:lnTo>
                  <a:pt x="531" y="4253"/>
                </a:lnTo>
                <a:lnTo>
                  <a:pt x="541" y="4256"/>
                </a:lnTo>
                <a:lnTo>
                  <a:pt x="552" y="4261"/>
                </a:lnTo>
                <a:lnTo>
                  <a:pt x="562" y="4267"/>
                </a:lnTo>
                <a:lnTo>
                  <a:pt x="572" y="4274"/>
                </a:lnTo>
                <a:lnTo>
                  <a:pt x="581" y="4281"/>
                </a:lnTo>
                <a:lnTo>
                  <a:pt x="720" y="4421"/>
                </a:lnTo>
                <a:lnTo>
                  <a:pt x="720" y="4421"/>
                </a:lnTo>
                <a:lnTo>
                  <a:pt x="745" y="4381"/>
                </a:lnTo>
                <a:lnTo>
                  <a:pt x="774" y="4338"/>
                </a:lnTo>
                <a:lnTo>
                  <a:pt x="807" y="4292"/>
                </a:lnTo>
                <a:lnTo>
                  <a:pt x="842" y="4244"/>
                </a:lnTo>
                <a:lnTo>
                  <a:pt x="880" y="4193"/>
                </a:lnTo>
                <a:lnTo>
                  <a:pt x="922" y="4142"/>
                </a:lnTo>
                <a:lnTo>
                  <a:pt x="968" y="4089"/>
                </a:lnTo>
                <a:lnTo>
                  <a:pt x="1016" y="4034"/>
                </a:lnTo>
                <a:lnTo>
                  <a:pt x="1016" y="4034"/>
                </a:lnTo>
                <a:lnTo>
                  <a:pt x="1072" y="3979"/>
                </a:lnTo>
                <a:lnTo>
                  <a:pt x="1127" y="3925"/>
                </a:lnTo>
                <a:lnTo>
                  <a:pt x="1184" y="3874"/>
                </a:lnTo>
                <a:lnTo>
                  <a:pt x="1242" y="3827"/>
                </a:lnTo>
                <a:lnTo>
                  <a:pt x="1271" y="3804"/>
                </a:lnTo>
                <a:lnTo>
                  <a:pt x="1300" y="3783"/>
                </a:lnTo>
                <a:lnTo>
                  <a:pt x="1329" y="3762"/>
                </a:lnTo>
                <a:lnTo>
                  <a:pt x="1359" y="3742"/>
                </a:lnTo>
                <a:lnTo>
                  <a:pt x="1388" y="3722"/>
                </a:lnTo>
                <a:lnTo>
                  <a:pt x="1418" y="3703"/>
                </a:lnTo>
                <a:lnTo>
                  <a:pt x="1448" y="3685"/>
                </a:lnTo>
                <a:lnTo>
                  <a:pt x="1478" y="3668"/>
                </a:lnTo>
                <a:lnTo>
                  <a:pt x="1478" y="3668"/>
                </a:lnTo>
                <a:lnTo>
                  <a:pt x="1517" y="3648"/>
                </a:lnTo>
                <a:lnTo>
                  <a:pt x="1557" y="3628"/>
                </a:lnTo>
                <a:lnTo>
                  <a:pt x="1595" y="3610"/>
                </a:lnTo>
                <a:lnTo>
                  <a:pt x="1635" y="3594"/>
                </a:lnTo>
                <a:lnTo>
                  <a:pt x="1675" y="3578"/>
                </a:lnTo>
                <a:lnTo>
                  <a:pt x="1715" y="3565"/>
                </a:lnTo>
                <a:lnTo>
                  <a:pt x="1754" y="3551"/>
                </a:lnTo>
                <a:lnTo>
                  <a:pt x="1794" y="3541"/>
                </a:lnTo>
                <a:lnTo>
                  <a:pt x="1834" y="3530"/>
                </a:lnTo>
                <a:lnTo>
                  <a:pt x="1875" y="3521"/>
                </a:lnTo>
                <a:lnTo>
                  <a:pt x="1916" y="3514"/>
                </a:lnTo>
                <a:lnTo>
                  <a:pt x="1957" y="3508"/>
                </a:lnTo>
                <a:lnTo>
                  <a:pt x="1997" y="3503"/>
                </a:lnTo>
                <a:lnTo>
                  <a:pt x="2038" y="3500"/>
                </a:lnTo>
                <a:lnTo>
                  <a:pt x="2080" y="3498"/>
                </a:lnTo>
                <a:lnTo>
                  <a:pt x="2121" y="3497"/>
                </a:lnTo>
                <a:lnTo>
                  <a:pt x="2121" y="3497"/>
                </a:lnTo>
                <a:lnTo>
                  <a:pt x="2174" y="3497"/>
                </a:lnTo>
                <a:lnTo>
                  <a:pt x="2226" y="3498"/>
                </a:lnTo>
                <a:lnTo>
                  <a:pt x="2277" y="3501"/>
                </a:lnTo>
                <a:lnTo>
                  <a:pt x="2325" y="3503"/>
                </a:lnTo>
                <a:lnTo>
                  <a:pt x="2372" y="3507"/>
                </a:lnTo>
                <a:lnTo>
                  <a:pt x="2418" y="3510"/>
                </a:lnTo>
                <a:lnTo>
                  <a:pt x="2461" y="3515"/>
                </a:lnTo>
                <a:lnTo>
                  <a:pt x="2504" y="3521"/>
                </a:lnTo>
                <a:lnTo>
                  <a:pt x="2545" y="3526"/>
                </a:lnTo>
                <a:lnTo>
                  <a:pt x="2585" y="3533"/>
                </a:lnTo>
                <a:lnTo>
                  <a:pt x="2660" y="3547"/>
                </a:lnTo>
                <a:lnTo>
                  <a:pt x="2730" y="3562"/>
                </a:lnTo>
                <a:lnTo>
                  <a:pt x="2795" y="3579"/>
                </a:lnTo>
                <a:lnTo>
                  <a:pt x="2854" y="3597"/>
                </a:lnTo>
                <a:lnTo>
                  <a:pt x="2907" y="3615"/>
                </a:lnTo>
                <a:lnTo>
                  <a:pt x="2957" y="3635"/>
                </a:lnTo>
                <a:lnTo>
                  <a:pt x="3001" y="3654"/>
                </a:lnTo>
                <a:lnTo>
                  <a:pt x="3040" y="3673"/>
                </a:lnTo>
                <a:lnTo>
                  <a:pt x="3076" y="3691"/>
                </a:lnTo>
                <a:lnTo>
                  <a:pt x="3106" y="3709"/>
                </a:lnTo>
                <a:lnTo>
                  <a:pt x="3133" y="3725"/>
                </a:lnTo>
                <a:lnTo>
                  <a:pt x="3133" y="3725"/>
                </a:lnTo>
                <a:lnTo>
                  <a:pt x="3150" y="3735"/>
                </a:lnTo>
                <a:lnTo>
                  <a:pt x="3168" y="3742"/>
                </a:lnTo>
                <a:lnTo>
                  <a:pt x="3186" y="3745"/>
                </a:lnTo>
                <a:lnTo>
                  <a:pt x="3204" y="3747"/>
                </a:lnTo>
                <a:lnTo>
                  <a:pt x="4496" y="3747"/>
                </a:lnTo>
                <a:lnTo>
                  <a:pt x="4496" y="3747"/>
                </a:lnTo>
                <a:lnTo>
                  <a:pt x="4522" y="3748"/>
                </a:lnTo>
                <a:lnTo>
                  <a:pt x="4547" y="3750"/>
                </a:lnTo>
                <a:lnTo>
                  <a:pt x="4571" y="3753"/>
                </a:lnTo>
                <a:lnTo>
                  <a:pt x="4596" y="3757"/>
                </a:lnTo>
                <a:lnTo>
                  <a:pt x="4621" y="3763"/>
                </a:lnTo>
                <a:lnTo>
                  <a:pt x="4645" y="3771"/>
                </a:lnTo>
                <a:lnTo>
                  <a:pt x="4669" y="3778"/>
                </a:lnTo>
                <a:lnTo>
                  <a:pt x="4692" y="3788"/>
                </a:lnTo>
                <a:lnTo>
                  <a:pt x="4715" y="3798"/>
                </a:lnTo>
                <a:lnTo>
                  <a:pt x="4736" y="3809"/>
                </a:lnTo>
                <a:lnTo>
                  <a:pt x="4758" y="3822"/>
                </a:lnTo>
                <a:lnTo>
                  <a:pt x="4780" y="3836"/>
                </a:lnTo>
                <a:lnTo>
                  <a:pt x="4799" y="3851"/>
                </a:lnTo>
                <a:lnTo>
                  <a:pt x="4820" y="3867"/>
                </a:lnTo>
                <a:lnTo>
                  <a:pt x="4838" y="3884"/>
                </a:lnTo>
                <a:lnTo>
                  <a:pt x="4856" y="3902"/>
                </a:lnTo>
                <a:lnTo>
                  <a:pt x="4856" y="3902"/>
                </a:lnTo>
                <a:lnTo>
                  <a:pt x="4875" y="3924"/>
                </a:lnTo>
                <a:lnTo>
                  <a:pt x="4894" y="3947"/>
                </a:lnTo>
                <a:lnTo>
                  <a:pt x="4910" y="3971"/>
                </a:lnTo>
                <a:lnTo>
                  <a:pt x="4926" y="3995"/>
                </a:lnTo>
                <a:lnTo>
                  <a:pt x="5748" y="3556"/>
                </a:lnTo>
                <a:lnTo>
                  <a:pt x="5748" y="3556"/>
                </a:lnTo>
                <a:lnTo>
                  <a:pt x="5750" y="3556"/>
                </a:lnTo>
                <a:lnTo>
                  <a:pt x="5750" y="3556"/>
                </a:lnTo>
                <a:lnTo>
                  <a:pt x="5770" y="3547"/>
                </a:lnTo>
                <a:lnTo>
                  <a:pt x="5789" y="3538"/>
                </a:lnTo>
                <a:lnTo>
                  <a:pt x="5808" y="3531"/>
                </a:lnTo>
                <a:lnTo>
                  <a:pt x="5828" y="3524"/>
                </a:lnTo>
                <a:lnTo>
                  <a:pt x="5848" y="3518"/>
                </a:lnTo>
                <a:lnTo>
                  <a:pt x="5869" y="3512"/>
                </a:lnTo>
                <a:lnTo>
                  <a:pt x="5889" y="3508"/>
                </a:lnTo>
                <a:lnTo>
                  <a:pt x="5910" y="3504"/>
                </a:lnTo>
                <a:lnTo>
                  <a:pt x="5930" y="3501"/>
                </a:lnTo>
                <a:lnTo>
                  <a:pt x="5951" y="3498"/>
                </a:lnTo>
                <a:lnTo>
                  <a:pt x="5972" y="3497"/>
                </a:lnTo>
                <a:lnTo>
                  <a:pt x="5993" y="3497"/>
                </a:lnTo>
                <a:lnTo>
                  <a:pt x="6013" y="3497"/>
                </a:lnTo>
                <a:lnTo>
                  <a:pt x="6035" y="3498"/>
                </a:lnTo>
                <a:lnTo>
                  <a:pt x="6056" y="3501"/>
                </a:lnTo>
                <a:lnTo>
                  <a:pt x="6076" y="3503"/>
                </a:lnTo>
                <a:lnTo>
                  <a:pt x="6076" y="3503"/>
                </a:lnTo>
                <a:lnTo>
                  <a:pt x="6098" y="3508"/>
                </a:lnTo>
                <a:lnTo>
                  <a:pt x="6118" y="3513"/>
                </a:lnTo>
                <a:lnTo>
                  <a:pt x="6139" y="3518"/>
                </a:lnTo>
                <a:lnTo>
                  <a:pt x="6159" y="3525"/>
                </a:lnTo>
                <a:lnTo>
                  <a:pt x="6180" y="3532"/>
                </a:lnTo>
                <a:lnTo>
                  <a:pt x="6199" y="3541"/>
                </a:lnTo>
                <a:lnTo>
                  <a:pt x="6218" y="3549"/>
                </a:lnTo>
                <a:lnTo>
                  <a:pt x="6238" y="3559"/>
                </a:lnTo>
                <a:lnTo>
                  <a:pt x="6256" y="3569"/>
                </a:lnTo>
                <a:lnTo>
                  <a:pt x="6274" y="3582"/>
                </a:lnTo>
                <a:lnTo>
                  <a:pt x="6291" y="3594"/>
                </a:lnTo>
                <a:lnTo>
                  <a:pt x="6308" y="3606"/>
                </a:lnTo>
                <a:lnTo>
                  <a:pt x="6324" y="3620"/>
                </a:lnTo>
                <a:lnTo>
                  <a:pt x="6339" y="3633"/>
                </a:lnTo>
                <a:lnTo>
                  <a:pt x="6355" y="3649"/>
                </a:lnTo>
                <a:lnTo>
                  <a:pt x="6369" y="3665"/>
                </a:lnTo>
                <a:lnTo>
                  <a:pt x="6369" y="3665"/>
                </a:lnTo>
                <a:lnTo>
                  <a:pt x="6386" y="3686"/>
                </a:lnTo>
                <a:lnTo>
                  <a:pt x="6403" y="3708"/>
                </a:lnTo>
                <a:lnTo>
                  <a:pt x="6417" y="3731"/>
                </a:lnTo>
                <a:lnTo>
                  <a:pt x="6431" y="3755"/>
                </a:lnTo>
                <a:lnTo>
                  <a:pt x="6444" y="3779"/>
                </a:lnTo>
                <a:lnTo>
                  <a:pt x="6455" y="3803"/>
                </a:lnTo>
                <a:lnTo>
                  <a:pt x="6464" y="3828"/>
                </a:lnTo>
                <a:lnTo>
                  <a:pt x="6473" y="3855"/>
                </a:lnTo>
                <a:lnTo>
                  <a:pt x="6479" y="3880"/>
                </a:lnTo>
                <a:lnTo>
                  <a:pt x="6485" y="3907"/>
                </a:lnTo>
                <a:lnTo>
                  <a:pt x="6488" y="3933"/>
                </a:lnTo>
                <a:lnTo>
                  <a:pt x="6491" y="3961"/>
                </a:lnTo>
                <a:lnTo>
                  <a:pt x="6492" y="3987"/>
                </a:lnTo>
                <a:lnTo>
                  <a:pt x="6492" y="4014"/>
                </a:lnTo>
                <a:lnTo>
                  <a:pt x="6490" y="4042"/>
                </a:lnTo>
                <a:lnTo>
                  <a:pt x="6486" y="4069"/>
                </a:lnTo>
                <a:lnTo>
                  <a:pt x="6486" y="4069"/>
                </a:lnTo>
                <a:close/>
                <a:moveTo>
                  <a:pt x="6186" y="3822"/>
                </a:moveTo>
                <a:lnTo>
                  <a:pt x="6186" y="3822"/>
                </a:lnTo>
                <a:lnTo>
                  <a:pt x="6171" y="3807"/>
                </a:lnTo>
                <a:lnTo>
                  <a:pt x="6154" y="3792"/>
                </a:lnTo>
                <a:lnTo>
                  <a:pt x="6137" y="3780"/>
                </a:lnTo>
                <a:lnTo>
                  <a:pt x="6119" y="3769"/>
                </a:lnTo>
                <a:lnTo>
                  <a:pt x="6100" y="3760"/>
                </a:lnTo>
                <a:lnTo>
                  <a:pt x="6080" y="3753"/>
                </a:lnTo>
                <a:lnTo>
                  <a:pt x="6059" y="3747"/>
                </a:lnTo>
                <a:lnTo>
                  <a:pt x="6037" y="3742"/>
                </a:lnTo>
                <a:lnTo>
                  <a:pt x="6016" y="3739"/>
                </a:lnTo>
                <a:lnTo>
                  <a:pt x="5993" y="3738"/>
                </a:lnTo>
                <a:lnTo>
                  <a:pt x="5971" y="3739"/>
                </a:lnTo>
                <a:lnTo>
                  <a:pt x="5948" y="3742"/>
                </a:lnTo>
                <a:lnTo>
                  <a:pt x="5926" y="3745"/>
                </a:lnTo>
                <a:lnTo>
                  <a:pt x="5905" y="3753"/>
                </a:lnTo>
                <a:lnTo>
                  <a:pt x="5882" y="3760"/>
                </a:lnTo>
                <a:lnTo>
                  <a:pt x="5861" y="3769"/>
                </a:lnTo>
                <a:lnTo>
                  <a:pt x="4992" y="4232"/>
                </a:lnTo>
                <a:lnTo>
                  <a:pt x="4992" y="4232"/>
                </a:lnTo>
                <a:lnTo>
                  <a:pt x="4991" y="4268"/>
                </a:lnTo>
                <a:lnTo>
                  <a:pt x="4991" y="4268"/>
                </a:lnTo>
                <a:lnTo>
                  <a:pt x="4990" y="4293"/>
                </a:lnTo>
                <a:lnTo>
                  <a:pt x="4986" y="4316"/>
                </a:lnTo>
                <a:lnTo>
                  <a:pt x="4982" y="4340"/>
                </a:lnTo>
                <a:lnTo>
                  <a:pt x="4976" y="4363"/>
                </a:lnTo>
                <a:lnTo>
                  <a:pt x="4970" y="4386"/>
                </a:lnTo>
                <a:lnTo>
                  <a:pt x="4962" y="4409"/>
                </a:lnTo>
                <a:lnTo>
                  <a:pt x="4953" y="4431"/>
                </a:lnTo>
                <a:lnTo>
                  <a:pt x="4943" y="4452"/>
                </a:lnTo>
                <a:lnTo>
                  <a:pt x="4932" y="4474"/>
                </a:lnTo>
                <a:lnTo>
                  <a:pt x="4920" y="4495"/>
                </a:lnTo>
                <a:lnTo>
                  <a:pt x="4906" y="4515"/>
                </a:lnTo>
                <a:lnTo>
                  <a:pt x="4892" y="4534"/>
                </a:lnTo>
                <a:lnTo>
                  <a:pt x="4876" y="4554"/>
                </a:lnTo>
                <a:lnTo>
                  <a:pt x="4861" y="4572"/>
                </a:lnTo>
                <a:lnTo>
                  <a:pt x="4842" y="4590"/>
                </a:lnTo>
                <a:lnTo>
                  <a:pt x="4824" y="4607"/>
                </a:lnTo>
                <a:lnTo>
                  <a:pt x="4824" y="4607"/>
                </a:lnTo>
                <a:lnTo>
                  <a:pt x="4806" y="4621"/>
                </a:lnTo>
                <a:lnTo>
                  <a:pt x="4787" y="4636"/>
                </a:lnTo>
                <a:lnTo>
                  <a:pt x="4768" y="4650"/>
                </a:lnTo>
                <a:lnTo>
                  <a:pt x="4747" y="4662"/>
                </a:lnTo>
                <a:lnTo>
                  <a:pt x="4727" y="4674"/>
                </a:lnTo>
                <a:lnTo>
                  <a:pt x="4705" y="4685"/>
                </a:lnTo>
                <a:lnTo>
                  <a:pt x="4685" y="4695"/>
                </a:lnTo>
                <a:lnTo>
                  <a:pt x="4662" y="4703"/>
                </a:lnTo>
                <a:lnTo>
                  <a:pt x="4640" y="4712"/>
                </a:lnTo>
                <a:lnTo>
                  <a:pt x="4617" y="4719"/>
                </a:lnTo>
                <a:lnTo>
                  <a:pt x="4594" y="4724"/>
                </a:lnTo>
                <a:lnTo>
                  <a:pt x="4570" y="4728"/>
                </a:lnTo>
                <a:lnTo>
                  <a:pt x="4547" y="4733"/>
                </a:lnTo>
                <a:lnTo>
                  <a:pt x="4523" y="4736"/>
                </a:lnTo>
                <a:lnTo>
                  <a:pt x="4499" y="4737"/>
                </a:lnTo>
                <a:lnTo>
                  <a:pt x="4475" y="4738"/>
                </a:lnTo>
                <a:lnTo>
                  <a:pt x="2871" y="4738"/>
                </a:lnTo>
                <a:lnTo>
                  <a:pt x="2871" y="4738"/>
                </a:lnTo>
                <a:lnTo>
                  <a:pt x="2859" y="4737"/>
                </a:lnTo>
                <a:lnTo>
                  <a:pt x="2847" y="4736"/>
                </a:lnTo>
                <a:lnTo>
                  <a:pt x="2835" y="4732"/>
                </a:lnTo>
                <a:lnTo>
                  <a:pt x="2824" y="4728"/>
                </a:lnTo>
                <a:lnTo>
                  <a:pt x="2813" y="4724"/>
                </a:lnTo>
                <a:lnTo>
                  <a:pt x="2803" y="4716"/>
                </a:lnTo>
                <a:lnTo>
                  <a:pt x="2794" y="4710"/>
                </a:lnTo>
                <a:lnTo>
                  <a:pt x="2785" y="4702"/>
                </a:lnTo>
                <a:lnTo>
                  <a:pt x="2778" y="4693"/>
                </a:lnTo>
                <a:lnTo>
                  <a:pt x="2771" y="4684"/>
                </a:lnTo>
                <a:lnTo>
                  <a:pt x="2765" y="4674"/>
                </a:lnTo>
                <a:lnTo>
                  <a:pt x="2760" y="4663"/>
                </a:lnTo>
                <a:lnTo>
                  <a:pt x="2755" y="4652"/>
                </a:lnTo>
                <a:lnTo>
                  <a:pt x="2753" y="4642"/>
                </a:lnTo>
                <a:lnTo>
                  <a:pt x="2750" y="4630"/>
                </a:lnTo>
                <a:lnTo>
                  <a:pt x="2750" y="4618"/>
                </a:lnTo>
                <a:lnTo>
                  <a:pt x="2750" y="4618"/>
                </a:lnTo>
                <a:lnTo>
                  <a:pt x="2750" y="4604"/>
                </a:lnTo>
                <a:lnTo>
                  <a:pt x="2753" y="4592"/>
                </a:lnTo>
                <a:lnTo>
                  <a:pt x="2755" y="4581"/>
                </a:lnTo>
                <a:lnTo>
                  <a:pt x="2760" y="4571"/>
                </a:lnTo>
                <a:lnTo>
                  <a:pt x="2765" y="4560"/>
                </a:lnTo>
                <a:lnTo>
                  <a:pt x="2771" y="4550"/>
                </a:lnTo>
                <a:lnTo>
                  <a:pt x="2778" y="4540"/>
                </a:lnTo>
                <a:lnTo>
                  <a:pt x="2785" y="4532"/>
                </a:lnTo>
                <a:lnTo>
                  <a:pt x="2794" y="4524"/>
                </a:lnTo>
                <a:lnTo>
                  <a:pt x="2803" y="4518"/>
                </a:lnTo>
                <a:lnTo>
                  <a:pt x="2813" y="4512"/>
                </a:lnTo>
                <a:lnTo>
                  <a:pt x="2824" y="4506"/>
                </a:lnTo>
                <a:lnTo>
                  <a:pt x="2835" y="4502"/>
                </a:lnTo>
                <a:lnTo>
                  <a:pt x="2847" y="4499"/>
                </a:lnTo>
                <a:lnTo>
                  <a:pt x="2859" y="4497"/>
                </a:lnTo>
                <a:lnTo>
                  <a:pt x="2871" y="4497"/>
                </a:lnTo>
                <a:lnTo>
                  <a:pt x="4475" y="4497"/>
                </a:lnTo>
                <a:lnTo>
                  <a:pt x="4475" y="4497"/>
                </a:lnTo>
                <a:lnTo>
                  <a:pt x="4502" y="4496"/>
                </a:lnTo>
                <a:lnTo>
                  <a:pt x="4528" y="4492"/>
                </a:lnTo>
                <a:lnTo>
                  <a:pt x="4553" y="4486"/>
                </a:lnTo>
                <a:lnTo>
                  <a:pt x="4578" y="4478"/>
                </a:lnTo>
                <a:lnTo>
                  <a:pt x="4601" y="4467"/>
                </a:lnTo>
                <a:lnTo>
                  <a:pt x="4624" y="4455"/>
                </a:lnTo>
                <a:lnTo>
                  <a:pt x="4645" y="4442"/>
                </a:lnTo>
                <a:lnTo>
                  <a:pt x="4664" y="4426"/>
                </a:lnTo>
                <a:lnTo>
                  <a:pt x="4682" y="4409"/>
                </a:lnTo>
                <a:lnTo>
                  <a:pt x="4699" y="4391"/>
                </a:lnTo>
                <a:lnTo>
                  <a:pt x="4712" y="4371"/>
                </a:lnTo>
                <a:lnTo>
                  <a:pt x="4724" y="4350"/>
                </a:lnTo>
                <a:lnTo>
                  <a:pt x="4735" y="4327"/>
                </a:lnTo>
                <a:lnTo>
                  <a:pt x="4742" y="4304"/>
                </a:lnTo>
                <a:lnTo>
                  <a:pt x="4747" y="4280"/>
                </a:lnTo>
                <a:lnTo>
                  <a:pt x="4751" y="4256"/>
                </a:lnTo>
                <a:lnTo>
                  <a:pt x="4751" y="4256"/>
                </a:lnTo>
                <a:lnTo>
                  <a:pt x="4751" y="4231"/>
                </a:lnTo>
                <a:lnTo>
                  <a:pt x="4748" y="4204"/>
                </a:lnTo>
                <a:lnTo>
                  <a:pt x="4748" y="4204"/>
                </a:lnTo>
                <a:lnTo>
                  <a:pt x="4744" y="4190"/>
                </a:lnTo>
                <a:lnTo>
                  <a:pt x="4741" y="4175"/>
                </a:lnTo>
                <a:lnTo>
                  <a:pt x="4741" y="4175"/>
                </a:lnTo>
                <a:lnTo>
                  <a:pt x="4738" y="4160"/>
                </a:lnTo>
                <a:lnTo>
                  <a:pt x="4732" y="4145"/>
                </a:lnTo>
                <a:lnTo>
                  <a:pt x="4726" y="4132"/>
                </a:lnTo>
                <a:lnTo>
                  <a:pt x="4718" y="4118"/>
                </a:lnTo>
                <a:lnTo>
                  <a:pt x="4710" y="4104"/>
                </a:lnTo>
                <a:lnTo>
                  <a:pt x="4701" y="4091"/>
                </a:lnTo>
                <a:lnTo>
                  <a:pt x="4692" y="4079"/>
                </a:lnTo>
                <a:lnTo>
                  <a:pt x="4681" y="4067"/>
                </a:lnTo>
                <a:lnTo>
                  <a:pt x="4681" y="4067"/>
                </a:lnTo>
                <a:lnTo>
                  <a:pt x="4662" y="4049"/>
                </a:lnTo>
                <a:lnTo>
                  <a:pt x="4641" y="4033"/>
                </a:lnTo>
                <a:lnTo>
                  <a:pt x="4619" y="4020"/>
                </a:lnTo>
                <a:lnTo>
                  <a:pt x="4596" y="4008"/>
                </a:lnTo>
                <a:lnTo>
                  <a:pt x="4572" y="4000"/>
                </a:lnTo>
                <a:lnTo>
                  <a:pt x="4548" y="3994"/>
                </a:lnTo>
                <a:lnTo>
                  <a:pt x="4523" y="3990"/>
                </a:lnTo>
                <a:lnTo>
                  <a:pt x="4496" y="3987"/>
                </a:lnTo>
                <a:lnTo>
                  <a:pt x="3204" y="3987"/>
                </a:lnTo>
                <a:lnTo>
                  <a:pt x="3204" y="3987"/>
                </a:lnTo>
                <a:lnTo>
                  <a:pt x="3177" y="3987"/>
                </a:lnTo>
                <a:lnTo>
                  <a:pt x="3151" y="3984"/>
                </a:lnTo>
                <a:lnTo>
                  <a:pt x="3124" y="3979"/>
                </a:lnTo>
                <a:lnTo>
                  <a:pt x="3098" y="3972"/>
                </a:lnTo>
                <a:lnTo>
                  <a:pt x="3072" y="3963"/>
                </a:lnTo>
                <a:lnTo>
                  <a:pt x="3048" y="3954"/>
                </a:lnTo>
                <a:lnTo>
                  <a:pt x="3024" y="3941"/>
                </a:lnTo>
                <a:lnTo>
                  <a:pt x="3000" y="3927"/>
                </a:lnTo>
                <a:lnTo>
                  <a:pt x="3000" y="3927"/>
                </a:lnTo>
                <a:lnTo>
                  <a:pt x="2982" y="3915"/>
                </a:lnTo>
                <a:lnTo>
                  <a:pt x="2959" y="3902"/>
                </a:lnTo>
                <a:lnTo>
                  <a:pt x="2932" y="3889"/>
                </a:lnTo>
                <a:lnTo>
                  <a:pt x="2901" y="3873"/>
                </a:lnTo>
                <a:lnTo>
                  <a:pt x="2865" y="3857"/>
                </a:lnTo>
                <a:lnTo>
                  <a:pt x="2825" y="3842"/>
                </a:lnTo>
                <a:lnTo>
                  <a:pt x="2779" y="3826"/>
                </a:lnTo>
                <a:lnTo>
                  <a:pt x="2729" y="3812"/>
                </a:lnTo>
                <a:lnTo>
                  <a:pt x="2672" y="3797"/>
                </a:lnTo>
                <a:lnTo>
                  <a:pt x="2611" y="3783"/>
                </a:lnTo>
                <a:lnTo>
                  <a:pt x="2544" y="3771"/>
                </a:lnTo>
                <a:lnTo>
                  <a:pt x="2472" y="3760"/>
                </a:lnTo>
                <a:lnTo>
                  <a:pt x="2392" y="3750"/>
                </a:lnTo>
                <a:lnTo>
                  <a:pt x="2308" y="3744"/>
                </a:lnTo>
                <a:lnTo>
                  <a:pt x="2263" y="3742"/>
                </a:lnTo>
                <a:lnTo>
                  <a:pt x="2217" y="3739"/>
                </a:lnTo>
                <a:lnTo>
                  <a:pt x="2170" y="3738"/>
                </a:lnTo>
                <a:lnTo>
                  <a:pt x="2121" y="3738"/>
                </a:lnTo>
                <a:lnTo>
                  <a:pt x="2121" y="3738"/>
                </a:lnTo>
                <a:lnTo>
                  <a:pt x="2090" y="3738"/>
                </a:lnTo>
                <a:lnTo>
                  <a:pt x="2059" y="3741"/>
                </a:lnTo>
                <a:lnTo>
                  <a:pt x="2029" y="3742"/>
                </a:lnTo>
                <a:lnTo>
                  <a:pt x="2000" y="3745"/>
                </a:lnTo>
                <a:lnTo>
                  <a:pt x="1970" y="3749"/>
                </a:lnTo>
                <a:lnTo>
                  <a:pt x="1941" y="3754"/>
                </a:lnTo>
                <a:lnTo>
                  <a:pt x="1914" y="3760"/>
                </a:lnTo>
                <a:lnTo>
                  <a:pt x="1885" y="3766"/>
                </a:lnTo>
                <a:lnTo>
                  <a:pt x="1857" y="3773"/>
                </a:lnTo>
                <a:lnTo>
                  <a:pt x="1829" y="3780"/>
                </a:lnTo>
                <a:lnTo>
                  <a:pt x="1801" y="3789"/>
                </a:lnTo>
                <a:lnTo>
                  <a:pt x="1775" y="3798"/>
                </a:lnTo>
                <a:lnTo>
                  <a:pt x="1722" y="3819"/>
                </a:lnTo>
                <a:lnTo>
                  <a:pt x="1670" y="3842"/>
                </a:lnTo>
                <a:lnTo>
                  <a:pt x="1621" y="3866"/>
                </a:lnTo>
                <a:lnTo>
                  <a:pt x="1572" y="3892"/>
                </a:lnTo>
                <a:lnTo>
                  <a:pt x="1524" y="3921"/>
                </a:lnTo>
                <a:lnTo>
                  <a:pt x="1478" y="3951"/>
                </a:lnTo>
                <a:lnTo>
                  <a:pt x="1435" y="3983"/>
                </a:lnTo>
                <a:lnTo>
                  <a:pt x="1391" y="4015"/>
                </a:lnTo>
                <a:lnTo>
                  <a:pt x="1350" y="4050"/>
                </a:lnTo>
                <a:lnTo>
                  <a:pt x="1311" y="4084"/>
                </a:lnTo>
                <a:lnTo>
                  <a:pt x="1273" y="4120"/>
                </a:lnTo>
                <a:lnTo>
                  <a:pt x="1236" y="4155"/>
                </a:lnTo>
                <a:lnTo>
                  <a:pt x="1201" y="4191"/>
                </a:lnTo>
                <a:lnTo>
                  <a:pt x="1167" y="4227"/>
                </a:lnTo>
                <a:lnTo>
                  <a:pt x="1136" y="4263"/>
                </a:lnTo>
                <a:lnTo>
                  <a:pt x="1106" y="4300"/>
                </a:lnTo>
                <a:lnTo>
                  <a:pt x="1077" y="4334"/>
                </a:lnTo>
                <a:lnTo>
                  <a:pt x="1050" y="4369"/>
                </a:lnTo>
                <a:lnTo>
                  <a:pt x="1025" y="4402"/>
                </a:lnTo>
                <a:lnTo>
                  <a:pt x="1001" y="4434"/>
                </a:lnTo>
                <a:lnTo>
                  <a:pt x="959" y="4496"/>
                </a:lnTo>
                <a:lnTo>
                  <a:pt x="924" y="4550"/>
                </a:lnTo>
                <a:lnTo>
                  <a:pt x="895" y="4596"/>
                </a:lnTo>
                <a:lnTo>
                  <a:pt x="1996" y="5696"/>
                </a:lnTo>
                <a:lnTo>
                  <a:pt x="1996" y="5696"/>
                </a:lnTo>
                <a:lnTo>
                  <a:pt x="2022" y="5673"/>
                </a:lnTo>
                <a:lnTo>
                  <a:pt x="2050" y="5650"/>
                </a:lnTo>
                <a:lnTo>
                  <a:pt x="2078" y="5629"/>
                </a:lnTo>
                <a:lnTo>
                  <a:pt x="2108" y="5610"/>
                </a:lnTo>
                <a:lnTo>
                  <a:pt x="2137" y="5592"/>
                </a:lnTo>
                <a:lnTo>
                  <a:pt x="2168" y="5576"/>
                </a:lnTo>
                <a:lnTo>
                  <a:pt x="2199" y="5561"/>
                </a:lnTo>
                <a:lnTo>
                  <a:pt x="2231" y="5548"/>
                </a:lnTo>
                <a:lnTo>
                  <a:pt x="2263" y="5536"/>
                </a:lnTo>
                <a:lnTo>
                  <a:pt x="2297" y="5525"/>
                </a:lnTo>
                <a:lnTo>
                  <a:pt x="2331" y="5516"/>
                </a:lnTo>
                <a:lnTo>
                  <a:pt x="2365" y="5509"/>
                </a:lnTo>
                <a:lnTo>
                  <a:pt x="2398" y="5503"/>
                </a:lnTo>
                <a:lnTo>
                  <a:pt x="2433" y="5499"/>
                </a:lnTo>
                <a:lnTo>
                  <a:pt x="2469" y="5497"/>
                </a:lnTo>
                <a:lnTo>
                  <a:pt x="2504" y="5496"/>
                </a:lnTo>
                <a:lnTo>
                  <a:pt x="3833" y="5496"/>
                </a:lnTo>
                <a:lnTo>
                  <a:pt x="3833" y="5496"/>
                </a:lnTo>
                <a:lnTo>
                  <a:pt x="3865" y="5496"/>
                </a:lnTo>
                <a:lnTo>
                  <a:pt x="3895" y="5493"/>
                </a:lnTo>
                <a:lnTo>
                  <a:pt x="3926" y="5491"/>
                </a:lnTo>
                <a:lnTo>
                  <a:pt x="3956" y="5487"/>
                </a:lnTo>
                <a:lnTo>
                  <a:pt x="3986" y="5483"/>
                </a:lnTo>
                <a:lnTo>
                  <a:pt x="4017" y="5476"/>
                </a:lnTo>
                <a:lnTo>
                  <a:pt x="4047" y="5469"/>
                </a:lnTo>
                <a:lnTo>
                  <a:pt x="4077" y="5462"/>
                </a:lnTo>
                <a:lnTo>
                  <a:pt x="4106" y="5452"/>
                </a:lnTo>
                <a:lnTo>
                  <a:pt x="4135" y="5443"/>
                </a:lnTo>
                <a:lnTo>
                  <a:pt x="4164" y="5432"/>
                </a:lnTo>
                <a:lnTo>
                  <a:pt x="4193" y="5420"/>
                </a:lnTo>
                <a:lnTo>
                  <a:pt x="4220" y="5407"/>
                </a:lnTo>
                <a:lnTo>
                  <a:pt x="4247" y="5392"/>
                </a:lnTo>
                <a:lnTo>
                  <a:pt x="4275" y="5378"/>
                </a:lnTo>
                <a:lnTo>
                  <a:pt x="4301" y="5361"/>
                </a:lnTo>
                <a:lnTo>
                  <a:pt x="6128" y="4214"/>
                </a:lnTo>
                <a:lnTo>
                  <a:pt x="6128" y="4214"/>
                </a:lnTo>
                <a:lnTo>
                  <a:pt x="6129" y="4214"/>
                </a:lnTo>
                <a:lnTo>
                  <a:pt x="6129" y="4214"/>
                </a:lnTo>
                <a:lnTo>
                  <a:pt x="6140" y="4207"/>
                </a:lnTo>
                <a:lnTo>
                  <a:pt x="6152" y="4198"/>
                </a:lnTo>
                <a:lnTo>
                  <a:pt x="6163" y="4189"/>
                </a:lnTo>
                <a:lnTo>
                  <a:pt x="6172" y="4179"/>
                </a:lnTo>
                <a:lnTo>
                  <a:pt x="6182" y="4169"/>
                </a:lnTo>
                <a:lnTo>
                  <a:pt x="6192" y="4159"/>
                </a:lnTo>
                <a:lnTo>
                  <a:pt x="6200" y="4148"/>
                </a:lnTo>
                <a:lnTo>
                  <a:pt x="6209" y="4137"/>
                </a:lnTo>
                <a:lnTo>
                  <a:pt x="6216" y="4125"/>
                </a:lnTo>
                <a:lnTo>
                  <a:pt x="6222" y="4113"/>
                </a:lnTo>
                <a:lnTo>
                  <a:pt x="6228" y="4100"/>
                </a:lnTo>
                <a:lnTo>
                  <a:pt x="6234" y="4087"/>
                </a:lnTo>
                <a:lnTo>
                  <a:pt x="6239" y="4074"/>
                </a:lnTo>
                <a:lnTo>
                  <a:pt x="6242" y="4061"/>
                </a:lnTo>
                <a:lnTo>
                  <a:pt x="6246" y="4047"/>
                </a:lnTo>
                <a:lnTo>
                  <a:pt x="6248" y="4033"/>
                </a:lnTo>
                <a:lnTo>
                  <a:pt x="6248" y="4033"/>
                </a:lnTo>
                <a:lnTo>
                  <a:pt x="6250" y="4019"/>
                </a:lnTo>
                <a:lnTo>
                  <a:pt x="6251" y="4004"/>
                </a:lnTo>
                <a:lnTo>
                  <a:pt x="6251" y="3990"/>
                </a:lnTo>
                <a:lnTo>
                  <a:pt x="6251" y="3977"/>
                </a:lnTo>
                <a:lnTo>
                  <a:pt x="6250" y="3962"/>
                </a:lnTo>
                <a:lnTo>
                  <a:pt x="6247" y="3948"/>
                </a:lnTo>
                <a:lnTo>
                  <a:pt x="6245" y="3934"/>
                </a:lnTo>
                <a:lnTo>
                  <a:pt x="6241" y="3921"/>
                </a:lnTo>
                <a:lnTo>
                  <a:pt x="6236" y="3908"/>
                </a:lnTo>
                <a:lnTo>
                  <a:pt x="6232" y="3895"/>
                </a:lnTo>
                <a:lnTo>
                  <a:pt x="6226" y="3881"/>
                </a:lnTo>
                <a:lnTo>
                  <a:pt x="6219" y="3869"/>
                </a:lnTo>
                <a:lnTo>
                  <a:pt x="6212" y="3857"/>
                </a:lnTo>
                <a:lnTo>
                  <a:pt x="6204" y="3845"/>
                </a:lnTo>
                <a:lnTo>
                  <a:pt x="6195" y="3833"/>
                </a:lnTo>
                <a:lnTo>
                  <a:pt x="6186" y="3822"/>
                </a:lnTo>
                <a:lnTo>
                  <a:pt x="6186" y="3822"/>
                </a:lnTo>
                <a:close/>
              </a:path>
            </a:pathLst>
          </a:custGeom>
          <a:solidFill>
            <a:schemeClr val="tx1"/>
          </a:solidFill>
          <a:ln>
            <a:noFill/>
          </a:ln>
        </p:spPr>
        <p:txBody>
          <a:bodyPr vert="horz" wrap="square" lIns="121807" tIns="60904" rIns="121807" bIns="60904" numCol="1" anchor="t" anchorCtr="0" compatLnSpc="1">
            <a:prstTxWarp prst="textNoShape">
              <a:avLst/>
            </a:prstTxWarp>
          </a:bodyPr>
          <a:lstStyle/>
          <a:p>
            <a:endParaRPr lang="en-US" sz="2395"/>
          </a:p>
        </p:txBody>
      </p:sp>
      <p:sp>
        <p:nvSpPr>
          <p:cNvPr id="8" name="Freeform 475">
            <a:extLst>
              <a:ext uri="{FF2B5EF4-FFF2-40B4-BE49-F238E27FC236}">
                <a16:creationId xmlns:a16="http://schemas.microsoft.com/office/drawing/2014/main" id="{FD3376B4-A987-740E-6538-8A5A6817522A}"/>
              </a:ext>
              <a:ext uri="{C183D7F6-B498-43B3-948B-1728B52AA6E4}">
                <adec:decorative xmlns:adec="http://schemas.microsoft.com/office/drawing/2017/decorative" val="1"/>
              </a:ext>
            </a:extLst>
          </p:cNvPr>
          <p:cNvSpPr>
            <a:spLocks noChangeAspect="1" noEditPoints="1"/>
          </p:cNvSpPr>
          <p:nvPr/>
        </p:nvSpPr>
        <p:spPr bwMode="auto">
          <a:xfrm>
            <a:off x="9529822" y="3786586"/>
            <a:ext cx="949791" cy="1462564"/>
          </a:xfrm>
          <a:custGeom>
            <a:avLst/>
            <a:gdLst>
              <a:gd name="T0" fmla="*/ 1769 w 4212"/>
              <a:gd name="T1" fmla="*/ 0 h 6486"/>
              <a:gd name="T2" fmla="*/ 1890 w 4212"/>
              <a:gd name="T3" fmla="*/ 837 h 6486"/>
              <a:gd name="T4" fmla="*/ 1745 w 4212"/>
              <a:gd name="T5" fmla="*/ 955 h 6486"/>
              <a:gd name="T6" fmla="*/ 2462 w 4212"/>
              <a:gd name="T7" fmla="*/ 1217 h 6486"/>
              <a:gd name="T8" fmla="*/ 3053 w 4212"/>
              <a:gd name="T9" fmla="*/ 567 h 6486"/>
              <a:gd name="T10" fmla="*/ 2880 w 4212"/>
              <a:gd name="T11" fmla="*/ 495 h 6486"/>
              <a:gd name="T12" fmla="*/ 2339 w 4212"/>
              <a:gd name="T13" fmla="*/ 1165 h 6486"/>
              <a:gd name="T14" fmla="*/ 2623 w 4212"/>
              <a:gd name="T15" fmla="*/ 1825 h 6486"/>
              <a:gd name="T16" fmla="*/ 3489 w 4212"/>
              <a:gd name="T17" fmla="*/ 1867 h 6486"/>
              <a:gd name="T18" fmla="*/ 3506 w 4212"/>
              <a:gd name="T19" fmla="*/ 1683 h 6486"/>
              <a:gd name="T20" fmla="*/ 2636 w 4212"/>
              <a:gd name="T21" fmla="*/ 1691 h 6486"/>
              <a:gd name="T22" fmla="*/ 926 w 4212"/>
              <a:gd name="T23" fmla="*/ 1675 h 6486"/>
              <a:gd name="T24" fmla="*/ 36 w 4212"/>
              <a:gd name="T25" fmla="*/ 1683 h 6486"/>
              <a:gd name="T26" fmla="*/ 53 w 4212"/>
              <a:gd name="T27" fmla="*/ 1867 h 6486"/>
              <a:gd name="T28" fmla="*/ 943 w 4212"/>
              <a:gd name="T29" fmla="*/ 1844 h 6486"/>
              <a:gd name="T30" fmla="*/ 1119 w 4212"/>
              <a:gd name="T31" fmla="*/ 1238 h 6486"/>
              <a:gd name="T32" fmla="*/ 1238 w 4212"/>
              <a:gd name="T33" fmla="*/ 1095 h 6486"/>
              <a:gd name="T34" fmla="*/ 569 w 4212"/>
              <a:gd name="T35" fmla="*/ 488 h 6486"/>
              <a:gd name="T36" fmla="*/ 497 w 4212"/>
              <a:gd name="T37" fmla="*/ 660 h 6486"/>
              <a:gd name="T38" fmla="*/ 4100 w 4212"/>
              <a:gd name="T39" fmla="*/ 5416 h 6486"/>
              <a:gd name="T40" fmla="*/ 3588 w 4212"/>
              <a:gd name="T41" fmla="*/ 6127 h 6486"/>
              <a:gd name="T42" fmla="*/ 2902 w 4212"/>
              <a:gd name="T43" fmla="*/ 6450 h 6486"/>
              <a:gd name="T44" fmla="*/ 2182 w 4212"/>
              <a:gd name="T45" fmla="*/ 6443 h 6486"/>
              <a:gd name="T46" fmla="*/ 1496 w 4212"/>
              <a:gd name="T47" fmla="*/ 6099 h 6486"/>
              <a:gd name="T48" fmla="*/ 191 w 4212"/>
              <a:gd name="T49" fmla="*/ 3915 h 6486"/>
              <a:gd name="T50" fmla="*/ 236 w 4212"/>
              <a:gd name="T51" fmla="*/ 3625 h 6486"/>
              <a:gd name="T52" fmla="*/ 521 w 4212"/>
              <a:gd name="T53" fmla="*/ 3513 h 6486"/>
              <a:gd name="T54" fmla="*/ 1005 w 4212"/>
              <a:gd name="T55" fmla="*/ 3678 h 6486"/>
              <a:gd name="T56" fmla="*/ 1334 w 4212"/>
              <a:gd name="T57" fmla="*/ 1660 h 6486"/>
              <a:gd name="T58" fmla="*/ 1626 w 4212"/>
              <a:gd name="T59" fmla="*/ 1354 h 6486"/>
              <a:gd name="T60" fmla="*/ 2013 w 4212"/>
              <a:gd name="T61" fmla="*/ 1402 h 6486"/>
              <a:gd name="T62" fmla="*/ 2211 w 4212"/>
              <a:gd name="T63" fmla="*/ 1700 h 6486"/>
              <a:gd name="T64" fmla="*/ 2433 w 4212"/>
              <a:gd name="T65" fmla="*/ 2545 h 6486"/>
              <a:gd name="T66" fmla="*/ 2755 w 4212"/>
              <a:gd name="T67" fmla="*/ 2685 h 6486"/>
              <a:gd name="T68" fmla="*/ 3066 w 4212"/>
              <a:gd name="T69" fmla="*/ 2765 h 6486"/>
              <a:gd name="T70" fmla="*/ 3404 w 4212"/>
              <a:gd name="T71" fmla="*/ 2888 h 6486"/>
              <a:gd name="T72" fmla="*/ 3708 w 4212"/>
              <a:gd name="T73" fmla="*/ 2983 h 6486"/>
              <a:gd name="T74" fmla="*/ 4052 w 4212"/>
              <a:gd name="T75" fmla="*/ 3090 h 6486"/>
              <a:gd name="T76" fmla="*/ 4210 w 4212"/>
              <a:gd name="T77" fmla="*/ 3408 h 6486"/>
              <a:gd name="T78" fmla="*/ 3849 w 4212"/>
              <a:gd name="T79" fmla="*/ 3241 h 6486"/>
              <a:gd name="T80" fmla="*/ 3553 w 4212"/>
              <a:gd name="T81" fmla="*/ 3385 h 6486"/>
              <a:gd name="T82" fmla="*/ 3440 w 4212"/>
              <a:gd name="T83" fmla="*/ 4059 h 6486"/>
              <a:gd name="T84" fmla="*/ 3307 w 4212"/>
              <a:gd name="T85" fmla="*/ 3232 h 6486"/>
              <a:gd name="T86" fmla="*/ 3108 w 4212"/>
              <a:gd name="T87" fmla="*/ 3004 h 6486"/>
              <a:gd name="T88" fmla="*/ 2884 w 4212"/>
              <a:gd name="T89" fmla="*/ 3951 h 6486"/>
              <a:gd name="T90" fmla="*/ 2728 w 4212"/>
              <a:gd name="T91" fmla="*/ 4054 h 6486"/>
              <a:gd name="T92" fmla="*/ 2631 w 4212"/>
              <a:gd name="T93" fmla="*/ 2935 h 6486"/>
              <a:gd name="T94" fmla="*/ 2334 w 4212"/>
              <a:gd name="T95" fmla="*/ 2811 h 6486"/>
              <a:gd name="T96" fmla="*/ 2201 w 4212"/>
              <a:gd name="T97" fmla="*/ 4007 h 6486"/>
              <a:gd name="T98" fmla="*/ 2016 w 4212"/>
              <a:gd name="T99" fmla="*/ 4025 h 6486"/>
              <a:gd name="T100" fmla="*/ 1918 w 4212"/>
              <a:gd name="T101" fmla="*/ 1636 h 6486"/>
              <a:gd name="T102" fmla="*/ 1602 w 4212"/>
              <a:gd name="T103" fmla="*/ 1654 h 6486"/>
              <a:gd name="T104" fmla="*/ 1515 w 4212"/>
              <a:gd name="T105" fmla="*/ 4555 h 6486"/>
              <a:gd name="T106" fmla="*/ 1357 w 4212"/>
              <a:gd name="T107" fmla="*/ 4551 h 6486"/>
              <a:gd name="T108" fmla="*/ 678 w 4212"/>
              <a:gd name="T109" fmla="*/ 3771 h 6486"/>
              <a:gd name="T110" fmla="*/ 414 w 4212"/>
              <a:gd name="T111" fmla="*/ 3795 h 6486"/>
              <a:gd name="T112" fmla="*/ 1619 w 4212"/>
              <a:gd name="T113" fmla="*/ 5886 h 6486"/>
              <a:gd name="T114" fmla="*/ 2236 w 4212"/>
              <a:gd name="T115" fmla="*/ 6208 h 6486"/>
              <a:gd name="T116" fmla="*/ 2902 w 4212"/>
              <a:gd name="T117" fmla="*/ 6204 h 6486"/>
              <a:gd name="T118" fmla="*/ 3502 w 4212"/>
              <a:gd name="T119" fmla="*/ 5885 h 6486"/>
              <a:gd name="T120" fmla="*/ 3910 w 4212"/>
              <a:gd name="T121" fmla="*/ 5219 h 6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212" h="6486">
                <a:moveTo>
                  <a:pt x="1649" y="837"/>
                </a:moveTo>
                <a:lnTo>
                  <a:pt x="1649" y="120"/>
                </a:lnTo>
                <a:lnTo>
                  <a:pt x="1649" y="120"/>
                </a:lnTo>
                <a:lnTo>
                  <a:pt x="1649" y="108"/>
                </a:lnTo>
                <a:lnTo>
                  <a:pt x="1651" y="96"/>
                </a:lnTo>
                <a:lnTo>
                  <a:pt x="1654" y="84"/>
                </a:lnTo>
                <a:lnTo>
                  <a:pt x="1659" y="73"/>
                </a:lnTo>
                <a:lnTo>
                  <a:pt x="1663" y="63"/>
                </a:lnTo>
                <a:lnTo>
                  <a:pt x="1669" y="53"/>
                </a:lnTo>
                <a:lnTo>
                  <a:pt x="1677" y="43"/>
                </a:lnTo>
                <a:lnTo>
                  <a:pt x="1684" y="35"/>
                </a:lnTo>
                <a:lnTo>
                  <a:pt x="1692" y="28"/>
                </a:lnTo>
                <a:lnTo>
                  <a:pt x="1702" y="20"/>
                </a:lnTo>
                <a:lnTo>
                  <a:pt x="1712" y="14"/>
                </a:lnTo>
                <a:lnTo>
                  <a:pt x="1722" y="10"/>
                </a:lnTo>
                <a:lnTo>
                  <a:pt x="1733" y="5"/>
                </a:lnTo>
                <a:lnTo>
                  <a:pt x="1745" y="2"/>
                </a:lnTo>
                <a:lnTo>
                  <a:pt x="1757" y="0"/>
                </a:lnTo>
                <a:lnTo>
                  <a:pt x="1769" y="0"/>
                </a:lnTo>
                <a:lnTo>
                  <a:pt x="1769" y="0"/>
                </a:lnTo>
                <a:lnTo>
                  <a:pt x="1782" y="0"/>
                </a:lnTo>
                <a:lnTo>
                  <a:pt x="1794" y="2"/>
                </a:lnTo>
                <a:lnTo>
                  <a:pt x="1806" y="5"/>
                </a:lnTo>
                <a:lnTo>
                  <a:pt x="1817" y="10"/>
                </a:lnTo>
                <a:lnTo>
                  <a:pt x="1827" y="14"/>
                </a:lnTo>
                <a:lnTo>
                  <a:pt x="1837" y="20"/>
                </a:lnTo>
                <a:lnTo>
                  <a:pt x="1847" y="28"/>
                </a:lnTo>
                <a:lnTo>
                  <a:pt x="1855" y="35"/>
                </a:lnTo>
                <a:lnTo>
                  <a:pt x="1862" y="43"/>
                </a:lnTo>
                <a:lnTo>
                  <a:pt x="1870" y="53"/>
                </a:lnTo>
                <a:lnTo>
                  <a:pt x="1876" y="63"/>
                </a:lnTo>
                <a:lnTo>
                  <a:pt x="1880" y="73"/>
                </a:lnTo>
                <a:lnTo>
                  <a:pt x="1884" y="84"/>
                </a:lnTo>
                <a:lnTo>
                  <a:pt x="1888" y="96"/>
                </a:lnTo>
                <a:lnTo>
                  <a:pt x="1889" y="108"/>
                </a:lnTo>
                <a:lnTo>
                  <a:pt x="1890" y="120"/>
                </a:lnTo>
                <a:lnTo>
                  <a:pt x="1890" y="837"/>
                </a:lnTo>
                <a:lnTo>
                  <a:pt x="1890" y="837"/>
                </a:lnTo>
                <a:lnTo>
                  <a:pt x="1889" y="851"/>
                </a:lnTo>
                <a:lnTo>
                  <a:pt x="1888" y="863"/>
                </a:lnTo>
                <a:lnTo>
                  <a:pt x="1884" y="873"/>
                </a:lnTo>
                <a:lnTo>
                  <a:pt x="1880" y="884"/>
                </a:lnTo>
                <a:lnTo>
                  <a:pt x="1876" y="895"/>
                </a:lnTo>
                <a:lnTo>
                  <a:pt x="1870" y="905"/>
                </a:lnTo>
                <a:lnTo>
                  <a:pt x="1862" y="914"/>
                </a:lnTo>
                <a:lnTo>
                  <a:pt x="1855" y="923"/>
                </a:lnTo>
                <a:lnTo>
                  <a:pt x="1847" y="931"/>
                </a:lnTo>
                <a:lnTo>
                  <a:pt x="1837" y="937"/>
                </a:lnTo>
                <a:lnTo>
                  <a:pt x="1827" y="943"/>
                </a:lnTo>
                <a:lnTo>
                  <a:pt x="1817" y="949"/>
                </a:lnTo>
                <a:lnTo>
                  <a:pt x="1806" y="953"/>
                </a:lnTo>
                <a:lnTo>
                  <a:pt x="1794" y="955"/>
                </a:lnTo>
                <a:lnTo>
                  <a:pt x="1782" y="958"/>
                </a:lnTo>
                <a:lnTo>
                  <a:pt x="1769" y="958"/>
                </a:lnTo>
                <a:lnTo>
                  <a:pt x="1769" y="958"/>
                </a:lnTo>
                <a:lnTo>
                  <a:pt x="1757" y="958"/>
                </a:lnTo>
                <a:lnTo>
                  <a:pt x="1745" y="955"/>
                </a:lnTo>
                <a:lnTo>
                  <a:pt x="1733" y="953"/>
                </a:lnTo>
                <a:lnTo>
                  <a:pt x="1722" y="949"/>
                </a:lnTo>
                <a:lnTo>
                  <a:pt x="1712" y="943"/>
                </a:lnTo>
                <a:lnTo>
                  <a:pt x="1702" y="937"/>
                </a:lnTo>
                <a:lnTo>
                  <a:pt x="1692" y="931"/>
                </a:lnTo>
                <a:lnTo>
                  <a:pt x="1684" y="923"/>
                </a:lnTo>
                <a:lnTo>
                  <a:pt x="1677" y="914"/>
                </a:lnTo>
                <a:lnTo>
                  <a:pt x="1669" y="905"/>
                </a:lnTo>
                <a:lnTo>
                  <a:pt x="1663" y="895"/>
                </a:lnTo>
                <a:lnTo>
                  <a:pt x="1659" y="884"/>
                </a:lnTo>
                <a:lnTo>
                  <a:pt x="1654" y="873"/>
                </a:lnTo>
                <a:lnTo>
                  <a:pt x="1651" y="863"/>
                </a:lnTo>
                <a:lnTo>
                  <a:pt x="1649" y="851"/>
                </a:lnTo>
                <a:lnTo>
                  <a:pt x="1649" y="837"/>
                </a:lnTo>
                <a:lnTo>
                  <a:pt x="1649" y="837"/>
                </a:lnTo>
                <a:close/>
                <a:moveTo>
                  <a:pt x="2439" y="1219"/>
                </a:moveTo>
                <a:lnTo>
                  <a:pt x="2439" y="1219"/>
                </a:lnTo>
                <a:lnTo>
                  <a:pt x="2451" y="1218"/>
                </a:lnTo>
                <a:lnTo>
                  <a:pt x="2462" y="1217"/>
                </a:lnTo>
                <a:lnTo>
                  <a:pt x="2474" y="1214"/>
                </a:lnTo>
                <a:lnTo>
                  <a:pt x="2485" y="1211"/>
                </a:lnTo>
                <a:lnTo>
                  <a:pt x="2496" y="1205"/>
                </a:lnTo>
                <a:lnTo>
                  <a:pt x="2505" y="1199"/>
                </a:lnTo>
                <a:lnTo>
                  <a:pt x="2515" y="1191"/>
                </a:lnTo>
                <a:lnTo>
                  <a:pt x="2525" y="1184"/>
                </a:lnTo>
                <a:lnTo>
                  <a:pt x="3021" y="687"/>
                </a:lnTo>
                <a:lnTo>
                  <a:pt x="3021" y="687"/>
                </a:lnTo>
                <a:lnTo>
                  <a:pt x="3030" y="677"/>
                </a:lnTo>
                <a:lnTo>
                  <a:pt x="3037" y="667"/>
                </a:lnTo>
                <a:lnTo>
                  <a:pt x="3043" y="658"/>
                </a:lnTo>
                <a:lnTo>
                  <a:pt x="3048" y="647"/>
                </a:lnTo>
                <a:lnTo>
                  <a:pt x="3053" y="636"/>
                </a:lnTo>
                <a:lnTo>
                  <a:pt x="3055" y="624"/>
                </a:lnTo>
                <a:lnTo>
                  <a:pt x="3056" y="613"/>
                </a:lnTo>
                <a:lnTo>
                  <a:pt x="3058" y="601"/>
                </a:lnTo>
                <a:lnTo>
                  <a:pt x="3056" y="590"/>
                </a:lnTo>
                <a:lnTo>
                  <a:pt x="3055" y="578"/>
                </a:lnTo>
                <a:lnTo>
                  <a:pt x="3053" y="567"/>
                </a:lnTo>
                <a:lnTo>
                  <a:pt x="3048" y="557"/>
                </a:lnTo>
                <a:lnTo>
                  <a:pt x="3043" y="546"/>
                </a:lnTo>
                <a:lnTo>
                  <a:pt x="3037" y="535"/>
                </a:lnTo>
                <a:lnTo>
                  <a:pt x="3030" y="525"/>
                </a:lnTo>
                <a:lnTo>
                  <a:pt x="3021" y="517"/>
                </a:lnTo>
                <a:lnTo>
                  <a:pt x="3021" y="517"/>
                </a:lnTo>
                <a:lnTo>
                  <a:pt x="3013" y="508"/>
                </a:lnTo>
                <a:lnTo>
                  <a:pt x="3003" y="501"/>
                </a:lnTo>
                <a:lnTo>
                  <a:pt x="2993" y="495"/>
                </a:lnTo>
                <a:lnTo>
                  <a:pt x="2982" y="490"/>
                </a:lnTo>
                <a:lnTo>
                  <a:pt x="2971" y="485"/>
                </a:lnTo>
                <a:lnTo>
                  <a:pt x="2960" y="483"/>
                </a:lnTo>
                <a:lnTo>
                  <a:pt x="2948" y="482"/>
                </a:lnTo>
                <a:lnTo>
                  <a:pt x="2937" y="481"/>
                </a:lnTo>
                <a:lnTo>
                  <a:pt x="2925" y="482"/>
                </a:lnTo>
                <a:lnTo>
                  <a:pt x="2914" y="483"/>
                </a:lnTo>
                <a:lnTo>
                  <a:pt x="2902" y="485"/>
                </a:lnTo>
                <a:lnTo>
                  <a:pt x="2891" y="490"/>
                </a:lnTo>
                <a:lnTo>
                  <a:pt x="2880" y="495"/>
                </a:lnTo>
                <a:lnTo>
                  <a:pt x="2871" y="501"/>
                </a:lnTo>
                <a:lnTo>
                  <a:pt x="2861" y="508"/>
                </a:lnTo>
                <a:lnTo>
                  <a:pt x="2851" y="517"/>
                </a:lnTo>
                <a:lnTo>
                  <a:pt x="2353" y="1013"/>
                </a:lnTo>
                <a:lnTo>
                  <a:pt x="2353" y="1013"/>
                </a:lnTo>
                <a:lnTo>
                  <a:pt x="2346" y="1023"/>
                </a:lnTo>
                <a:lnTo>
                  <a:pt x="2339" y="1032"/>
                </a:lnTo>
                <a:lnTo>
                  <a:pt x="2333" y="1042"/>
                </a:lnTo>
                <a:lnTo>
                  <a:pt x="2327" y="1053"/>
                </a:lnTo>
                <a:lnTo>
                  <a:pt x="2323" y="1064"/>
                </a:lnTo>
                <a:lnTo>
                  <a:pt x="2321" y="1076"/>
                </a:lnTo>
                <a:lnTo>
                  <a:pt x="2319" y="1087"/>
                </a:lnTo>
                <a:lnTo>
                  <a:pt x="2318" y="1099"/>
                </a:lnTo>
                <a:lnTo>
                  <a:pt x="2319" y="1111"/>
                </a:lnTo>
                <a:lnTo>
                  <a:pt x="2321" y="1122"/>
                </a:lnTo>
                <a:lnTo>
                  <a:pt x="2323" y="1132"/>
                </a:lnTo>
                <a:lnTo>
                  <a:pt x="2327" y="1144"/>
                </a:lnTo>
                <a:lnTo>
                  <a:pt x="2333" y="1154"/>
                </a:lnTo>
                <a:lnTo>
                  <a:pt x="2339" y="1165"/>
                </a:lnTo>
                <a:lnTo>
                  <a:pt x="2346" y="1175"/>
                </a:lnTo>
                <a:lnTo>
                  <a:pt x="2353" y="1184"/>
                </a:lnTo>
                <a:lnTo>
                  <a:pt x="2353" y="1184"/>
                </a:lnTo>
                <a:lnTo>
                  <a:pt x="2363" y="1191"/>
                </a:lnTo>
                <a:lnTo>
                  <a:pt x="2373" y="1199"/>
                </a:lnTo>
                <a:lnTo>
                  <a:pt x="2383" y="1205"/>
                </a:lnTo>
                <a:lnTo>
                  <a:pt x="2394" y="1211"/>
                </a:lnTo>
                <a:lnTo>
                  <a:pt x="2405" y="1214"/>
                </a:lnTo>
                <a:lnTo>
                  <a:pt x="2416" y="1217"/>
                </a:lnTo>
                <a:lnTo>
                  <a:pt x="2428" y="1218"/>
                </a:lnTo>
                <a:lnTo>
                  <a:pt x="2439" y="1219"/>
                </a:lnTo>
                <a:lnTo>
                  <a:pt x="2439" y="1219"/>
                </a:lnTo>
                <a:close/>
                <a:moveTo>
                  <a:pt x="2609" y="1767"/>
                </a:moveTo>
                <a:lnTo>
                  <a:pt x="2609" y="1767"/>
                </a:lnTo>
                <a:lnTo>
                  <a:pt x="2609" y="1779"/>
                </a:lnTo>
                <a:lnTo>
                  <a:pt x="2611" y="1791"/>
                </a:lnTo>
                <a:lnTo>
                  <a:pt x="2614" y="1803"/>
                </a:lnTo>
                <a:lnTo>
                  <a:pt x="2617" y="1814"/>
                </a:lnTo>
                <a:lnTo>
                  <a:pt x="2623" y="1825"/>
                </a:lnTo>
                <a:lnTo>
                  <a:pt x="2629" y="1835"/>
                </a:lnTo>
                <a:lnTo>
                  <a:pt x="2636" y="1844"/>
                </a:lnTo>
                <a:lnTo>
                  <a:pt x="2644" y="1853"/>
                </a:lnTo>
                <a:lnTo>
                  <a:pt x="2652" y="1860"/>
                </a:lnTo>
                <a:lnTo>
                  <a:pt x="2662" y="1867"/>
                </a:lnTo>
                <a:lnTo>
                  <a:pt x="2672" y="1873"/>
                </a:lnTo>
                <a:lnTo>
                  <a:pt x="2683" y="1878"/>
                </a:lnTo>
                <a:lnTo>
                  <a:pt x="2693" y="1883"/>
                </a:lnTo>
                <a:lnTo>
                  <a:pt x="2704" y="1885"/>
                </a:lnTo>
                <a:lnTo>
                  <a:pt x="2716" y="1888"/>
                </a:lnTo>
                <a:lnTo>
                  <a:pt x="2730" y="1888"/>
                </a:lnTo>
                <a:lnTo>
                  <a:pt x="3422" y="1888"/>
                </a:lnTo>
                <a:lnTo>
                  <a:pt x="3422" y="1888"/>
                </a:lnTo>
                <a:lnTo>
                  <a:pt x="3434" y="1888"/>
                </a:lnTo>
                <a:lnTo>
                  <a:pt x="3446" y="1885"/>
                </a:lnTo>
                <a:lnTo>
                  <a:pt x="3457" y="1883"/>
                </a:lnTo>
                <a:lnTo>
                  <a:pt x="3469" y="1878"/>
                </a:lnTo>
                <a:lnTo>
                  <a:pt x="3479" y="1873"/>
                </a:lnTo>
                <a:lnTo>
                  <a:pt x="3489" y="1867"/>
                </a:lnTo>
                <a:lnTo>
                  <a:pt x="3498" y="1860"/>
                </a:lnTo>
                <a:lnTo>
                  <a:pt x="3506" y="1853"/>
                </a:lnTo>
                <a:lnTo>
                  <a:pt x="3515" y="1844"/>
                </a:lnTo>
                <a:lnTo>
                  <a:pt x="3522" y="1835"/>
                </a:lnTo>
                <a:lnTo>
                  <a:pt x="3528" y="1825"/>
                </a:lnTo>
                <a:lnTo>
                  <a:pt x="3533" y="1814"/>
                </a:lnTo>
                <a:lnTo>
                  <a:pt x="3537" y="1803"/>
                </a:lnTo>
                <a:lnTo>
                  <a:pt x="3540" y="1791"/>
                </a:lnTo>
                <a:lnTo>
                  <a:pt x="3541" y="1779"/>
                </a:lnTo>
                <a:lnTo>
                  <a:pt x="3543" y="1767"/>
                </a:lnTo>
                <a:lnTo>
                  <a:pt x="3543" y="1767"/>
                </a:lnTo>
                <a:lnTo>
                  <a:pt x="3541" y="1755"/>
                </a:lnTo>
                <a:lnTo>
                  <a:pt x="3540" y="1743"/>
                </a:lnTo>
                <a:lnTo>
                  <a:pt x="3537" y="1732"/>
                </a:lnTo>
                <a:lnTo>
                  <a:pt x="3533" y="1720"/>
                </a:lnTo>
                <a:lnTo>
                  <a:pt x="3528" y="1711"/>
                </a:lnTo>
                <a:lnTo>
                  <a:pt x="3522" y="1700"/>
                </a:lnTo>
                <a:lnTo>
                  <a:pt x="3515" y="1691"/>
                </a:lnTo>
                <a:lnTo>
                  <a:pt x="3506" y="1683"/>
                </a:lnTo>
                <a:lnTo>
                  <a:pt x="3498" y="1675"/>
                </a:lnTo>
                <a:lnTo>
                  <a:pt x="3489" y="1667"/>
                </a:lnTo>
                <a:lnTo>
                  <a:pt x="3479" y="1661"/>
                </a:lnTo>
                <a:lnTo>
                  <a:pt x="3469" y="1656"/>
                </a:lnTo>
                <a:lnTo>
                  <a:pt x="3457" y="1653"/>
                </a:lnTo>
                <a:lnTo>
                  <a:pt x="3446" y="1649"/>
                </a:lnTo>
                <a:lnTo>
                  <a:pt x="3434" y="1648"/>
                </a:lnTo>
                <a:lnTo>
                  <a:pt x="3422" y="1647"/>
                </a:lnTo>
                <a:lnTo>
                  <a:pt x="2730" y="1647"/>
                </a:lnTo>
                <a:lnTo>
                  <a:pt x="2730" y="1647"/>
                </a:lnTo>
                <a:lnTo>
                  <a:pt x="2716" y="1648"/>
                </a:lnTo>
                <a:lnTo>
                  <a:pt x="2704" y="1649"/>
                </a:lnTo>
                <a:lnTo>
                  <a:pt x="2693" y="1653"/>
                </a:lnTo>
                <a:lnTo>
                  <a:pt x="2683" y="1656"/>
                </a:lnTo>
                <a:lnTo>
                  <a:pt x="2672" y="1661"/>
                </a:lnTo>
                <a:lnTo>
                  <a:pt x="2662" y="1667"/>
                </a:lnTo>
                <a:lnTo>
                  <a:pt x="2652" y="1675"/>
                </a:lnTo>
                <a:lnTo>
                  <a:pt x="2644" y="1683"/>
                </a:lnTo>
                <a:lnTo>
                  <a:pt x="2636" y="1691"/>
                </a:lnTo>
                <a:lnTo>
                  <a:pt x="2629" y="1700"/>
                </a:lnTo>
                <a:lnTo>
                  <a:pt x="2623" y="1711"/>
                </a:lnTo>
                <a:lnTo>
                  <a:pt x="2617" y="1720"/>
                </a:lnTo>
                <a:lnTo>
                  <a:pt x="2614" y="1732"/>
                </a:lnTo>
                <a:lnTo>
                  <a:pt x="2611" y="1743"/>
                </a:lnTo>
                <a:lnTo>
                  <a:pt x="2609" y="1755"/>
                </a:lnTo>
                <a:lnTo>
                  <a:pt x="2609" y="1767"/>
                </a:lnTo>
                <a:lnTo>
                  <a:pt x="2609" y="1767"/>
                </a:lnTo>
                <a:close/>
                <a:moveTo>
                  <a:pt x="971" y="1767"/>
                </a:moveTo>
                <a:lnTo>
                  <a:pt x="971" y="1767"/>
                </a:lnTo>
                <a:lnTo>
                  <a:pt x="970" y="1755"/>
                </a:lnTo>
                <a:lnTo>
                  <a:pt x="969" y="1743"/>
                </a:lnTo>
                <a:lnTo>
                  <a:pt x="965" y="1731"/>
                </a:lnTo>
                <a:lnTo>
                  <a:pt x="961" y="1720"/>
                </a:lnTo>
                <a:lnTo>
                  <a:pt x="957" y="1711"/>
                </a:lnTo>
                <a:lnTo>
                  <a:pt x="950" y="1700"/>
                </a:lnTo>
                <a:lnTo>
                  <a:pt x="943" y="1691"/>
                </a:lnTo>
                <a:lnTo>
                  <a:pt x="936" y="1683"/>
                </a:lnTo>
                <a:lnTo>
                  <a:pt x="926" y="1675"/>
                </a:lnTo>
                <a:lnTo>
                  <a:pt x="918" y="1667"/>
                </a:lnTo>
                <a:lnTo>
                  <a:pt x="908" y="1661"/>
                </a:lnTo>
                <a:lnTo>
                  <a:pt x="897" y="1656"/>
                </a:lnTo>
                <a:lnTo>
                  <a:pt x="887" y="1653"/>
                </a:lnTo>
                <a:lnTo>
                  <a:pt x="874" y="1649"/>
                </a:lnTo>
                <a:lnTo>
                  <a:pt x="862" y="1648"/>
                </a:lnTo>
                <a:lnTo>
                  <a:pt x="850" y="1647"/>
                </a:lnTo>
                <a:lnTo>
                  <a:pt x="850" y="1647"/>
                </a:lnTo>
                <a:lnTo>
                  <a:pt x="850" y="1647"/>
                </a:lnTo>
                <a:lnTo>
                  <a:pt x="121" y="1647"/>
                </a:lnTo>
                <a:lnTo>
                  <a:pt x="121" y="1647"/>
                </a:lnTo>
                <a:lnTo>
                  <a:pt x="109" y="1648"/>
                </a:lnTo>
                <a:lnTo>
                  <a:pt x="96" y="1649"/>
                </a:lnTo>
                <a:lnTo>
                  <a:pt x="86" y="1653"/>
                </a:lnTo>
                <a:lnTo>
                  <a:pt x="74" y="1656"/>
                </a:lnTo>
                <a:lnTo>
                  <a:pt x="64" y="1661"/>
                </a:lnTo>
                <a:lnTo>
                  <a:pt x="53" y="1667"/>
                </a:lnTo>
                <a:lnTo>
                  <a:pt x="45" y="1675"/>
                </a:lnTo>
                <a:lnTo>
                  <a:pt x="36" y="1683"/>
                </a:lnTo>
                <a:lnTo>
                  <a:pt x="28" y="1691"/>
                </a:lnTo>
                <a:lnTo>
                  <a:pt x="21" y="1700"/>
                </a:lnTo>
                <a:lnTo>
                  <a:pt x="14" y="1711"/>
                </a:lnTo>
                <a:lnTo>
                  <a:pt x="10" y="1720"/>
                </a:lnTo>
                <a:lnTo>
                  <a:pt x="6" y="1732"/>
                </a:lnTo>
                <a:lnTo>
                  <a:pt x="2" y="1743"/>
                </a:lnTo>
                <a:lnTo>
                  <a:pt x="1" y="1755"/>
                </a:lnTo>
                <a:lnTo>
                  <a:pt x="0" y="1767"/>
                </a:lnTo>
                <a:lnTo>
                  <a:pt x="0" y="1767"/>
                </a:lnTo>
                <a:lnTo>
                  <a:pt x="1" y="1781"/>
                </a:lnTo>
                <a:lnTo>
                  <a:pt x="2" y="1793"/>
                </a:lnTo>
                <a:lnTo>
                  <a:pt x="6" y="1803"/>
                </a:lnTo>
                <a:lnTo>
                  <a:pt x="10" y="1814"/>
                </a:lnTo>
                <a:lnTo>
                  <a:pt x="14" y="1825"/>
                </a:lnTo>
                <a:lnTo>
                  <a:pt x="21" y="1835"/>
                </a:lnTo>
                <a:lnTo>
                  <a:pt x="28" y="1844"/>
                </a:lnTo>
                <a:lnTo>
                  <a:pt x="36" y="1853"/>
                </a:lnTo>
                <a:lnTo>
                  <a:pt x="45" y="1861"/>
                </a:lnTo>
                <a:lnTo>
                  <a:pt x="53" y="1867"/>
                </a:lnTo>
                <a:lnTo>
                  <a:pt x="64" y="1873"/>
                </a:lnTo>
                <a:lnTo>
                  <a:pt x="74" y="1879"/>
                </a:lnTo>
                <a:lnTo>
                  <a:pt x="86" y="1883"/>
                </a:lnTo>
                <a:lnTo>
                  <a:pt x="96" y="1885"/>
                </a:lnTo>
                <a:lnTo>
                  <a:pt x="109" y="1888"/>
                </a:lnTo>
                <a:lnTo>
                  <a:pt x="121" y="1888"/>
                </a:lnTo>
                <a:lnTo>
                  <a:pt x="121" y="1888"/>
                </a:lnTo>
                <a:lnTo>
                  <a:pt x="121" y="1888"/>
                </a:lnTo>
                <a:lnTo>
                  <a:pt x="850" y="1888"/>
                </a:lnTo>
                <a:lnTo>
                  <a:pt x="850" y="1888"/>
                </a:lnTo>
                <a:lnTo>
                  <a:pt x="862" y="1888"/>
                </a:lnTo>
                <a:lnTo>
                  <a:pt x="874" y="1885"/>
                </a:lnTo>
                <a:lnTo>
                  <a:pt x="887" y="1883"/>
                </a:lnTo>
                <a:lnTo>
                  <a:pt x="897" y="1878"/>
                </a:lnTo>
                <a:lnTo>
                  <a:pt x="908" y="1873"/>
                </a:lnTo>
                <a:lnTo>
                  <a:pt x="918" y="1867"/>
                </a:lnTo>
                <a:lnTo>
                  <a:pt x="926" y="1860"/>
                </a:lnTo>
                <a:lnTo>
                  <a:pt x="936" y="1853"/>
                </a:lnTo>
                <a:lnTo>
                  <a:pt x="943" y="1844"/>
                </a:lnTo>
                <a:lnTo>
                  <a:pt x="950" y="1835"/>
                </a:lnTo>
                <a:lnTo>
                  <a:pt x="957" y="1825"/>
                </a:lnTo>
                <a:lnTo>
                  <a:pt x="961" y="1814"/>
                </a:lnTo>
                <a:lnTo>
                  <a:pt x="965" y="1803"/>
                </a:lnTo>
                <a:lnTo>
                  <a:pt x="969" y="1791"/>
                </a:lnTo>
                <a:lnTo>
                  <a:pt x="970" y="1779"/>
                </a:lnTo>
                <a:lnTo>
                  <a:pt x="971" y="1767"/>
                </a:lnTo>
                <a:lnTo>
                  <a:pt x="971" y="1767"/>
                </a:lnTo>
                <a:close/>
                <a:moveTo>
                  <a:pt x="1034" y="1203"/>
                </a:moveTo>
                <a:lnTo>
                  <a:pt x="1034" y="1203"/>
                </a:lnTo>
                <a:lnTo>
                  <a:pt x="1043" y="1212"/>
                </a:lnTo>
                <a:lnTo>
                  <a:pt x="1053" y="1219"/>
                </a:lnTo>
                <a:lnTo>
                  <a:pt x="1063" y="1225"/>
                </a:lnTo>
                <a:lnTo>
                  <a:pt x="1074" y="1230"/>
                </a:lnTo>
                <a:lnTo>
                  <a:pt x="1084" y="1234"/>
                </a:lnTo>
                <a:lnTo>
                  <a:pt x="1096" y="1237"/>
                </a:lnTo>
                <a:lnTo>
                  <a:pt x="1107" y="1238"/>
                </a:lnTo>
                <a:lnTo>
                  <a:pt x="1119" y="1238"/>
                </a:lnTo>
                <a:lnTo>
                  <a:pt x="1119" y="1238"/>
                </a:lnTo>
                <a:lnTo>
                  <a:pt x="1131" y="1238"/>
                </a:lnTo>
                <a:lnTo>
                  <a:pt x="1142" y="1237"/>
                </a:lnTo>
                <a:lnTo>
                  <a:pt x="1153" y="1234"/>
                </a:lnTo>
                <a:lnTo>
                  <a:pt x="1165" y="1230"/>
                </a:lnTo>
                <a:lnTo>
                  <a:pt x="1175" y="1225"/>
                </a:lnTo>
                <a:lnTo>
                  <a:pt x="1186" y="1219"/>
                </a:lnTo>
                <a:lnTo>
                  <a:pt x="1195" y="1212"/>
                </a:lnTo>
                <a:lnTo>
                  <a:pt x="1205" y="1203"/>
                </a:lnTo>
                <a:lnTo>
                  <a:pt x="1205" y="1203"/>
                </a:lnTo>
                <a:lnTo>
                  <a:pt x="1213" y="1195"/>
                </a:lnTo>
                <a:lnTo>
                  <a:pt x="1219" y="1184"/>
                </a:lnTo>
                <a:lnTo>
                  <a:pt x="1227" y="1175"/>
                </a:lnTo>
                <a:lnTo>
                  <a:pt x="1232" y="1164"/>
                </a:lnTo>
                <a:lnTo>
                  <a:pt x="1235" y="1153"/>
                </a:lnTo>
                <a:lnTo>
                  <a:pt x="1238" y="1142"/>
                </a:lnTo>
                <a:lnTo>
                  <a:pt x="1239" y="1130"/>
                </a:lnTo>
                <a:lnTo>
                  <a:pt x="1240" y="1118"/>
                </a:lnTo>
                <a:lnTo>
                  <a:pt x="1239" y="1107"/>
                </a:lnTo>
                <a:lnTo>
                  <a:pt x="1238" y="1095"/>
                </a:lnTo>
                <a:lnTo>
                  <a:pt x="1235" y="1084"/>
                </a:lnTo>
                <a:lnTo>
                  <a:pt x="1232" y="1073"/>
                </a:lnTo>
                <a:lnTo>
                  <a:pt x="1225" y="1063"/>
                </a:lnTo>
                <a:lnTo>
                  <a:pt x="1219" y="1052"/>
                </a:lnTo>
                <a:lnTo>
                  <a:pt x="1213" y="1042"/>
                </a:lnTo>
                <a:lnTo>
                  <a:pt x="1205" y="1034"/>
                </a:lnTo>
                <a:lnTo>
                  <a:pt x="689" y="518"/>
                </a:lnTo>
                <a:lnTo>
                  <a:pt x="689" y="518"/>
                </a:lnTo>
                <a:lnTo>
                  <a:pt x="680" y="511"/>
                </a:lnTo>
                <a:lnTo>
                  <a:pt x="671" y="504"/>
                </a:lnTo>
                <a:lnTo>
                  <a:pt x="660" y="498"/>
                </a:lnTo>
                <a:lnTo>
                  <a:pt x="649" y="492"/>
                </a:lnTo>
                <a:lnTo>
                  <a:pt x="638" y="488"/>
                </a:lnTo>
                <a:lnTo>
                  <a:pt x="627" y="485"/>
                </a:lnTo>
                <a:lnTo>
                  <a:pt x="615" y="484"/>
                </a:lnTo>
                <a:lnTo>
                  <a:pt x="603" y="483"/>
                </a:lnTo>
                <a:lnTo>
                  <a:pt x="592" y="484"/>
                </a:lnTo>
                <a:lnTo>
                  <a:pt x="580" y="485"/>
                </a:lnTo>
                <a:lnTo>
                  <a:pt x="569" y="488"/>
                </a:lnTo>
                <a:lnTo>
                  <a:pt x="558" y="492"/>
                </a:lnTo>
                <a:lnTo>
                  <a:pt x="548" y="498"/>
                </a:lnTo>
                <a:lnTo>
                  <a:pt x="537" y="504"/>
                </a:lnTo>
                <a:lnTo>
                  <a:pt x="527" y="511"/>
                </a:lnTo>
                <a:lnTo>
                  <a:pt x="519" y="518"/>
                </a:lnTo>
                <a:lnTo>
                  <a:pt x="519" y="518"/>
                </a:lnTo>
                <a:lnTo>
                  <a:pt x="510" y="528"/>
                </a:lnTo>
                <a:lnTo>
                  <a:pt x="503" y="537"/>
                </a:lnTo>
                <a:lnTo>
                  <a:pt x="497" y="548"/>
                </a:lnTo>
                <a:lnTo>
                  <a:pt x="492" y="559"/>
                </a:lnTo>
                <a:lnTo>
                  <a:pt x="489" y="570"/>
                </a:lnTo>
                <a:lnTo>
                  <a:pt x="485" y="581"/>
                </a:lnTo>
                <a:lnTo>
                  <a:pt x="484" y="593"/>
                </a:lnTo>
                <a:lnTo>
                  <a:pt x="484" y="604"/>
                </a:lnTo>
                <a:lnTo>
                  <a:pt x="484" y="616"/>
                </a:lnTo>
                <a:lnTo>
                  <a:pt x="485" y="626"/>
                </a:lnTo>
                <a:lnTo>
                  <a:pt x="489" y="638"/>
                </a:lnTo>
                <a:lnTo>
                  <a:pt x="492" y="649"/>
                </a:lnTo>
                <a:lnTo>
                  <a:pt x="497" y="660"/>
                </a:lnTo>
                <a:lnTo>
                  <a:pt x="503" y="670"/>
                </a:lnTo>
                <a:lnTo>
                  <a:pt x="510" y="679"/>
                </a:lnTo>
                <a:lnTo>
                  <a:pt x="519" y="689"/>
                </a:lnTo>
                <a:lnTo>
                  <a:pt x="1034" y="1203"/>
                </a:lnTo>
                <a:close/>
                <a:moveTo>
                  <a:pt x="4212" y="4790"/>
                </a:moveTo>
                <a:lnTo>
                  <a:pt x="4212" y="4790"/>
                </a:lnTo>
                <a:lnTo>
                  <a:pt x="4211" y="4839"/>
                </a:lnTo>
                <a:lnTo>
                  <a:pt x="4208" y="4889"/>
                </a:lnTo>
                <a:lnTo>
                  <a:pt x="4206" y="4938"/>
                </a:lnTo>
                <a:lnTo>
                  <a:pt x="4201" y="4987"/>
                </a:lnTo>
                <a:lnTo>
                  <a:pt x="4195" y="5037"/>
                </a:lnTo>
                <a:lnTo>
                  <a:pt x="4188" y="5085"/>
                </a:lnTo>
                <a:lnTo>
                  <a:pt x="4178" y="5134"/>
                </a:lnTo>
                <a:lnTo>
                  <a:pt x="4169" y="5183"/>
                </a:lnTo>
                <a:lnTo>
                  <a:pt x="4158" y="5230"/>
                </a:lnTo>
                <a:lnTo>
                  <a:pt x="4144" y="5278"/>
                </a:lnTo>
                <a:lnTo>
                  <a:pt x="4131" y="5325"/>
                </a:lnTo>
                <a:lnTo>
                  <a:pt x="4116" y="5370"/>
                </a:lnTo>
                <a:lnTo>
                  <a:pt x="4100" y="5416"/>
                </a:lnTo>
                <a:lnTo>
                  <a:pt x="4082" y="5462"/>
                </a:lnTo>
                <a:lnTo>
                  <a:pt x="4062" y="5507"/>
                </a:lnTo>
                <a:lnTo>
                  <a:pt x="4043" y="5551"/>
                </a:lnTo>
                <a:lnTo>
                  <a:pt x="4043" y="5551"/>
                </a:lnTo>
                <a:lnTo>
                  <a:pt x="4020" y="5596"/>
                </a:lnTo>
                <a:lnTo>
                  <a:pt x="3997" y="5640"/>
                </a:lnTo>
                <a:lnTo>
                  <a:pt x="3973" y="5684"/>
                </a:lnTo>
                <a:lnTo>
                  <a:pt x="3947" y="5726"/>
                </a:lnTo>
                <a:lnTo>
                  <a:pt x="3920" y="5768"/>
                </a:lnTo>
                <a:lnTo>
                  <a:pt x="3891" y="5808"/>
                </a:lnTo>
                <a:lnTo>
                  <a:pt x="3862" y="5848"/>
                </a:lnTo>
                <a:lnTo>
                  <a:pt x="3832" y="5887"/>
                </a:lnTo>
                <a:lnTo>
                  <a:pt x="3799" y="5925"/>
                </a:lnTo>
                <a:lnTo>
                  <a:pt x="3767" y="5961"/>
                </a:lnTo>
                <a:lnTo>
                  <a:pt x="3733" y="5997"/>
                </a:lnTo>
                <a:lnTo>
                  <a:pt x="3699" y="6031"/>
                </a:lnTo>
                <a:lnTo>
                  <a:pt x="3663" y="6064"/>
                </a:lnTo>
                <a:lnTo>
                  <a:pt x="3627" y="6096"/>
                </a:lnTo>
                <a:lnTo>
                  <a:pt x="3588" y="6127"/>
                </a:lnTo>
                <a:lnTo>
                  <a:pt x="3550" y="6156"/>
                </a:lnTo>
                <a:lnTo>
                  <a:pt x="3550" y="6156"/>
                </a:lnTo>
                <a:lnTo>
                  <a:pt x="3514" y="6184"/>
                </a:lnTo>
                <a:lnTo>
                  <a:pt x="3476" y="6209"/>
                </a:lnTo>
                <a:lnTo>
                  <a:pt x="3438" y="6233"/>
                </a:lnTo>
                <a:lnTo>
                  <a:pt x="3399" y="6257"/>
                </a:lnTo>
                <a:lnTo>
                  <a:pt x="3360" y="6279"/>
                </a:lnTo>
                <a:lnTo>
                  <a:pt x="3321" y="6300"/>
                </a:lnTo>
                <a:lnTo>
                  <a:pt x="3281" y="6320"/>
                </a:lnTo>
                <a:lnTo>
                  <a:pt x="3241" y="6339"/>
                </a:lnTo>
                <a:lnTo>
                  <a:pt x="3200" y="6357"/>
                </a:lnTo>
                <a:lnTo>
                  <a:pt x="3159" y="6374"/>
                </a:lnTo>
                <a:lnTo>
                  <a:pt x="3117" y="6390"/>
                </a:lnTo>
                <a:lnTo>
                  <a:pt x="3075" y="6404"/>
                </a:lnTo>
                <a:lnTo>
                  <a:pt x="3032" y="6417"/>
                </a:lnTo>
                <a:lnTo>
                  <a:pt x="2989" y="6429"/>
                </a:lnTo>
                <a:lnTo>
                  <a:pt x="2946" y="6440"/>
                </a:lnTo>
                <a:lnTo>
                  <a:pt x="2902" y="6450"/>
                </a:lnTo>
                <a:lnTo>
                  <a:pt x="2902" y="6450"/>
                </a:lnTo>
                <a:lnTo>
                  <a:pt x="2860" y="6458"/>
                </a:lnTo>
                <a:lnTo>
                  <a:pt x="2818" y="6467"/>
                </a:lnTo>
                <a:lnTo>
                  <a:pt x="2774" y="6473"/>
                </a:lnTo>
                <a:lnTo>
                  <a:pt x="2732" y="6478"/>
                </a:lnTo>
                <a:lnTo>
                  <a:pt x="2689" y="6481"/>
                </a:lnTo>
                <a:lnTo>
                  <a:pt x="2646" y="6485"/>
                </a:lnTo>
                <a:lnTo>
                  <a:pt x="2603" y="6486"/>
                </a:lnTo>
                <a:lnTo>
                  <a:pt x="2561" y="6486"/>
                </a:lnTo>
                <a:lnTo>
                  <a:pt x="2561" y="6486"/>
                </a:lnTo>
                <a:lnTo>
                  <a:pt x="2519" y="6486"/>
                </a:lnTo>
                <a:lnTo>
                  <a:pt x="2476" y="6485"/>
                </a:lnTo>
                <a:lnTo>
                  <a:pt x="2434" y="6481"/>
                </a:lnTo>
                <a:lnTo>
                  <a:pt x="2392" y="6478"/>
                </a:lnTo>
                <a:lnTo>
                  <a:pt x="2351" y="6473"/>
                </a:lnTo>
                <a:lnTo>
                  <a:pt x="2309" y="6467"/>
                </a:lnTo>
                <a:lnTo>
                  <a:pt x="2266" y="6459"/>
                </a:lnTo>
                <a:lnTo>
                  <a:pt x="2224" y="6452"/>
                </a:lnTo>
                <a:lnTo>
                  <a:pt x="2224" y="6452"/>
                </a:lnTo>
                <a:lnTo>
                  <a:pt x="2182" y="6443"/>
                </a:lnTo>
                <a:lnTo>
                  <a:pt x="2141" y="6432"/>
                </a:lnTo>
                <a:lnTo>
                  <a:pt x="2099" y="6421"/>
                </a:lnTo>
                <a:lnTo>
                  <a:pt x="2058" y="6409"/>
                </a:lnTo>
                <a:lnTo>
                  <a:pt x="2018" y="6396"/>
                </a:lnTo>
                <a:lnTo>
                  <a:pt x="1978" y="6381"/>
                </a:lnTo>
                <a:lnTo>
                  <a:pt x="1938" y="6366"/>
                </a:lnTo>
                <a:lnTo>
                  <a:pt x="1899" y="6349"/>
                </a:lnTo>
                <a:lnTo>
                  <a:pt x="1860" y="6332"/>
                </a:lnTo>
                <a:lnTo>
                  <a:pt x="1821" y="6313"/>
                </a:lnTo>
                <a:lnTo>
                  <a:pt x="1784" y="6293"/>
                </a:lnTo>
                <a:lnTo>
                  <a:pt x="1747" y="6273"/>
                </a:lnTo>
                <a:lnTo>
                  <a:pt x="1709" y="6251"/>
                </a:lnTo>
                <a:lnTo>
                  <a:pt x="1673" y="6229"/>
                </a:lnTo>
                <a:lnTo>
                  <a:pt x="1637" y="6205"/>
                </a:lnTo>
                <a:lnTo>
                  <a:pt x="1602" y="6181"/>
                </a:lnTo>
                <a:lnTo>
                  <a:pt x="1602" y="6181"/>
                </a:lnTo>
                <a:lnTo>
                  <a:pt x="1566" y="6155"/>
                </a:lnTo>
                <a:lnTo>
                  <a:pt x="1531" y="6128"/>
                </a:lnTo>
                <a:lnTo>
                  <a:pt x="1496" y="6099"/>
                </a:lnTo>
                <a:lnTo>
                  <a:pt x="1462" y="6070"/>
                </a:lnTo>
                <a:lnTo>
                  <a:pt x="1429" y="6041"/>
                </a:lnTo>
                <a:lnTo>
                  <a:pt x="1398" y="6010"/>
                </a:lnTo>
                <a:lnTo>
                  <a:pt x="1367" y="5979"/>
                </a:lnTo>
                <a:lnTo>
                  <a:pt x="1336" y="5948"/>
                </a:lnTo>
                <a:lnTo>
                  <a:pt x="1308" y="5914"/>
                </a:lnTo>
                <a:lnTo>
                  <a:pt x="1280" y="5880"/>
                </a:lnTo>
                <a:lnTo>
                  <a:pt x="1252" y="5845"/>
                </a:lnTo>
                <a:lnTo>
                  <a:pt x="1225" y="5810"/>
                </a:lnTo>
                <a:lnTo>
                  <a:pt x="1200" y="5774"/>
                </a:lnTo>
                <a:lnTo>
                  <a:pt x="1175" y="5737"/>
                </a:lnTo>
                <a:lnTo>
                  <a:pt x="1151" y="5699"/>
                </a:lnTo>
                <a:lnTo>
                  <a:pt x="1128" y="5661"/>
                </a:lnTo>
                <a:lnTo>
                  <a:pt x="1128" y="5661"/>
                </a:lnTo>
                <a:lnTo>
                  <a:pt x="1127" y="5657"/>
                </a:lnTo>
                <a:lnTo>
                  <a:pt x="205" y="3947"/>
                </a:lnTo>
                <a:lnTo>
                  <a:pt x="205" y="3947"/>
                </a:lnTo>
                <a:lnTo>
                  <a:pt x="198" y="3931"/>
                </a:lnTo>
                <a:lnTo>
                  <a:pt x="191" y="3915"/>
                </a:lnTo>
                <a:lnTo>
                  <a:pt x="185" y="3900"/>
                </a:lnTo>
                <a:lnTo>
                  <a:pt x="180" y="3883"/>
                </a:lnTo>
                <a:lnTo>
                  <a:pt x="176" y="3866"/>
                </a:lnTo>
                <a:lnTo>
                  <a:pt x="174" y="3849"/>
                </a:lnTo>
                <a:lnTo>
                  <a:pt x="171" y="3832"/>
                </a:lnTo>
                <a:lnTo>
                  <a:pt x="171" y="3815"/>
                </a:lnTo>
                <a:lnTo>
                  <a:pt x="171" y="3798"/>
                </a:lnTo>
                <a:lnTo>
                  <a:pt x="172" y="3781"/>
                </a:lnTo>
                <a:lnTo>
                  <a:pt x="175" y="3765"/>
                </a:lnTo>
                <a:lnTo>
                  <a:pt x="177" y="3748"/>
                </a:lnTo>
                <a:lnTo>
                  <a:pt x="182" y="3731"/>
                </a:lnTo>
                <a:lnTo>
                  <a:pt x="187" y="3715"/>
                </a:lnTo>
                <a:lnTo>
                  <a:pt x="193" y="3698"/>
                </a:lnTo>
                <a:lnTo>
                  <a:pt x="200" y="3683"/>
                </a:lnTo>
                <a:lnTo>
                  <a:pt x="200" y="3683"/>
                </a:lnTo>
                <a:lnTo>
                  <a:pt x="207" y="3667"/>
                </a:lnTo>
                <a:lnTo>
                  <a:pt x="217" y="3653"/>
                </a:lnTo>
                <a:lnTo>
                  <a:pt x="226" y="3639"/>
                </a:lnTo>
                <a:lnTo>
                  <a:pt x="236" y="3625"/>
                </a:lnTo>
                <a:lnTo>
                  <a:pt x="247" y="3613"/>
                </a:lnTo>
                <a:lnTo>
                  <a:pt x="259" y="3601"/>
                </a:lnTo>
                <a:lnTo>
                  <a:pt x="271" y="3590"/>
                </a:lnTo>
                <a:lnTo>
                  <a:pt x="285" y="3579"/>
                </a:lnTo>
                <a:lnTo>
                  <a:pt x="298" y="3569"/>
                </a:lnTo>
                <a:lnTo>
                  <a:pt x="311" y="3561"/>
                </a:lnTo>
                <a:lnTo>
                  <a:pt x="326" y="3553"/>
                </a:lnTo>
                <a:lnTo>
                  <a:pt x="341" y="3545"/>
                </a:lnTo>
                <a:lnTo>
                  <a:pt x="357" y="3539"/>
                </a:lnTo>
                <a:lnTo>
                  <a:pt x="373" y="3533"/>
                </a:lnTo>
                <a:lnTo>
                  <a:pt x="390" y="3530"/>
                </a:lnTo>
                <a:lnTo>
                  <a:pt x="406" y="3526"/>
                </a:lnTo>
                <a:lnTo>
                  <a:pt x="406" y="3526"/>
                </a:lnTo>
                <a:lnTo>
                  <a:pt x="406" y="3526"/>
                </a:lnTo>
                <a:lnTo>
                  <a:pt x="406" y="3526"/>
                </a:lnTo>
                <a:lnTo>
                  <a:pt x="435" y="3521"/>
                </a:lnTo>
                <a:lnTo>
                  <a:pt x="464" y="3518"/>
                </a:lnTo>
                <a:lnTo>
                  <a:pt x="493" y="3514"/>
                </a:lnTo>
                <a:lnTo>
                  <a:pt x="521" y="3513"/>
                </a:lnTo>
                <a:lnTo>
                  <a:pt x="549" y="3512"/>
                </a:lnTo>
                <a:lnTo>
                  <a:pt x="577" y="3513"/>
                </a:lnTo>
                <a:lnTo>
                  <a:pt x="604" y="3514"/>
                </a:lnTo>
                <a:lnTo>
                  <a:pt x="632" y="3516"/>
                </a:lnTo>
                <a:lnTo>
                  <a:pt x="659" y="3520"/>
                </a:lnTo>
                <a:lnTo>
                  <a:pt x="685" y="3525"/>
                </a:lnTo>
                <a:lnTo>
                  <a:pt x="712" y="3530"/>
                </a:lnTo>
                <a:lnTo>
                  <a:pt x="738" y="3537"/>
                </a:lnTo>
                <a:lnTo>
                  <a:pt x="764" y="3544"/>
                </a:lnTo>
                <a:lnTo>
                  <a:pt x="789" y="3553"/>
                </a:lnTo>
                <a:lnTo>
                  <a:pt x="814" y="3562"/>
                </a:lnTo>
                <a:lnTo>
                  <a:pt x="840" y="3573"/>
                </a:lnTo>
                <a:lnTo>
                  <a:pt x="864" y="3585"/>
                </a:lnTo>
                <a:lnTo>
                  <a:pt x="888" y="3598"/>
                </a:lnTo>
                <a:lnTo>
                  <a:pt x="912" y="3612"/>
                </a:lnTo>
                <a:lnTo>
                  <a:pt x="936" y="3627"/>
                </a:lnTo>
                <a:lnTo>
                  <a:pt x="959" y="3643"/>
                </a:lnTo>
                <a:lnTo>
                  <a:pt x="982" y="3660"/>
                </a:lnTo>
                <a:lnTo>
                  <a:pt x="1005" y="3678"/>
                </a:lnTo>
                <a:lnTo>
                  <a:pt x="1028" y="3696"/>
                </a:lnTo>
                <a:lnTo>
                  <a:pt x="1049" y="3716"/>
                </a:lnTo>
                <a:lnTo>
                  <a:pt x="1072" y="3737"/>
                </a:lnTo>
                <a:lnTo>
                  <a:pt x="1094" y="3760"/>
                </a:lnTo>
                <a:lnTo>
                  <a:pt x="1115" y="3783"/>
                </a:lnTo>
                <a:lnTo>
                  <a:pt x="1136" y="3807"/>
                </a:lnTo>
                <a:lnTo>
                  <a:pt x="1157" y="3832"/>
                </a:lnTo>
                <a:lnTo>
                  <a:pt x="1177" y="3857"/>
                </a:lnTo>
                <a:lnTo>
                  <a:pt x="1197" y="3885"/>
                </a:lnTo>
                <a:lnTo>
                  <a:pt x="1197" y="3885"/>
                </a:lnTo>
                <a:lnTo>
                  <a:pt x="1199" y="3889"/>
                </a:lnTo>
                <a:lnTo>
                  <a:pt x="1317" y="4065"/>
                </a:lnTo>
                <a:lnTo>
                  <a:pt x="1317" y="1782"/>
                </a:lnTo>
                <a:lnTo>
                  <a:pt x="1317" y="1782"/>
                </a:lnTo>
                <a:lnTo>
                  <a:pt x="1318" y="1756"/>
                </a:lnTo>
                <a:lnTo>
                  <a:pt x="1320" y="1732"/>
                </a:lnTo>
                <a:lnTo>
                  <a:pt x="1323" y="1708"/>
                </a:lnTo>
                <a:lnTo>
                  <a:pt x="1328" y="1684"/>
                </a:lnTo>
                <a:lnTo>
                  <a:pt x="1334" y="1660"/>
                </a:lnTo>
                <a:lnTo>
                  <a:pt x="1341" y="1637"/>
                </a:lnTo>
                <a:lnTo>
                  <a:pt x="1350" y="1614"/>
                </a:lnTo>
                <a:lnTo>
                  <a:pt x="1359" y="1593"/>
                </a:lnTo>
                <a:lnTo>
                  <a:pt x="1370" y="1570"/>
                </a:lnTo>
                <a:lnTo>
                  <a:pt x="1381" y="1549"/>
                </a:lnTo>
                <a:lnTo>
                  <a:pt x="1394" y="1529"/>
                </a:lnTo>
                <a:lnTo>
                  <a:pt x="1409" y="1508"/>
                </a:lnTo>
                <a:lnTo>
                  <a:pt x="1425" y="1490"/>
                </a:lnTo>
                <a:lnTo>
                  <a:pt x="1440" y="1471"/>
                </a:lnTo>
                <a:lnTo>
                  <a:pt x="1458" y="1454"/>
                </a:lnTo>
                <a:lnTo>
                  <a:pt x="1476" y="1437"/>
                </a:lnTo>
                <a:lnTo>
                  <a:pt x="1476" y="1437"/>
                </a:lnTo>
                <a:lnTo>
                  <a:pt x="1496" y="1422"/>
                </a:lnTo>
                <a:lnTo>
                  <a:pt x="1516" y="1407"/>
                </a:lnTo>
                <a:lnTo>
                  <a:pt x="1537" y="1394"/>
                </a:lnTo>
                <a:lnTo>
                  <a:pt x="1558" y="1382"/>
                </a:lnTo>
                <a:lnTo>
                  <a:pt x="1580" y="1371"/>
                </a:lnTo>
                <a:lnTo>
                  <a:pt x="1603" y="1361"/>
                </a:lnTo>
                <a:lnTo>
                  <a:pt x="1626" y="1354"/>
                </a:lnTo>
                <a:lnTo>
                  <a:pt x="1649" y="1347"/>
                </a:lnTo>
                <a:lnTo>
                  <a:pt x="1673" y="1341"/>
                </a:lnTo>
                <a:lnTo>
                  <a:pt x="1697" y="1336"/>
                </a:lnTo>
                <a:lnTo>
                  <a:pt x="1721" y="1332"/>
                </a:lnTo>
                <a:lnTo>
                  <a:pt x="1745" y="1331"/>
                </a:lnTo>
                <a:lnTo>
                  <a:pt x="1769" y="1330"/>
                </a:lnTo>
                <a:lnTo>
                  <a:pt x="1795" y="1331"/>
                </a:lnTo>
                <a:lnTo>
                  <a:pt x="1820" y="1332"/>
                </a:lnTo>
                <a:lnTo>
                  <a:pt x="1844" y="1336"/>
                </a:lnTo>
                <a:lnTo>
                  <a:pt x="1844" y="1336"/>
                </a:lnTo>
                <a:lnTo>
                  <a:pt x="1865" y="1340"/>
                </a:lnTo>
                <a:lnTo>
                  <a:pt x="1884" y="1344"/>
                </a:lnTo>
                <a:lnTo>
                  <a:pt x="1903" y="1350"/>
                </a:lnTo>
                <a:lnTo>
                  <a:pt x="1923" y="1356"/>
                </a:lnTo>
                <a:lnTo>
                  <a:pt x="1942" y="1364"/>
                </a:lnTo>
                <a:lnTo>
                  <a:pt x="1960" y="1372"/>
                </a:lnTo>
                <a:lnTo>
                  <a:pt x="1978" y="1382"/>
                </a:lnTo>
                <a:lnTo>
                  <a:pt x="1996" y="1391"/>
                </a:lnTo>
                <a:lnTo>
                  <a:pt x="2013" y="1402"/>
                </a:lnTo>
                <a:lnTo>
                  <a:pt x="2030" y="1414"/>
                </a:lnTo>
                <a:lnTo>
                  <a:pt x="2047" y="1428"/>
                </a:lnTo>
                <a:lnTo>
                  <a:pt x="2063" y="1441"/>
                </a:lnTo>
                <a:lnTo>
                  <a:pt x="2077" y="1454"/>
                </a:lnTo>
                <a:lnTo>
                  <a:pt x="2092" y="1470"/>
                </a:lnTo>
                <a:lnTo>
                  <a:pt x="2106" y="1485"/>
                </a:lnTo>
                <a:lnTo>
                  <a:pt x="2119" y="1501"/>
                </a:lnTo>
                <a:lnTo>
                  <a:pt x="2119" y="1501"/>
                </a:lnTo>
                <a:lnTo>
                  <a:pt x="2131" y="1517"/>
                </a:lnTo>
                <a:lnTo>
                  <a:pt x="2142" y="1534"/>
                </a:lnTo>
                <a:lnTo>
                  <a:pt x="2153" y="1550"/>
                </a:lnTo>
                <a:lnTo>
                  <a:pt x="2163" y="1568"/>
                </a:lnTo>
                <a:lnTo>
                  <a:pt x="2172" y="1587"/>
                </a:lnTo>
                <a:lnTo>
                  <a:pt x="2181" y="1605"/>
                </a:lnTo>
                <a:lnTo>
                  <a:pt x="2188" y="1623"/>
                </a:lnTo>
                <a:lnTo>
                  <a:pt x="2195" y="1642"/>
                </a:lnTo>
                <a:lnTo>
                  <a:pt x="2201" y="1660"/>
                </a:lnTo>
                <a:lnTo>
                  <a:pt x="2207" y="1681"/>
                </a:lnTo>
                <a:lnTo>
                  <a:pt x="2211" y="1700"/>
                </a:lnTo>
                <a:lnTo>
                  <a:pt x="2215" y="1719"/>
                </a:lnTo>
                <a:lnTo>
                  <a:pt x="2218" y="1740"/>
                </a:lnTo>
                <a:lnTo>
                  <a:pt x="2221" y="1759"/>
                </a:lnTo>
                <a:lnTo>
                  <a:pt x="2222" y="1779"/>
                </a:lnTo>
                <a:lnTo>
                  <a:pt x="2222" y="1800"/>
                </a:lnTo>
                <a:lnTo>
                  <a:pt x="2222" y="2597"/>
                </a:lnTo>
                <a:lnTo>
                  <a:pt x="2222" y="2597"/>
                </a:lnTo>
                <a:lnTo>
                  <a:pt x="2239" y="2590"/>
                </a:lnTo>
                <a:lnTo>
                  <a:pt x="2254" y="2582"/>
                </a:lnTo>
                <a:lnTo>
                  <a:pt x="2271" y="2576"/>
                </a:lnTo>
                <a:lnTo>
                  <a:pt x="2289" y="2570"/>
                </a:lnTo>
                <a:lnTo>
                  <a:pt x="2306" y="2564"/>
                </a:lnTo>
                <a:lnTo>
                  <a:pt x="2324" y="2559"/>
                </a:lnTo>
                <a:lnTo>
                  <a:pt x="2342" y="2555"/>
                </a:lnTo>
                <a:lnTo>
                  <a:pt x="2361" y="2552"/>
                </a:lnTo>
                <a:lnTo>
                  <a:pt x="2379" y="2549"/>
                </a:lnTo>
                <a:lnTo>
                  <a:pt x="2397" y="2547"/>
                </a:lnTo>
                <a:lnTo>
                  <a:pt x="2415" y="2547"/>
                </a:lnTo>
                <a:lnTo>
                  <a:pt x="2433" y="2545"/>
                </a:lnTo>
                <a:lnTo>
                  <a:pt x="2452" y="2547"/>
                </a:lnTo>
                <a:lnTo>
                  <a:pt x="2470" y="2547"/>
                </a:lnTo>
                <a:lnTo>
                  <a:pt x="2490" y="2549"/>
                </a:lnTo>
                <a:lnTo>
                  <a:pt x="2508" y="2552"/>
                </a:lnTo>
                <a:lnTo>
                  <a:pt x="2508" y="2552"/>
                </a:lnTo>
                <a:lnTo>
                  <a:pt x="2528" y="2555"/>
                </a:lnTo>
                <a:lnTo>
                  <a:pt x="2547" y="2560"/>
                </a:lnTo>
                <a:lnTo>
                  <a:pt x="2567" y="2566"/>
                </a:lnTo>
                <a:lnTo>
                  <a:pt x="2586" y="2572"/>
                </a:lnTo>
                <a:lnTo>
                  <a:pt x="2605" y="2579"/>
                </a:lnTo>
                <a:lnTo>
                  <a:pt x="2623" y="2588"/>
                </a:lnTo>
                <a:lnTo>
                  <a:pt x="2642" y="2597"/>
                </a:lnTo>
                <a:lnTo>
                  <a:pt x="2660" y="2607"/>
                </a:lnTo>
                <a:lnTo>
                  <a:pt x="2677" y="2618"/>
                </a:lnTo>
                <a:lnTo>
                  <a:pt x="2693" y="2630"/>
                </a:lnTo>
                <a:lnTo>
                  <a:pt x="2709" y="2643"/>
                </a:lnTo>
                <a:lnTo>
                  <a:pt x="2726" y="2656"/>
                </a:lnTo>
                <a:lnTo>
                  <a:pt x="2740" y="2670"/>
                </a:lnTo>
                <a:lnTo>
                  <a:pt x="2755" y="2685"/>
                </a:lnTo>
                <a:lnTo>
                  <a:pt x="2769" y="2701"/>
                </a:lnTo>
                <a:lnTo>
                  <a:pt x="2783" y="2717"/>
                </a:lnTo>
                <a:lnTo>
                  <a:pt x="2783" y="2717"/>
                </a:lnTo>
                <a:lnTo>
                  <a:pt x="2803" y="2744"/>
                </a:lnTo>
                <a:lnTo>
                  <a:pt x="2821" y="2773"/>
                </a:lnTo>
                <a:lnTo>
                  <a:pt x="2837" y="2804"/>
                </a:lnTo>
                <a:lnTo>
                  <a:pt x="2850" y="2836"/>
                </a:lnTo>
                <a:lnTo>
                  <a:pt x="2850" y="2836"/>
                </a:lnTo>
                <a:lnTo>
                  <a:pt x="2868" y="2825"/>
                </a:lnTo>
                <a:lnTo>
                  <a:pt x="2886" y="2814"/>
                </a:lnTo>
                <a:lnTo>
                  <a:pt x="2906" y="2806"/>
                </a:lnTo>
                <a:lnTo>
                  <a:pt x="2924" y="2797"/>
                </a:lnTo>
                <a:lnTo>
                  <a:pt x="2944" y="2790"/>
                </a:lnTo>
                <a:lnTo>
                  <a:pt x="2964" y="2783"/>
                </a:lnTo>
                <a:lnTo>
                  <a:pt x="2983" y="2778"/>
                </a:lnTo>
                <a:lnTo>
                  <a:pt x="3003" y="2773"/>
                </a:lnTo>
                <a:lnTo>
                  <a:pt x="3024" y="2770"/>
                </a:lnTo>
                <a:lnTo>
                  <a:pt x="3044" y="2766"/>
                </a:lnTo>
                <a:lnTo>
                  <a:pt x="3066" y="2765"/>
                </a:lnTo>
                <a:lnTo>
                  <a:pt x="3087" y="2764"/>
                </a:lnTo>
                <a:lnTo>
                  <a:pt x="3107" y="2764"/>
                </a:lnTo>
                <a:lnTo>
                  <a:pt x="3129" y="2765"/>
                </a:lnTo>
                <a:lnTo>
                  <a:pt x="3149" y="2766"/>
                </a:lnTo>
                <a:lnTo>
                  <a:pt x="3171" y="2770"/>
                </a:lnTo>
                <a:lnTo>
                  <a:pt x="3171" y="2770"/>
                </a:lnTo>
                <a:lnTo>
                  <a:pt x="3192" y="2773"/>
                </a:lnTo>
                <a:lnTo>
                  <a:pt x="3211" y="2778"/>
                </a:lnTo>
                <a:lnTo>
                  <a:pt x="3230" y="2784"/>
                </a:lnTo>
                <a:lnTo>
                  <a:pt x="3249" y="2790"/>
                </a:lnTo>
                <a:lnTo>
                  <a:pt x="3269" y="2797"/>
                </a:lnTo>
                <a:lnTo>
                  <a:pt x="3287" y="2806"/>
                </a:lnTo>
                <a:lnTo>
                  <a:pt x="3305" y="2815"/>
                </a:lnTo>
                <a:lnTo>
                  <a:pt x="3323" y="2825"/>
                </a:lnTo>
                <a:lnTo>
                  <a:pt x="3340" y="2836"/>
                </a:lnTo>
                <a:lnTo>
                  <a:pt x="3357" y="2848"/>
                </a:lnTo>
                <a:lnTo>
                  <a:pt x="3372" y="2860"/>
                </a:lnTo>
                <a:lnTo>
                  <a:pt x="3388" y="2873"/>
                </a:lnTo>
                <a:lnTo>
                  <a:pt x="3404" y="2888"/>
                </a:lnTo>
                <a:lnTo>
                  <a:pt x="3418" y="2902"/>
                </a:lnTo>
                <a:lnTo>
                  <a:pt x="3433" y="2918"/>
                </a:lnTo>
                <a:lnTo>
                  <a:pt x="3446" y="2935"/>
                </a:lnTo>
                <a:lnTo>
                  <a:pt x="3446" y="2935"/>
                </a:lnTo>
                <a:lnTo>
                  <a:pt x="3465" y="2962"/>
                </a:lnTo>
                <a:lnTo>
                  <a:pt x="3483" y="2991"/>
                </a:lnTo>
                <a:lnTo>
                  <a:pt x="3499" y="3021"/>
                </a:lnTo>
                <a:lnTo>
                  <a:pt x="3514" y="3051"/>
                </a:lnTo>
                <a:lnTo>
                  <a:pt x="3514" y="3051"/>
                </a:lnTo>
                <a:lnTo>
                  <a:pt x="3532" y="3041"/>
                </a:lnTo>
                <a:lnTo>
                  <a:pt x="3550" y="3031"/>
                </a:lnTo>
                <a:lnTo>
                  <a:pt x="3568" y="3021"/>
                </a:lnTo>
                <a:lnTo>
                  <a:pt x="3587" y="3013"/>
                </a:lnTo>
                <a:lnTo>
                  <a:pt x="3606" y="3006"/>
                </a:lnTo>
                <a:lnTo>
                  <a:pt x="3626" y="3000"/>
                </a:lnTo>
                <a:lnTo>
                  <a:pt x="3646" y="2994"/>
                </a:lnTo>
                <a:lnTo>
                  <a:pt x="3667" y="2989"/>
                </a:lnTo>
                <a:lnTo>
                  <a:pt x="3687" y="2985"/>
                </a:lnTo>
                <a:lnTo>
                  <a:pt x="3708" y="2983"/>
                </a:lnTo>
                <a:lnTo>
                  <a:pt x="3728" y="2980"/>
                </a:lnTo>
                <a:lnTo>
                  <a:pt x="3750" y="2979"/>
                </a:lnTo>
                <a:lnTo>
                  <a:pt x="3771" y="2979"/>
                </a:lnTo>
                <a:lnTo>
                  <a:pt x="3792" y="2980"/>
                </a:lnTo>
                <a:lnTo>
                  <a:pt x="3813" y="2983"/>
                </a:lnTo>
                <a:lnTo>
                  <a:pt x="3834" y="2985"/>
                </a:lnTo>
                <a:lnTo>
                  <a:pt x="3834" y="2985"/>
                </a:lnTo>
                <a:lnTo>
                  <a:pt x="3855" y="2989"/>
                </a:lnTo>
                <a:lnTo>
                  <a:pt x="3874" y="2994"/>
                </a:lnTo>
                <a:lnTo>
                  <a:pt x="3894" y="3000"/>
                </a:lnTo>
                <a:lnTo>
                  <a:pt x="3913" y="3006"/>
                </a:lnTo>
                <a:lnTo>
                  <a:pt x="3932" y="3013"/>
                </a:lnTo>
                <a:lnTo>
                  <a:pt x="3950" y="3021"/>
                </a:lnTo>
                <a:lnTo>
                  <a:pt x="3968" y="3031"/>
                </a:lnTo>
                <a:lnTo>
                  <a:pt x="3986" y="3041"/>
                </a:lnTo>
                <a:lnTo>
                  <a:pt x="4003" y="3051"/>
                </a:lnTo>
                <a:lnTo>
                  <a:pt x="4020" y="3064"/>
                </a:lnTo>
                <a:lnTo>
                  <a:pt x="4036" y="3077"/>
                </a:lnTo>
                <a:lnTo>
                  <a:pt x="4052" y="3090"/>
                </a:lnTo>
                <a:lnTo>
                  <a:pt x="4067" y="3103"/>
                </a:lnTo>
                <a:lnTo>
                  <a:pt x="4082" y="3119"/>
                </a:lnTo>
                <a:lnTo>
                  <a:pt x="4096" y="3135"/>
                </a:lnTo>
                <a:lnTo>
                  <a:pt x="4109" y="3150"/>
                </a:lnTo>
                <a:lnTo>
                  <a:pt x="4109" y="3150"/>
                </a:lnTo>
                <a:lnTo>
                  <a:pt x="4122" y="3167"/>
                </a:lnTo>
                <a:lnTo>
                  <a:pt x="4132" y="3183"/>
                </a:lnTo>
                <a:lnTo>
                  <a:pt x="4143" y="3200"/>
                </a:lnTo>
                <a:lnTo>
                  <a:pt x="4153" y="3218"/>
                </a:lnTo>
                <a:lnTo>
                  <a:pt x="4163" y="3236"/>
                </a:lnTo>
                <a:lnTo>
                  <a:pt x="4171" y="3254"/>
                </a:lnTo>
                <a:lnTo>
                  <a:pt x="4178" y="3272"/>
                </a:lnTo>
                <a:lnTo>
                  <a:pt x="4185" y="3291"/>
                </a:lnTo>
                <a:lnTo>
                  <a:pt x="4191" y="3310"/>
                </a:lnTo>
                <a:lnTo>
                  <a:pt x="4196" y="3330"/>
                </a:lnTo>
                <a:lnTo>
                  <a:pt x="4201" y="3349"/>
                </a:lnTo>
                <a:lnTo>
                  <a:pt x="4205" y="3368"/>
                </a:lnTo>
                <a:lnTo>
                  <a:pt x="4207" y="3389"/>
                </a:lnTo>
                <a:lnTo>
                  <a:pt x="4210" y="3408"/>
                </a:lnTo>
                <a:lnTo>
                  <a:pt x="4211" y="3429"/>
                </a:lnTo>
                <a:lnTo>
                  <a:pt x="4212" y="3449"/>
                </a:lnTo>
                <a:lnTo>
                  <a:pt x="4212" y="4790"/>
                </a:lnTo>
                <a:close/>
                <a:moveTo>
                  <a:pt x="3971" y="4790"/>
                </a:moveTo>
                <a:lnTo>
                  <a:pt x="3971" y="3449"/>
                </a:lnTo>
                <a:lnTo>
                  <a:pt x="3971" y="3449"/>
                </a:lnTo>
                <a:lnTo>
                  <a:pt x="3970" y="3429"/>
                </a:lnTo>
                <a:lnTo>
                  <a:pt x="3967" y="3408"/>
                </a:lnTo>
                <a:lnTo>
                  <a:pt x="3962" y="3388"/>
                </a:lnTo>
                <a:lnTo>
                  <a:pt x="3957" y="3368"/>
                </a:lnTo>
                <a:lnTo>
                  <a:pt x="3950" y="3350"/>
                </a:lnTo>
                <a:lnTo>
                  <a:pt x="3942" y="3332"/>
                </a:lnTo>
                <a:lnTo>
                  <a:pt x="3931" y="3315"/>
                </a:lnTo>
                <a:lnTo>
                  <a:pt x="3920" y="3300"/>
                </a:lnTo>
                <a:lnTo>
                  <a:pt x="3908" y="3285"/>
                </a:lnTo>
                <a:lnTo>
                  <a:pt x="3895" y="3272"/>
                </a:lnTo>
                <a:lnTo>
                  <a:pt x="3880" y="3260"/>
                </a:lnTo>
                <a:lnTo>
                  <a:pt x="3865" y="3249"/>
                </a:lnTo>
                <a:lnTo>
                  <a:pt x="3849" y="3241"/>
                </a:lnTo>
                <a:lnTo>
                  <a:pt x="3832" y="3233"/>
                </a:lnTo>
                <a:lnTo>
                  <a:pt x="3814" y="3227"/>
                </a:lnTo>
                <a:lnTo>
                  <a:pt x="3796" y="3224"/>
                </a:lnTo>
                <a:lnTo>
                  <a:pt x="3796" y="3224"/>
                </a:lnTo>
                <a:lnTo>
                  <a:pt x="3772" y="3220"/>
                </a:lnTo>
                <a:lnTo>
                  <a:pt x="3749" y="3220"/>
                </a:lnTo>
                <a:lnTo>
                  <a:pt x="3726" y="3223"/>
                </a:lnTo>
                <a:lnTo>
                  <a:pt x="3703" y="3227"/>
                </a:lnTo>
                <a:lnTo>
                  <a:pt x="3681" y="3235"/>
                </a:lnTo>
                <a:lnTo>
                  <a:pt x="3661" y="3244"/>
                </a:lnTo>
                <a:lnTo>
                  <a:pt x="3641" y="3256"/>
                </a:lnTo>
                <a:lnTo>
                  <a:pt x="3623" y="3271"/>
                </a:lnTo>
                <a:lnTo>
                  <a:pt x="3623" y="3271"/>
                </a:lnTo>
                <a:lnTo>
                  <a:pt x="3606" y="3286"/>
                </a:lnTo>
                <a:lnTo>
                  <a:pt x="3591" y="3303"/>
                </a:lnTo>
                <a:lnTo>
                  <a:pt x="3579" y="3323"/>
                </a:lnTo>
                <a:lnTo>
                  <a:pt x="3568" y="3343"/>
                </a:lnTo>
                <a:lnTo>
                  <a:pt x="3559" y="3363"/>
                </a:lnTo>
                <a:lnTo>
                  <a:pt x="3553" y="3385"/>
                </a:lnTo>
                <a:lnTo>
                  <a:pt x="3550" y="3408"/>
                </a:lnTo>
                <a:lnTo>
                  <a:pt x="3549" y="3431"/>
                </a:lnTo>
                <a:lnTo>
                  <a:pt x="3549" y="3939"/>
                </a:lnTo>
                <a:lnTo>
                  <a:pt x="3549" y="3939"/>
                </a:lnTo>
                <a:lnTo>
                  <a:pt x="3547" y="3951"/>
                </a:lnTo>
                <a:lnTo>
                  <a:pt x="3546" y="3963"/>
                </a:lnTo>
                <a:lnTo>
                  <a:pt x="3543" y="3975"/>
                </a:lnTo>
                <a:lnTo>
                  <a:pt x="3539" y="3986"/>
                </a:lnTo>
                <a:lnTo>
                  <a:pt x="3534" y="3997"/>
                </a:lnTo>
                <a:lnTo>
                  <a:pt x="3528" y="4007"/>
                </a:lnTo>
                <a:lnTo>
                  <a:pt x="3521" y="4016"/>
                </a:lnTo>
                <a:lnTo>
                  <a:pt x="3512" y="4025"/>
                </a:lnTo>
                <a:lnTo>
                  <a:pt x="3504" y="4032"/>
                </a:lnTo>
                <a:lnTo>
                  <a:pt x="3496" y="4039"/>
                </a:lnTo>
                <a:lnTo>
                  <a:pt x="3485" y="4045"/>
                </a:lnTo>
                <a:lnTo>
                  <a:pt x="3475" y="4050"/>
                </a:lnTo>
                <a:lnTo>
                  <a:pt x="3464" y="4054"/>
                </a:lnTo>
                <a:lnTo>
                  <a:pt x="3452" y="4057"/>
                </a:lnTo>
                <a:lnTo>
                  <a:pt x="3440" y="4059"/>
                </a:lnTo>
                <a:lnTo>
                  <a:pt x="3428" y="4060"/>
                </a:lnTo>
                <a:lnTo>
                  <a:pt x="3428" y="4060"/>
                </a:lnTo>
                <a:lnTo>
                  <a:pt x="3416" y="4059"/>
                </a:lnTo>
                <a:lnTo>
                  <a:pt x="3404" y="4057"/>
                </a:lnTo>
                <a:lnTo>
                  <a:pt x="3392" y="4054"/>
                </a:lnTo>
                <a:lnTo>
                  <a:pt x="3381" y="4050"/>
                </a:lnTo>
                <a:lnTo>
                  <a:pt x="3370" y="4045"/>
                </a:lnTo>
                <a:lnTo>
                  <a:pt x="3360" y="4039"/>
                </a:lnTo>
                <a:lnTo>
                  <a:pt x="3351" y="4032"/>
                </a:lnTo>
                <a:lnTo>
                  <a:pt x="3342" y="4025"/>
                </a:lnTo>
                <a:lnTo>
                  <a:pt x="3335" y="4016"/>
                </a:lnTo>
                <a:lnTo>
                  <a:pt x="3328" y="4007"/>
                </a:lnTo>
                <a:lnTo>
                  <a:pt x="3322" y="3997"/>
                </a:lnTo>
                <a:lnTo>
                  <a:pt x="3317" y="3986"/>
                </a:lnTo>
                <a:lnTo>
                  <a:pt x="3312" y="3975"/>
                </a:lnTo>
                <a:lnTo>
                  <a:pt x="3310" y="3963"/>
                </a:lnTo>
                <a:lnTo>
                  <a:pt x="3307" y="3951"/>
                </a:lnTo>
                <a:lnTo>
                  <a:pt x="3307" y="3939"/>
                </a:lnTo>
                <a:lnTo>
                  <a:pt x="3307" y="3232"/>
                </a:lnTo>
                <a:lnTo>
                  <a:pt x="3307" y="3232"/>
                </a:lnTo>
                <a:lnTo>
                  <a:pt x="3306" y="3212"/>
                </a:lnTo>
                <a:lnTo>
                  <a:pt x="3304" y="3191"/>
                </a:lnTo>
                <a:lnTo>
                  <a:pt x="3299" y="3172"/>
                </a:lnTo>
                <a:lnTo>
                  <a:pt x="3294" y="3153"/>
                </a:lnTo>
                <a:lnTo>
                  <a:pt x="3287" y="3133"/>
                </a:lnTo>
                <a:lnTo>
                  <a:pt x="3278" y="3117"/>
                </a:lnTo>
                <a:lnTo>
                  <a:pt x="3268" y="3100"/>
                </a:lnTo>
                <a:lnTo>
                  <a:pt x="3257" y="3084"/>
                </a:lnTo>
                <a:lnTo>
                  <a:pt x="3245" y="3070"/>
                </a:lnTo>
                <a:lnTo>
                  <a:pt x="3231" y="3056"/>
                </a:lnTo>
                <a:lnTo>
                  <a:pt x="3217" y="3044"/>
                </a:lnTo>
                <a:lnTo>
                  <a:pt x="3201" y="3033"/>
                </a:lnTo>
                <a:lnTo>
                  <a:pt x="3186" y="3025"/>
                </a:lnTo>
                <a:lnTo>
                  <a:pt x="3169" y="3017"/>
                </a:lnTo>
                <a:lnTo>
                  <a:pt x="3151" y="3012"/>
                </a:lnTo>
                <a:lnTo>
                  <a:pt x="3132" y="3007"/>
                </a:lnTo>
                <a:lnTo>
                  <a:pt x="3132" y="3007"/>
                </a:lnTo>
                <a:lnTo>
                  <a:pt x="3108" y="3004"/>
                </a:lnTo>
                <a:lnTo>
                  <a:pt x="3085" y="3004"/>
                </a:lnTo>
                <a:lnTo>
                  <a:pt x="3063" y="3007"/>
                </a:lnTo>
                <a:lnTo>
                  <a:pt x="3040" y="3012"/>
                </a:lnTo>
                <a:lnTo>
                  <a:pt x="3018" y="3019"/>
                </a:lnTo>
                <a:lnTo>
                  <a:pt x="2997" y="3029"/>
                </a:lnTo>
                <a:lnTo>
                  <a:pt x="2978" y="3041"/>
                </a:lnTo>
                <a:lnTo>
                  <a:pt x="2959" y="3054"/>
                </a:lnTo>
                <a:lnTo>
                  <a:pt x="2959" y="3054"/>
                </a:lnTo>
                <a:lnTo>
                  <a:pt x="2943" y="3071"/>
                </a:lnTo>
                <a:lnTo>
                  <a:pt x="2927" y="3088"/>
                </a:lnTo>
                <a:lnTo>
                  <a:pt x="2915" y="3107"/>
                </a:lnTo>
                <a:lnTo>
                  <a:pt x="2904" y="3126"/>
                </a:lnTo>
                <a:lnTo>
                  <a:pt x="2896" y="3148"/>
                </a:lnTo>
                <a:lnTo>
                  <a:pt x="2890" y="3170"/>
                </a:lnTo>
                <a:lnTo>
                  <a:pt x="2886" y="3192"/>
                </a:lnTo>
                <a:lnTo>
                  <a:pt x="2885" y="3215"/>
                </a:lnTo>
                <a:lnTo>
                  <a:pt x="2885" y="3939"/>
                </a:lnTo>
                <a:lnTo>
                  <a:pt x="2885" y="3939"/>
                </a:lnTo>
                <a:lnTo>
                  <a:pt x="2884" y="3951"/>
                </a:lnTo>
                <a:lnTo>
                  <a:pt x="2883" y="3963"/>
                </a:lnTo>
                <a:lnTo>
                  <a:pt x="2879" y="3975"/>
                </a:lnTo>
                <a:lnTo>
                  <a:pt x="2876" y="3986"/>
                </a:lnTo>
                <a:lnTo>
                  <a:pt x="2871" y="3997"/>
                </a:lnTo>
                <a:lnTo>
                  <a:pt x="2865" y="4007"/>
                </a:lnTo>
                <a:lnTo>
                  <a:pt x="2857" y="4016"/>
                </a:lnTo>
                <a:lnTo>
                  <a:pt x="2850" y="4025"/>
                </a:lnTo>
                <a:lnTo>
                  <a:pt x="2841" y="4032"/>
                </a:lnTo>
                <a:lnTo>
                  <a:pt x="2832" y="4039"/>
                </a:lnTo>
                <a:lnTo>
                  <a:pt x="2821" y="4045"/>
                </a:lnTo>
                <a:lnTo>
                  <a:pt x="2812" y="4050"/>
                </a:lnTo>
                <a:lnTo>
                  <a:pt x="2801" y="4054"/>
                </a:lnTo>
                <a:lnTo>
                  <a:pt x="2789" y="4057"/>
                </a:lnTo>
                <a:lnTo>
                  <a:pt x="2777" y="4059"/>
                </a:lnTo>
                <a:lnTo>
                  <a:pt x="2765" y="4060"/>
                </a:lnTo>
                <a:lnTo>
                  <a:pt x="2765" y="4060"/>
                </a:lnTo>
                <a:lnTo>
                  <a:pt x="2753" y="4059"/>
                </a:lnTo>
                <a:lnTo>
                  <a:pt x="2740" y="4057"/>
                </a:lnTo>
                <a:lnTo>
                  <a:pt x="2728" y="4054"/>
                </a:lnTo>
                <a:lnTo>
                  <a:pt x="2718" y="4050"/>
                </a:lnTo>
                <a:lnTo>
                  <a:pt x="2707" y="4045"/>
                </a:lnTo>
                <a:lnTo>
                  <a:pt x="2697" y="4039"/>
                </a:lnTo>
                <a:lnTo>
                  <a:pt x="2687" y="4032"/>
                </a:lnTo>
                <a:lnTo>
                  <a:pt x="2679" y="4025"/>
                </a:lnTo>
                <a:lnTo>
                  <a:pt x="2672" y="4016"/>
                </a:lnTo>
                <a:lnTo>
                  <a:pt x="2664" y="4007"/>
                </a:lnTo>
                <a:lnTo>
                  <a:pt x="2658" y="3997"/>
                </a:lnTo>
                <a:lnTo>
                  <a:pt x="2654" y="3986"/>
                </a:lnTo>
                <a:lnTo>
                  <a:pt x="2649" y="3975"/>
                </a:lnTo>
                <a:lnTo>
                  <a:pt x="2646" y="3963"/>
                </a:lnTo>
                <a:lnTo>
                  <a:pt x="2644" y="3951"/>
                </a:lnTo>
                <a:lnTo>
                  <a:pt x="2644" y="3939"/>
                </a:lnTo>
                <a:lnTo>
                  <a:pt x="2644" y="3015"/>
                </a:lnTo>
                <a:lnTo>
                  <a:pt x="2644" y="3015"/>
                </a:lnTo>
                <a:lnTo>
                  <a:pt x="2643" y="2994"/>
                </a:lnTo>
                <a:lnTo>
                  <a:pt x="2640" y="2973"/>
                </a:lnTo>
                <a:lnTo>
                  <a:pt x="2637" y="2954"/>
                </a:lnTo>
                <a:lnTo>
                  <a:pt x="2631" y="2935"/>
                </a:lnTo>
                <a:lnTo>
                  <a:pt x="2623" y="2917"/>
                </a:lnTo>
                <a:lnTo>
                  <a:pt x="2615" y="2898"/>
                </a:lnTo>
                <a:lnTo>
                  <a:pt x="2605" y="2882"/>
                </a:lnTo>
                <a:lnTo>
                  <a:pt x="2593" y="2866"/>
                </a:lnTo>
                <a:lnTo>
                  <a:pt x="2581" y="2851"/>
                </a:lnTo>
                <a:lnTo>
                  <a:pt x="2568" y="2838"/>
                </a:lnTo>
                <a:lnTo>
                  <a:pt x="2553" y="2826"/>
                </a:lnTo>
                <a:lnTo>
                  <a:pt x="2538" y="2815"/>
                </a:lnTo>
                <a:lnTo>
                  <a:pt x="2522" y="2807"/>
                </a:lnTo>
                <a:lnTo>
                  <a:pt x="2505" y="2800"/>
                </a:lnTo>
                <a:lnTo>
                  <a:pt x="2487" y="2794"/>
                </a:lnTo>
                <a:lnTo>
                  <a:pt x="2469" y="2790"/>
                </a:lnTo>
                <a:lnTo>
                  <a:pt x="2469" y="2790"/>
                </a:lnTo>
                <a:lnTo>
                  <a:pt x="2445" y="2786"/>
                </a:lnTo>
                <a:lnTo>
                  <a:pt x="2422" y="2786"/>
                </a:lnTo>
                <a:lnTo>
                  <a:pt x="2399" y="2789"/>
                </a:lnTo>
                <a:lnTo>
                  <a:pt x="2376" y="2794"/>
                </a:lnTo>
                <a:lnTo>
                  <a:pt x="2356" y="2801"/>
                </a:lnTo>
                <a:lnTo>
                  <a:pt x="2334" y="2811"/>
                </a:lnTo>
                <a:lnTo>
                  <a:pt x="2315" y="2823"/>
                </a:lnTo>
                <a:lnTo>
                  <a:pt x="2297" y="2837"/>
                </a:lnTo>
                <a:lnTo>
                  <a:pt x="2297" y="2837"/>
                </a:lnTo>
                <a:lnTo>
                  <a:pt x="2280" y="2853"/>
                </a:lnTo>
                <a:lnTo>
                  <a:pt x="2264" y="2870"/>
                </a:lnTo>
                <a:lnTo>
                  <a:pt x="2252" y="2889"/>
                </a:lnTo>
                <a:lnTo>
                  <a:pt x="2241" y="2909"/>
                </a:lnTo>
                <a:lnTo>
                  <a:pt x="2233" y="2930"/>
                </a:lnTo>
                <a:lnTo>
                  <a:pt x="2227" y="2951"/>
                </a:lnTo>
                <a:lnTo>
                  <a:pt x="2223" y="2974"/>
                </a:lnTo>
                <a:lnTo>
                  <a:pt x="2222" y="2997"/>
                </a:lnTo>
                <a:lnTo>
                  <a:pt x="2222" y="3939"/>
                </a:lnTo>
                <a:lnTo>
                  <a:pt x="2222" y="3939"/>
                </a:lnTo>
                <a:lnTo>
                  <a:pt x="2221" y="3951"/>
                </a:lnTo>
                <a:lnTo>
                  <a:pt x="2219" y="3963"/>
                </a:lnTo>
                <a:lnTo>
                  <a:pt x="2216" y="3975"/>
                </a:lnTo>
                <a:lnTo>
                  <a:pt x="2212" y="3986"/>
                </a:lnTo>
                <a:lnTo>
                  <a:pt x="2207" y="3997"/>
                </a:lnTo>
                <a:lnTo>
                  <a:pt x="2201" y="4007"/>
                </a:lnTo>
                <a:lnTo>
                  <a:pt x="2194" y="4016"/>
                </a:lnTo>
                <a:lnTo>
                  <a:pt x="2187" y="4025"/>
                </a:lnTo>
                <a:lnTo>
                  <a:pt x="2178" y="4032"/>
                </a:lnTo>
                <a:lnTo>
                  <a:pt x="2169" y="4039"/>
                </a:lnTo>
                <a:lnTo>
                  <a:pt x="2159" y="4045"/>
                </a:lnTo>
                <a:lnTo>
                  <a:pt x="2148" y="4050"/>
                </a:lnTo>
                <a:lnTo>
                  <a:pt x="2137" y="4054"/>
                </a:lnTo>
                <a:lnTo>
                  <a:pt x="2125" y="4057"/>
                </a:lnTo>
                <a:lnTo>
                  <a:pt x="2113" y="4059"/>
                </a:lnTo>
                <a:lnTo>
                  <a:pt x="2101" y="4060"/>
                </a:lnTo>
                <a:lnTo>
                  <a:pt x="2101" y="4060"/>
                </a:lnTo>
                <a:lnTo>
                  <a:pt x="2089" y="4059"/>
                </a:lnTo>
                <a:lnTo>
                  <a:pt x="2077" y="4057"/>
                </a:lnTo>
                <a:lnTo>
                  <a:pt x="2065" y="4054"/>
                </a:lnTo>
                <a:lnTo>
                  <a:pt x="2054" y="4050"/>
                </a:lnTo>
                <a:lnTo>
                  <a:pt x="2043" y="4045"/>
                </a:lnTo>
                <a:lnTo>
                  <a:pt x="2034" y="4039"/>
                </a:lnTo>
                <a:lnTo>
                  <a:pt x="2024" y="4032"/>
                </a:lnTo>
                <a:lnTo>
                  <a:pt x="2016" y="4025"/>
                </a:lnTo>
                <a:lnTo>
                  <a:pt x="2008" y="4016"/>
                </a:lnTo>
                <a:lnTo>
                  <a:pt x="2001" y="4007"/>
                </a:lnTo>
                <a:lnTo>
                  <a:pt x="1995" y="3997"/>
                </a:lnTo>
                <a:lnTo>
                  <a:pt x="1990" y="3986"/>
                </a:lnTo>
                <a:lnTo>
                  <a:pt x="1985" y="3975"/>
                </a:lnTo>
                <a:lnTo>
                  <a:pt x="1983" y="3963"/>
                </a:lnTo>
                <a:lnTo>
                  <a:pt x="1981" y="3951"/>
                </a:lnTo>
                <a:lnTo>
                  <a:pt x="1981" y="3939"/>
                </a:lnTo>
                <a:lnTo>
                  <a:pt x="1981" y="1800"/>
                </a:lnTo>
                <a:lnTo>
                  <a:pt x="1981" y="1800"/>
                </a:lnTo>
                <a:lnTo>
                  <a:pt x="1979" y="1778"/>
                </a:lnTo>
                <a:lnTo>
                  <a:pt x="1977" y="1758"/>
                </a:lnTo>
                <a:lnTo>
                  <a:pt x="1973" y="1738"/>
                </a:lnTo>
                <a:lnTo>
                  <a:pt x="1967" y="1719"/>
                </a:lnTo>
                <a:lnTo>
                  <a:pt x="1960" y="1701"/>
                </a:lnTo>
                <a:lnTo>
                  <a:pt x="1952" y="1683"/>
                </a:lnTo>
                <a:lnTo>
                  <a:pt x="1942" y="1666"/>
                </a:lnTo>
                <a:lnTo>
                  <a:pt x="1930" y="1650"/>
                </a:lnTo>
                <a:lnTo>
                  <a:pt x="1918" y="1636"/>
                </a:lnTo>
                <a:lnTo>
                  <a:pt x="1905" y="1623"/>
                </a:lnTo>
                <a:lnTo>
                  <a:pt x="1890" y="1611"/>
                </a:lnTo>
                <a:lnTo>
                  <a:pt x="1876" y="1600"/>
                </a:lnTo>
                <a:lnTo>
                  <a:pt x="1859" y="1591"/>
                </a:lnTo>
                <a:lnTo>
                  <a:pt x="1842" y="1584"/>
                </a:lnTo>
                <a:lnTo>
                  <a:pt x="1824" y="1578"/>
                </a:lnTo>
                <a:lnTo>
                  <a:pt x="1806" y="1573"/>
                </a:lnTo>
                <a:lnTo>
                  <a:pt x="1806" y="1573"/>
                </a:lnTo>
                <a:lnTo>
                  <a:pt x="1782" y="1571"/>
                </a:lnTo>
                <a:lnTo>
                  <a:pt x="1759" y="1571"/>
                </a:lnTo>
                <a:lnTo>
                  <a:pt x="1736" y="1573"/>
                </a:lnTo>
                <a:lnTo>
                  <a:pt x="1714" y="1578"/>
                </a:lnTo>
                <a:lnTo>
                  <a:pt x="1692" y="1585"/>
                </a:lnTo>
                <a:lnTo>
                  <a:pt x="1671" y="1595"/>
                </a:lnTo>
                <a:lnTo>
                  <a:pt x="1651" y="1607"/>
                </a:lnTo>
                <a:lnTo>
                  <a:pt x="1633" y="1622"/>
                </a:lnTo>
                <a:lnTo>
                  <a:pt x="1633" y="1622"/>
                </a:lnTo>
                <a:lnTo>
                  <a:pt x="1616" y="1637"/>
                </a:lnTo>
                <a:lnTo>
                  <a:pt x="1602" y="1654"/>
                </a:lnTo>
                <a:lnTo>
                  <a:pt x="1589" y="1673"/>
                </a:lnTo>
                <a:lnTo>
                  <a:pt x="1578" y="1693"/>
                </a:lnTo>
                <a:lnTo>
                  <a:pt x="1569" y="1714"/>
                </a:lnTo>
                <a:lnTo>
                  <a:pt x="1563" y="1736"/>
                </a:lnTo>
                <a:lnTo>
                  <a:pt x="1560" y="1759"/>
                </a:lnTo>
                <a:lnTo>
                  <a:pt x="1558" y="1782"/>
                </a:lnTo>
                <a:lnTo>
                  <a:pt x="1558" y="4462"/>
                </a:lnTo>
                <a:lnTo>
                  <a:pt x="1558" y="4462"/>
                </a:lnTo>
                <a:lnTo>
                  <a:pt x="1558" y="4473"/>
                </a:lnTo>
                <a:lnTo>
                  <a:pt x="1557" y="4483"/>
                </a:lnTo>
                <a:lnTo>
                  <a:pt x="1555" y="4492"/>
                </a:lnTo>
                <a:lnTo>
                  <a:pt x="1552" y="4501"/>
                </a:lnTo>
                <a:lnTo>
                  <a:pt x="1549" y="4510"/>
                </a:lnTo>
                <a:lnTo>
                  <a:pt x="1545" y="4519"/>
                </a:lnTo>
                <a:lnTo>
                  <a:pt x="1540" y="4527"/>
                </a:lnTo>
                <a:lnTo>
                  <a:pt x="1534" y="4534"/>
                </a:lnTo>
                <a:lnTo>
                  <a:pt x="1528" y="4542"/>
                </a:lnTo>
                <a:lnTo>
                  <a:pt x="1522" y="4549"/>
                </a:lnTo>
                <a:lnTo>
                  <a:pt x="1515" y="4555"/>
                </a:lnTo>
                <a:lnTo>
                  <a:pt x="1508" y="4561"/>
                </a:lnTo>
                <a:lnTo>
                  <a:pt x="1499" y="4566"/>
                </a:lnTo>
                <a:lnTo>
                  <a:pt x="1491" y="4571"/>
                </a:lnTo>
                <a:lnTo>
                  <a:pt x="1482" y="4574"/>
                </a:lnTo>
                <a:lnTo>
                  <a:pt x="1473" y="4578"/>
                </a:lnTo>
                <a:lnTo>
                  <a:pt x="1473" y="4578"/>
                </a:lnTo>
                <a:lnTo>
                  <a:pt x="1463" y="4580"/>
                </a:lnTo>
                <a:lnTo>
                  <a:pt x="1453" y="4583"/>
                </a:lnTo>
                <a:lnTo>
                  <a:pt x="1444" y="4583"/>
                </a:lnTo>
                <a:lnTo>
                  <a:pt x="1434" y="4583"/>
                </a:lnTo>
                <a:lnTo>
                  <a:pt x="1425" y="4583"/>
                </a:lnTo>
                <a:lnTo>
                  <a:pt x="1415" y="4581"/>
                </a:lnTo>
                <a:lnTo>
                  <a:pt x="1406" y="4579"/>
                </a:lnTo>
                <a:lnTo>
                  <a:pt x="1397" y="4577"/>
                </a:lnTo>
                <a:lnTo>
                  <a:pt x="1388" y="4573"/>
                </a:lnTo>
                <a:lnTo>
                  <a:pt x="1380" y="4568"/>
                </a:lnTo>
                <a:lnTo>
                  <a:pt x="1371" y="4563"/>
                </a:lnTo>
                <a:lnTo>
                  <a:pt x="1364" y="4557"/>
                </a:lnTo>
                <a:lnTo>
                  <a:pt x="1357" y="4551"/>
                </a:lnTo>
                <a:lnTo>
                  <a:pt x="1350" y="4545"/>
                </a:lnTo>
                <a:lnTo>
                  <a:pt x="1344" y="4538"/>
                </a:lnTo>
                <a:lnTo>
                  <a:pt x="1338" y="4530"/>
                </a:lnTo>
                <a:lnTo>
                  <a:pt x="1000" y="4024"/>
                </a:lnTo>
                <a:lnTo>
                  <a:pt x="1000" y="4024"/>
                </a:lnTo>
                <a:lnTo>
                  <a:pt x="970" y="3985"/>
                </a:lnTo>
                <a:lnTo>
                  <a:pt x="940" y="3949"/>
                </a:lnTo>
                <a:lnTo>
                  <a:pt x="909" y="3915"/>
                </a:lnTo>
                <a:lnTo>
                  <a:pt x="878" y="3885"/>
                </a:lnTo>
                <a:lnTo>
                  <a:pt x="847" y="3859"/>
                </a:lnTo>
                <a:lnTo>
                  <a:pt x="814" y="3836"/>
                </a:lnTo>
                <a:lnTo>
                  <a:pt x="797" y="3825"/>
                </a:lnTo>
                <a:lnTo>
                  <a:pt x="782" y="3814"/>
                </a:lnTo>
                <a:lnTo>
                  <a:pt x="765" y="3806"/>
                </a:lnTo>
                <a:lnTo>
                  <a:pt x="748" y="3797"/>
                </a:lnTo>
                <a:lnTo>
                  <a:pt x="730" y="3789"/>
                </a:lnTo>
                <a:lnTo>
                  <a:pt x="713" y="3783"/>
                </a:lnTo>
                <a:lnTo>
                  <a:pt x="696" y="3775"/>
                </a:lnTo>
                <a:lnTo>
                  <a:pt x="678" y="3771"/>
                </a:lnTo>
                <a:lnTo>
                  <a:pt x="660" y="3766"/>
                </a:lnTo>
                <a:lnTo>
                  <a:pt x="642" y="3762"/>
                </a:lnTo>
                <a:lnTo>
                  <a:pt x="624" y="3759"/>
                </a:lnTo>
                <a:lnTo>
                  <a:pt x="606" y="3756"/>
                </a:lnTo>
                <a:lnTo>
                  <a:pt x="586" y="3755"/>
                </a:lnTo>
                <a:lnTo>
                  <a:pt x="568" y="3754"/>
                </a:lnTo>
                <a:lnTo>
                  <a:pt x="549" y="3754"/>
                </a:lnTo>
                <a:lnTo>
                  <a:pt x="530" y="3754"/>
                </a:lnTo>
                <a:lnTo>
                  <a:pt x="490" y="3756"/>
                </a:lnTo>
                <a:lnTo>
                  <a:pt x="449" y="3762"/>
                </a:lnTo>
                <a:lnTo>
                  <a:pt x="449" y="3762"/>
                </a:lnTo>
                <a:lnTo>
                  <a:pt x="443" y="3765"/>
                </a:lnTo>
                <a:lnTo>
                  <a:pt x="437" y="3767"/>
                </a:lnTo>
                <a:lnTo>
                  <a:pt x="432" y="3769"/>
                </a:lnTo>
                <a:lnTo>
                  <a:pt x="427" y="3773"/>
                </a:lnTo>
                <a:lnTo>
                  <a:pt x="421" y="3781"/>
                </a:lnTo>
                <a:lnTo>
                  <a:pt x="417" y="3788"/>
                </a:lnTo>
                <a:lnTo>
                  <a:pt x="417" y="3788"/>
                </a:lnTo>
                <a:lnTo>
                  <a:pt x="414" y="3795"/>
                </a:lnTo>
                <a:lnTo>
                  <a:pt x="413" y="3806"/>
                </a:lnTo>
                <a:lnTo>
                  <a:pt x="413" y="3812"/>
                </a:lnTo>
                <a:lnTo>
                  <a:pt x="413" y="3818"/>
                </a:lnTo>
                <a:lnTo>
                  <a:pt x="415" y="3825"/>
                </a:lnTo>
                <a:lnTo>
                  <a:pt x="417" y="3832"/>
                </a:lnTo>
                <a:lnTo>
                  <a:pt x="1338" y="5542"/>
                </a:lnTo>
                <a:lnTo>
                  <a:pt x="1338" y="5542"/>
                </a:lnTo>
                <a:lnTo>
                  <a:pt x="1357" y="5574"/>
                </a:lnTo>
                <a:lnTo>
                  <a:pt x="1377" y="5605"/>
                </a:lnTo>
                <a:lnTo>
                  <a:pt x="1398" y="5637"/>
                </a:lnTo>
                <a:lnTo>
                  <a:pt x="1420" y="5667"/>
                </a:lnTo>
                <a:lnTo>
                  <a:pt x="1443" y="5697"/>
                </a:lnTo>
                <a:lnTo>
                  <a:pt x="1466" y="5726"/>
                </a:lnTo>
                <a:lnTo>
                  <a:pt x="1490" y="5755"/>
                </a:lnTo>
                <a:lnTo>
                  <a:pt x="1514" y="5782"/>
                </a:lnTo>
                <a:lnTo>
                  <a:pt x="1539" y="5809"/>
                </a:lnTo>
                <a:lnTo>
                  <a:pt x="1564" y="5835"/>
                </a:lnTo>
                <a:lnTo>
                  <a:pt x="1591" y="5861"/>
                </a:lnTo>
                <a:lnTo>
                  <a:pt x="1619" y="5886"/>
                </a:lnTo>
                <a:lnTo>
                  <a:pt x="1646" y="5910"/>
                </a:lnTo>
                <a:lnTo>
                  <a:pt x="1675" y="5934"/>
                </a:lnTo>
                <a:lnTo>
                  <a:pt x="1704" y="5957"/>
                </a:lnTo>
                <a:lnTo>
                  <a:pt x="1733" y="5979"/>
                </a:lnTo>
                <a:lnTo>
                  <a:pt x="1763" y="5999"/>
                </a:lnTo>
                <a:lnTo>
                  <a:pt x="1795" y="6020"/>
                </a:lnTo>
                <a:lnTo>
                  <a:pt x="1826" y="6040"/>
                </a:lnTo>
                <a:lnTo>
                  <a:pt x="1858" y="6058"/>
                </a:lnTo>
                <a:lnTo>
                  <a:pt x="1890" y="6076"/>
                </a:lnTo>
                <a:lnTo>
                  <a:pt x="1923" y="6093"/>
                </a:lnTo>
                <a:lnTo>
                  <a:pt x="1956" y="6110"/>
                </a:lnTo>
                <a:lnTo>
                  <a:pt x="1990" y="6125"/>
                </a:lnTo>
                <a:lnTo>
                  <a:pt x="2024" y="6139"/>
                </a:lnTo>
                <a:lnTo>
                  <a:pt x="2058" y="6154"/>
                </a:lnTo>
                <a:lnTo>
                  <a:pt x="2093" y="6166"/>
                </a:lnTo>
                <a:lnTo>
                  <a:pt x="2129" y="6178"/>
                </a:lnTo>
                <a:lnTo>
                  <a:pt x="2164" y="6188"/>
                </a:lnTo>
                <a:lnTo>
                  <a:pt x="2200" y="6199"/>
                </a:lnTo>
                <a:lnTo>
                  <a:pt x="2236" y="6208"/>
                </a:lnTo>
                <a:lnTo>
                  <a:pt x="2274" y="6216"/>
                </a:lnTo>
                <a:lnTo>
                  <a:pt x="2274" y="6216"/>
                </a:lnTo>
                <a:lnTo>
                  <a:pt x="2311" y="6223"/>
                </a:lnTo>
                <a:lnTo>
                  <a:pt x="2348" y="6229"/>
                </a:lnTo>
                <a:lnTo>
                  <a:pt x="2386" y="6234"/>
                </a:lnTo>
                <a:lnTo>
                  <a:pt x="2423" y="6239"/>
                </a:lnTo>
                <a:lnTo>
                  <a:pt x="2461" y="6243"/>
                </a:lnTo>
                <a:lnTo>
                  <a:pt x="2498" y="6244"/>
                </a:lnTo>
                <a:lnTo>
                  <a:pt x="2535" y="6245"/>
                </a:lnTo>
                <a:lnTo>
                  <a:pt x="2573" y="6246"/>
                </a:lnTo>
                <a:lnTo>
                  <a:pt x="2610" y="6245"/>
                </a:lnTo>
                <a:lnTo>
                  <a:pt x="2646" y="6244"/>
                </a:lnTo>
                <a:lnTo>
                  <a:pt x="2684" y="6240"/>
                </a:lnTo>
                <a:lnTo>
                  <a:pt x="2720" y="6237"/>
                </a:lnTo>
                <a:lnTo>
                  <a:pt x="2757" y="6232"/>
                </a:lnTo>
                <a:lnTo>
                  <a:pt x="2794" y="6227"/>
                </a:lnTo>
                <a:lnTo>
                  <a:pt x="2830" y="6220"/>
                </a:lnTo>
                <a:lnTo>
                  <a:pt x="2866" y="6213"/>
                </a:lnTo>
                <a:lnTo>
                  <a:pt x="2902" y="6204"/>
                </a:lnTo>
                <a:lnTo>
                  <a:pt x="2937" y="6194"/>
                </a:lnTo>
                <a:lnTo>
                  <a:pt x="2973" y="6184"/>
                </a:lnTo>
                <a:lnTo>
                  <a:pt x="3008" y="6173"/>
                </a:lnTo>
                <a:lnTo>
                  <a:pt x="3043" y="6161"/>
                </a:lnTo>
                <a:lnTo>
                  <a:pt x="3077" y="6147"/>
                </a:lnTo>
                <a:lnTo>
                  <a:pt x="3112" y="6133"/>
                </a:lnTo>
                <a:lnTo>
                  <a:pt x="3146" y="6117"/>
                </a:lnTo>
                <a:lnTo>
                  <a:pt x="3180" y="6102"/>
                </a:lnTo>
                <a:lnTo>
                  <a:pt x="3213" y="6085"/>
                </a:lnTo>
                <a:lnTo>
                  <a:pt x="3246" y="6067"/>
                </a:lnTo>
                <a:lnTo>
                  <a:pt x="3280" y="6047"/>
                </a:lnTo>
                <a:lnTo>
                  <a:pt x="3312" y="6028"/>
                </a:lnTo>
                <a:lnTo>
                  <a:pt x="3344" y="6008"/>
                </a:lnTo>
                <a:lnTo>
                  <a:pt x="3375" y="5986"/>
                </a:lnTo>
                <a:lnTo>
                  <a:pt x="3406" y="5963"/>
                </a:lnTo>
                <a:lnTo>
                  <a:pt x="3406" y="5963"/>
                </a:lnTo>
                <a:lnTo>
                  <a:pt x="3439" y="5938"/>
                </a:lnTo>
                <a:lnTo>
                  <a:pt x="3471" y="5911"/>
                </a:lnTo>
                <a:lnTo>
                  <a:pt x="3502" y="5885"/>
                </a:lnTo>
                <a:lnTo>
                  <a:pt x="3532" y="5857"/>
                </a:lnTo>
                <a:lnTo>
                  <a:pt x="3562" y="5828"/>
                </a:lnTo>
                <a:lnTo>
                  <a:pt x="3590" y="5798"/>
                </a:lnTo>
                <a:lnTo>
                  <a:pt x="3617" y="5767"/>
                </a:lnTo>
                <a:lnTo>
                  <a:pt x="3644" y="5735"/>
                </a:lnTo>
                <a:lnTo>
                  <a:pt x="3669" y="5703"/>
                </a:lnTo>
                <a:lnTo>
                  <a:pt x="3693" y="5670"/>
                </a:lnTo>
                <a:lnTo>
                  <a:pt x="3717" y="5637"/>
                </a:lnTo>
                <a:lnTo>
                  <a:pt x="3740" y="5602"/>
                </a:lnTo>
                <a:lnTo>
                  <a:pt x="3762" y="5566"/>
                </a:lnTo>
                <a:lnTo>
                  <a:pt x="3783" y="5529"/>
                </a:lnTo>
                <a:lnTo>
                  <a:pt x="3802" y="5493"/>
                </a:lnTo>
                <a:lnTo>
                  <a:pt x="3821" y="5456"/>
                </a:lnTo>
                <a:lnTo>
                  <a:pt x="3838" y="5417"/>
                </a:lnTo>
                <a:lnTo>
                  <a:pt x="3855" y="5379"/>
                </a:lnTo>
                <a:lnTo>
                  <a:pt x="3871" y="5339"/>
                </a:lnTo>
                <a:lnTo>
                  <a:pt x="3885" y="5299"/>
                </a:lnTo>
                <a:lnTo>
                  <a:pt x="3898" y="5260"/>
                </a:lnTo>
                <a:lnTo>
                  <a:pt x="3910" y="5219"/>
                </a:lnTo>
                <a:lnTo>
                  <a:pt x="3923" y="5178"/>
                </a:lnTo>
                <a:lnTo>
                  <a:pt x="3932" y="5136"/>
                </a:lnTo>
                <a:lnTo>
                  <a:pt x="3941" y="5093"/>
                </a:lnTo>
                <a:lnTo>
                  <a:pt x="3949" y="5051"/>
                </a:lnTo>
                <a:lnTo>
                  <a:pt x="3955" y="5008"/>
                </a:lnTo>
                <a:lnTo>
                  <a:pt x="3961" y="4966"/>
                </a:lnTo>
                <a:lnTo>
                  <a:pt x="3965" y="4922"/>
                </a:lnTo>
                <a:lnTo>
                  <a:pt x="3968" y="4878"/>
                </a:lnTo>
                <a:lnTo>
                  <a:pt x="3970" y="4834"/>
                </a:lnTo>
                <a:lnTo>
                  <a:pt x="3971" y="4790"/>
                </a:lnTo>
                <a:lnTo>
                  <a:pt x="3971" y="4790"/>
                </a:lnTo>
                <a:close/>
              </a:path>
            </a:pathLst>
          </a:custGeom>
          <a:solidFill>
            <a:schemeClr val="tx1"/>
          </a:solidFill>
          <a:ln>
            <a:noFill/>
          </a:ln>
        </p:spPr>
        <p:txBody>
          <a:bodyPr vert="horz" wrap="square" lIns="121807" tIns="60904" rIns="121807" bIns="60904" numCol="1" anchor="t" anchorCtr="0" compatLnSpc="1">
            <a:prstTxWarp prst="textNoShape">
              <a:avLst/>
            </a:prstTxWarp>
          </a:bodyPr>
          <a:lstStyle/>
          <a:p>
            <a:endParaRPr lang="en-US" sz="2395"/>
          </a:p>
        </p:txBody>
      </p:sp>
      <p:pic>
        <p:nvPicPr>
          <p:cNvPr id="9" name="Picture 8" descr="Icon&#10;&#10;This is the Ally Logo.&#10;A white A with a figure for the holes&#10;Two green L &#10;A blue Y with a figure and a little head">
            <a:extLst>
              <a:ext uri="{FF2B5EF4-FFF2-40B4-BE49-F238E27FC236}">
                <a16:creationId xmlns:a16="http://schemas.microsoft.com/office/drawing/2014/main" id="{6E084382-F2BB-D851-8FCF-55E03CC5DE17}"/>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89562" y="6179609"/>
            <a:ext cx="2285281" cy="684515"/>
          </a:xfrm>
          <a:prstGeom prst="rect">
            <a:avLst/>
          </a:prstGeom>
        </p:spPr>
      </p:pic>
    </p:spTree>
    <p:extLst>
      <p:ext uri="{BB962C8B-B14F-4D97-AF65-F5344CB8AC3E}">
        <p14:creationId xmlns:p14="http://schemas.microsoft.com/office/powerpoint/2010/main" val="305903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15">
            <a:extLst>
              <a:ext uri="{FF2B5EF4-FFF2-40B4-BE49-F238E27FC236}">
                <a16:creationId xmlns:a16="http://schemas.microsoft.com/office/drawing/2014/main" id="{A5001328-8D44-728B-D09B-11EB648F2F2A}"/>
              </a:ext>
            </a:extLst>
          </p:cNvPr>
          <p:cNvSpPr>
            <a:spLocks noGrp="1"/>
          </p:cNvSpPr>
          <p:nvPr>
            <p:ph type="title"/>
          </p:nvPr>
        </p:nvSpPr>
        <p:spPr>
          <a:xfrm>
            <a:off x="394968" y="146017"/>
            <a:ext cx="11362266" cy="770669"/>
          </a:xfrm>
        </p:spPr>
        <p:txBody>
          <a:bodyPr/>
          <a:lstStyle/>
          <a:p>
            <a:r>
              <a:rPr lang="en-US" dirty="0"/>
              <a:t>Content Creator Feedback</a:t>
            </a:r>
          </a:p>
        </p:txBody>
      </p:sp>
      <p:pic>
        <p:nvPicPr>
          <p:cNvPr id="3" name="Picture 2" descr="Screen recording of the Ally content creator feedback showing thow Ally inspects the content and identifies the accessibility issues. Ally provides an overall rating, highlights the individual issues and proivides guidance on how to correct the content.">
            <a:extLst>
              <a:ext uri="{FF2B5EF4-FFF2-40B4-BE49-F238E27FC236}">
                <a16:creationId xmlns:a16="http://schemas.microsoft.com/office/drawing/2014/main" id="{C1D55F73-9E56-7B21-310A-AA4B28E647C1}"/>
              </a:ext>
            </a:extLst>
          </p:cNvPr>
          <p:cNvPicPr>
            <a:picLocks noChangeAspect="1"/>
          </p:cNvPicPr>
          <p:nvPr/>
        </p:nvPicPr>
        <p:blipFill>
          <a:blip r:embed="rId3"/>
          <a:stretch>
            <a:fillRect/>
          </a:stretch>
        </p:blipFill>
        <p:spPr>
          <a:xfrm>
            <a:off x="-19899" y="1142401"/>
            <a:ext cx="12192000" cy="5715599"/>
          </a:xfrm>
          <a:prstGeom prst="rect">
            <a:avLst/>
          </a:prstGeom>
        </p:spPr>
      </p:pic>
    </p:spTree>
    <p:extLst>
      <p:ext uri="{BB962C8B-B14F-4D97-AF65-F5344CB8AC3E}">
        <p14:creationId xmlns:p14="http://schemas.microsoft.com/office/powerpoint/2010/main" val="3735302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C2917CD-2395-E437-0238-D289D9DDED17}"/>
              </a:ext>
            </a:extLst>
          </p:cNvPr>
          <p:cNvSpPr>
            <a:spLocks noGrp="1"/>
          </p:cNvSpPr>
          <p:nvPr>
            <p:ph type="title"/>
          </p:nvPr>
        </p:nvSpPr>
        <p:spPr>
          <a:xfrm>
            <a:off x="685800" y="-1080438"/>
            <a:ext cx="10789920" cy="1080438"/>
          </a:xfrm>
        </p:spPr>
        <p:txBody>
          <a:bodyPr vert="horz" lIns="0" tIns="0" rIns="0" bIns="0" rtlCol="0" anchor="b" anchorCtr="0">
            <a:noAutofit/>
          </a:bodyPr>
          <a:lstStyle/>
          <a:p>
            <a:r>
              <a:rPr lang="en-US" dirty="0"/>
              <a:t>Ally's feedback and preview for a PDF document with contrast issues</a:t>
            </a:r>
          </a:p>
        </p:txBody>
      </p:sp>
      <p:pic>
        <p:nvPicPr>
          <p:cNvPr id="2" name="Picture 1" descr="A screenshot of a Ally's feedback and preview for a PDF document with contrast issues">
            <a:extLst>
              <a:ext uri="{FF2B5EF4-FFF2-40B4-BE49-F238E27FC236}">
                <a16:creationId xmlns:a16="http://schemas.microsoft.com/office/drawing/2014/main" id="{42558A2F-A06C-40CD-E09B-74E8F825B945}"/>
              </a:ext>
            </a:extLst>
          </p:cNvPr>
          <p:cNvPicPr>
            <a:picLocks noChangeAspect="1"/>
          </p:cNvPicPr>
          <p:nvPr/>
        </p:nvPicPr>
        <p:blipFill>
          <a:blip r:embed="rId3"/>
          <a:stretch>
            <a:fillRect/>
          </a:stretch>
        </p:blipFill>
        <p:spPr>
          <a:xfrm>
            <a:off x="1670835" y="172728"/>
            <a:ext cx="8172608" cy="5365261"/>
          </a:xfrm>
          <a:prstGeom prst="rect">
            <a:avLst/>
          </a:prstGeom>
        </p:spPr>
      </p:pic>
      <p:sp>
        <p:nvSpPr>
          <p:cNvPr id="23" name="TextBox 22">
            <a:extLst>
              <a:ext uri="{FF2B5EF4-FFF2-40B4-BE49-F238E27FC236}">
                <a16:creationId xmlns:a16="http://schemas.microsoft.com/office/drawing/2014/main" id="{D2348ACF-2B39-0A2F-E3B9-09F3B32FCC6D}"/>
              </a:ext>
            </a:extLst>
          </p:cNvPr>
          <p:cNvSpPr txBox="1"/>
          <p:nvPr/>
        </p:nvSpPr>
        <p:spPr>
          <a:xfrm>
            <a:off x="93725" y="1612776"/>
            <a:ext cx="1248058" cy="892552"/>
          </a:xfrm>
          <a:prstGeom prst="rect">
            <a:avLst/>
          </a:prstGeom>
          <a:noFill/>
        </p:spPr>
        <p:txBody>
          <a:bodyPr wrap="square" lIns="137160" tIns="137160" rIns="137160" bIns="137160" rtlCol="0">
            <a:spAutoFit/>
          </a:bodyPr>
          <a:lstStyle/>
          <a:p>
            <a:r>
              <a:rPr lang="en-US" sz="2000" dirty="0">
                <a:latin typeface="Helvetica" pitchFamily="2" charset="0"/>
              </a:rPr>
              <a:t>Issue highlight</a:t>
            </a:r>
          </a:p>
        </p:txBody>
      </p:sp>
      <p:sp>
        <p:nvSpPr>
          <p:cNvPr id="24" name="TextBox 23">
            <a:extLst>
              <a:ext uri="{FF2B5EF4-FFF2-40B4-BE49-F238E27FC236}">
                <a16:creationId xmlns:a16="http://schemas.microsoft.com/office/drawing/2014/main" id="{CC21A1AC-0E8D-3FD3-25BE-0AFCA6EBA4D9}"/>
              </a:ext>
            </a:extLst>
          </p:cNvPr>
          <p:cNvSpPr txBox="1"/>
          <p:nvPr/>
        </p:nvSpPr>
        <p:spPr>
          <a:xfrm>
            <a:off x="133481" y="3051492"/>
            <a:ext cx="1540210" cy="892552"/>
          </a:xfrm>
          <a:prstGeom prst="rect">
            <a:avLst/>
          </a:prstGeom>
          <a:noFill/>
        </p:spPr>
        <p:txBody>
          <a:bodyPr wrap="square" lIns="137160" tIns="137160" rIns="137160" bIns="137160" rtlCol="0">
            <a:spAutoFit/>
          </a:bodyPr>
          <a:lstStyle/>
          <a:p>
            <a:r>
              <a:rPr lang="en-US" sz="2000" dirty="0">
                <a:latin typeface="Helvetica" pitchFamily="2" charset="0"/>
              </a:rPr>
              <a:t>In-browser preview</a:t>
            </a:r>
          </a:p>
        </p:txBody>
      </p:sp>
      <p:sp>
        <p:nvSpPr>
          <p:cNvPr id="25" name="TextBox 24">
            <a:extLst>
              <a:ext uri="{FF2B5EF4-FFF2-40B4-BE49-F238E27FC236}">
                <a16:creationId xmlns:a16="http://schemas.microsoft.com/office/drawing/2014/main" id="{E840567D-2DDD-E576-3162-0FAF73AB3B50}"/>
              </a:ext>
            </a:extLst>
          </p:cNvPr>
          <p:cNvSpPr txBox="1"/>
          <p:nvPr/>
        </p:nvSpPr>
        <p:spPr>
          <a:xfrm>
            <a:off x="10049983" y="437223"/>
            <a:ext cx="2186373" cy="892552"/>
          </a:xfrm>
          <a:prstGeom prst="rect">
            <a:avLst/>
          </a:prstGeom>
          <a:noFill/>
        </p:spPr>
        <p:txBody>
          <a:bodyPr wrap="square" lIns="137160" tIns="137160" rIns="137160" bIns="137160" rtlCol="0">
            <a:spAutoFit/>
          </a:bodyPr>
          <a:lstStyle/>
          <a:p>
            <a:r>
              <a:rPr lang="en-US" sz="2000" dirty="0">
                <a:latin typeface="Helvetica" pitchFamily="2" charset="0"/>
              </a:rPr>
              <a:t>Accessibility score</a:t>
            </a:r>
          </a:p>
        </p:txBody>
      </p:sp>
      <p:sp>
        <p:nvSpPr>
          <p:cNvPr id="26" name="TextBox 25">
            <a:extLst>
              <a:ext uri="{FF2B5EF4-FFF2-40B4-BE49-F238E27FC236}">
                <a16:creationId xmlns:a16="http://schemas.microsoft.com/office/drawing/2014/main" id="{BCC76EDD-C7CA-BEB8-42A3-F8D065B42982}"/>
              </a:ext>
            </a:extLst>
          </p:cNvPr>
          <p:cNvSpPr txBox="1"/>
          <p:nvPr/>
        </p:nvSpPr>
        <p:spPr>
          <a:xfrm>
            <a:off x="10049983" y="1192318"/>
            <a:ext cx="2319780" cy="892552"/>
          </a:xfrm>
          <a:prstGeom prst="rect">
            <a:avLst/>
          </a:prstGeom>
          <a:noFill/>
        </p:spPr>
        <p:txBody>
          <a:bodyPr wrap="square" lIns="137160" tIns="137160" rIns="137160" bIns="137160" rtlCol="0">
            <a:spAutoFit/>
          </a:bodyPr>
          <a:lstStyle/>
          <a:p>
            <a:r>
              <a:rPr lang="en-US" sz="2000" dirty="0">
                <a:latin typeface="Helvetica" pitchFamily="2" charset="0"/>
              </a:rPr>
              <a:t>View all identified issues</a:t>
            </a:r>
          </a:p>
        </p:txBody>
      </p:sp>
      <p:sp>
        <p:nvSpPr>
          <p:cNvPr id="27" name="TextBox 26">
            <a:extLst>
              <a:ext uri="{FF2B5EF4-FFF2-40B4-BE49-F238E27FC236}">
                <a16:creationId xmlns:a16="http://schemas.microsoft.com/office/drawing/2014/main" id="{CEABE2DE-DA02-2A81-7211-734A08D6E670}"/>
              </a:ext>
            </a:extLst>
          </p:cNvPr>
          <p:cNvSpPr txBox="1"/>
          <p:nvPr/>
        </p:nvSpPr>
        <p:spPr>
          <a:xfrm>
            <a:off x="10013997" y="1962807"/>
            <a:ext cx="2391751" cy="892552"/>
          </a:xfrm>
          <a:prstGeom prst="rect">
            <a:avLst/>
          </a:prstGeom>
          <a:noFill/>
        </p:spPr>
        <p:txBody>
          <a:bodyPr wrap="square" lIns="137160" tIns="137160" rIns="137160" bIns="137160" rtlCol="0">
            <a:spAutoFit/>
          </a:bodyPr>
          <a:lstStyle/>
          <a:p>
            <a:r>
              <a:rPr lang="en-US" sz="2000" dirty="0">
                <a:latin typeface="Helvetica" pitchFamily="2" charset="0"/>
              </a:rPr>
              <a:t>Most impactful change</a:t>
            </a:r>
          </a:p>
        </p:txBody>
      </p:sp>
      <p:sp>
        <p:nvSpPr>
          <p:cNvPr id="28" name="TextBox 27">
            <a:extLst>
              <a:ext uri="{FF2B5EF4-FFF2-40B4-BE49-F238E27FC236}">
                <a16:creationId xmlns:a16="http://schemas.microsoft.com/office/drawing/2014/main" id="{3F547C56-E669-A4F8-D2A8-0D5AA9C8A6B1}"/>
              </a:ext>
            </a:extLst>
          </p:cNvPr>
          <p:cNvSpPr txBox="1"/>
          <p:nvPr/>
        </p:nvSpPr>
        <p:spPr>
          <a:xfrm>
            <a:off x="10013997" y="2736062"/>
            <a:ext cx="2010311" cy="584775"/>
          </a:xfrm>
          <a:prstGeom prst="rect">
            <a:avLst/>
          </a:prstGeom>
          <a:noFill/>
        </p:spPr>
        <p:txBody>
          <a:bodyPr wrap="square" lIns="137160" tIns="137160" rIns="137160" bIns="137160" rtlCol="0">
            <a:spAutoFit/>
          </a:bodyPr>
          <a:lstStyle/>
          <a:p>
            <a:r>
              <a:rPr lang="en-US" sz="2000" dirty="0">
                <a:latin typeface="Helvetica" pitchFamily="2" charset="0"/>
              </a:rPr>
              <a:t>Documentation</a:t>
            </a:r>
          </a:p>
        </p:txBody>
      </p:sp>
      <p:sp>
        <p:nvSpPr>
          <p:cNvPr id="29" name="TextBox 28">
            <a:extLst>
              <a:ext uri="{FF2B5EF4-FFF2-40B4-BE49-F238E27FC236}">
                <a16:creationId xmlns:a16="http://schemas.microsoft.com/office/drawing/2014/main" id="{61492B0E-8CDF-EFC4-EC1F-D5471B7E8A34}"/>
              </a:ext>
            </a:extLst>
          </p:cNvPr>
          <p:cNvSpPr txBox="1"/>
          <p:nvPr/>
        </p:nvSpPr>
        <p:spPr>
          <a:xfrm>
            <a:off x="10049983" y="3331634"/>
            <a:ext cx="1827256" cy="892552"/>
          </a:xfrm>
          <a:prstGeom prst="rect">
            <a:avLst/>
          </a:prstGeom>
          <a:noFill/>
        </p:spPr>
        <p:txBody>
          <a:bodyPr wrap="square" lIns="137160" tIns="137160" rIns="137160" bIns="137160" rtlCol="0">
            <a:spAutoFit/>
          </a:bodyPr>
          <a:lstStyle/>
          <a:p>
            <a:r>
              <a:rPr lang="en-US" sz="2000" dirty="0">
                <a:latin typeface="Helvetica" pitchFamily="2" charset="0"/>
              </a:rPr>
              <a:t>Step-by-step guidance</a:t>
            </a:r>
          </a:p>
        </p:txBody>
      </p:sp>
      <p:sp>
        <p:nvSpPr>
          <p:cNvPr id="30" name="TextBox 29">
            <a:extLst>
              <a:ext uri="{FF2B5EF4-FFF2-40B4-BE49-F238E27FC236}">
                <a16:creationId xmlns:a16="http://schemas.microsoft.com/office/drawing/2014/main" id="{78C7B607-1CEA-1229-7CF6-6767423E84D4}"/>
              </a:ext>
            </a:extLst>
          </p:cNvPr>
          <p:cNvSpPr txBox="1"/>
          <p:nvPr/>
        </p:nvSpPr>
        <p:spPr>
          <a:xfrm>
            <a:off x="10049983" y="4206742"/>
            <a:ext cx="2223051" cy="584775"/>
          </a:xfrm>
          <a:prstGeom prst="rect">
            <a:avLst/>
          </a:prstGeom>
          <a:noFill/>
        </p:spPr>
        <p:txBody>
          <a:bodyPr wrap="square" lIns="137160" tIns="137160" rIns="137160" bIns="137160" rtlCol="0">
            <a:spAutoFit/>
          </a:bodyPr>
          <a:lstStyle/>
          <a:p>
            <a:r>
              <a:rPr lang="en-US" sz="2000" dirty="0">
                <a:latin typeface="Helvetica" pitchFamily="2" charset="0"/>
              </a:rPr>
              <a:t>Last Crawl Date</a:t>
            </a:r>
          </a:p>
        </p:txBody>
      </p:sp>
      <p:pic>
        <p:nvPicPr>
          <p:cNvPr id="31" name="Picture 30" descr="Icon&#10;&#10;This is the Ally Logo.&#10;A white A with a figure for the holes&#10;Two green L &#10;A blue Y with a figure and a little head">
            <a:extLst>
              <a:ext uri="{FF2B5EF4-FFF2-40B4-BE49-F238E27FC236}">
                <a16:creationId xmlns:a16="http://schemas.microsoft.com/office/drawing/2014/main" id="{0DC4721B-C125-B858-3A4E-2F9671FA9C82}"/>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89562" y="6179609"/>
            <a:ext cx="2285281" cy="684515"/>
          </a:xfrm>
          <a:prstGeom prst="rect">
            <a:avLst/>
          </a:prstGeom>
        </p:spPr>
      </p:pic>
      <p:cxnSp>
        <p:nvCxnSpPr>
          <p:cNvPr id="5" name="Straight Arrow Connector 4">
            <a:extLst>
              <a:ext uri="{FF2B5EF4-FFF2-40B4-BE49-F238E27FC236}">
                <a16:creationId xmlns:a16="http://schemas.microsoft.com/office/drawing/2014/main" id="{C58C076B-9CC2-B985-F969-A43BF29F2FD3}"/>
              </a:ext>
              <a:ext uri="{C183D7F6-B498-43B3-948B-1728B52AA6E4}">
                <adec:decorative xmlns:adec="http://schemas.microsoft.com/office/drawing/2017/decorative" val="1"/>
              </a:ext>
            </a:extLst>
          </p:cNvPr>
          <p:cNvCxnSpPr>
            <a:cxnSpLocks/>
          </p:cNvCxnSpPr>
          <p:nvPr/>
        </p:nvCxnSpPr>
        <p:spPr>
          <a:xfrm>
            <a:off x="1534204" y="2055349"/>
            <a:ext cx="1167432" cy="0"/>
          </a:xfrm>
          <a:prstGeom prst="straightConnector1">
            <a:avLst/>
          </a:prstGeom>
          <a:ln w="38100" cap="sq">
            <a:solidFill>
              <a:srgbClr val="00A700"/>
            </a:solidFill>
            <a:miter lim="800000"/>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6" name="Straight Arrow Connector 5">
            <a:extLst>
              <a:ext uri="{FF2B5EF4-FFF2-40B4-BE49-F238E27FC236}">
                <a16:creationId xmlns:a16="http://schemas.microsoft.com/office/drawing/2014/main" id="{6273E167-7B65-41D0-DFEF-A0A71857D016}"/>
              </a:ext>
              <a:ext uri="{C183D7F6-B498-43B3-948B-1728B52AA6E4}">
                <adec:decorative xmlns:adec="http://schemas.microsoft.com/office/drawing/2017/decorative" val="1"/>
              </a:ext>
            </a:extLst>
          </p:cNvPr>
          <p:cNvCxnSpPr>
            <a:cxnSpLocks/>
          </p:cNvCxnSpPr>
          <p:nvPr/>
        </p:nvCxnSpPr>
        <p:spPr>
          <a:xfrm>
            <a:off x="1534204" y="3429000"/>
            <a:ext cx="2181085" cy="0"/>
          </a:xfrm>
          <a:prstGeom prst="straightConnector1">
            <a:avLst/>
          </a:prstGeom>
          <a:ln w="38100" cap="sq">
            <a:solidFill>
              <a:srgbClr val="00A700"/>
            </a:solidFill>
            <a:miter lim="800000"/>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8" name="Straight Arrow Connector 7">
            <a:extLst>
              <a:ext uri="{FF2B5EF4-FFF2-40B4-BE49-F238E27FC236}">
                <a16:creationId xmlns:a16="http://schemas.microsoft.com/office/drawing/2014/main" id="{77C41E74-F717-C9F0-8F30-4BD06E0D352D}"/>
              </a:ext>
              <a:ext uri="{C183D7F6-B498-43B3-948B-1728B52AA6E4}">
                <adec:decorative xmlns:adec="http://schemas.microsoft.com/office/drawing/2017/decorative" val="1"/>
              </a:ext>
            </a:extLst>
          </p:cNvPr>
          <p:cNvCxnSpPr>
            <a:cxnSpLocks/>
            <a:stCxn id="25" idx="1"/>
          </p:cNvCxnSpPr>
          <p:nvPr/>
        </p:nvCxnSpPr>
        <p:spPr>
          <a:xfrm flipH="1">
            <a:off x="8548323" y="883499"/>
            <a:ext cx="1501660" cy="514732"/>
          </a:xfrm>
          <a:prstGeom prst="straightConnector1">
            <a:avLst/>
          </a:prstGeom>
          <a:ln w="38100" cap="sq">
            <a:solidFill>
              <a:srgbClr val="00A700"/>
            </a:solidFill>
            <a:miter lim="800000"/>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10" name="Straight Arrow Connector 9">
            <a:extLst>
              <a:ext uri="{FF2B5EF4-FFF2-40B4-BE49-F238E27FC236}">
                <a16:creationId xmlns:a16="http://schemas.microsoft.com/office/drawing/2014/main" id="{6F18B2CE-2B54-AC0E-7D1F-CBE91B62733E}"/>
              </a:ext>
              <a:ext uri="{C183D7F6-B498-43B3-948B-1728B52AA6E4}">
                <adec:decorative xmlns:adec="http://schemas.microsoft.com/office/drawing/2017/decorative" val="1"/>
              </a:ext>
            </a:extLst>
          </p:cNvPr>
          <p:cNvCxnSpPr>
            <a:cxnSpLocks/>
          </p:cNvCxnSpPr>
          <p:nvPr/>
        </p:nvCxnSpPr>
        <p:spPr>
          <a:xfrm flipH="1" flipV="1">
            <a:off x="9648199" y="1474674"/>
            <a:ext cx="390487" cy="3880"/>
          </a:xfrm>
          <a:prstGeom prst="straightConnector1">
            <a:avLst/>
          </a:prstGeom>
          <a:ln w="38100" cap="sq">
            <a:solidFill>
              <a:srgbClr val="00A700"/>
            </a:solidFill>
            <a:miter lim="800000"/>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19" name="Straight Arrow Connector 18">
            <a:extLst>
              <a:ext uri="{FF2B5EF4-FFF2-40B4-BE49-F238E27FC236}">
                <a16:creationId xmlns:a16="http://schemas.microsoft.com/office/drawing/2014/main" id="{CCD189DF-6E35-5D40-453C-96D465898F7D}"/>
              </a:ext>
              <a:ext uri="{C183D7F6-B498-43B3-948B-1728B52AA6E4}">
                <adec:decorative xmlns:adec="http://schemas.microsoft.com/office/drawing/2017/decorative" val="1"/>
              </a:ext>
            </a:extLst>
          </p:cNvPr>
          <p:cNvCxnSpPr>
            <a:cxnSpLocks/>
          </p:cNvCxnSpPr>
          <p:nvPr/>
        </p:nvCxnSpPr>
        <p:spPr>
          <a:xfrm flipH="1" flipV="1">
            <a:off x="9216736" y="1870364"/>
            <a:ext cx="833247" cy="406700"/>
          </a:xfrm>
          <a:prstGeom prst="straightConnector1">
            <a:avLst/>
          </a:prstGeom>
          <a:ln w="38100" cap="sq">
            <a:solidFill>
              <a:srgbClr val="00A700"/>
            </a:solidFill>
            <a:miter lim="800000"/>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92800732-3B96-8B21-173A-C76F81D5317E}"/>
              </a:ext>
              <a:ext uri="{C183D7F6-B498-43B3-948B-1728B52AA6E4}">
                <adec:decorative xmlns:adec="http://schemas.microsoft.com/office/drawing/2017/decorative" val="1"/>
              </a:ext>
            </a:extLst>
          </p:cNvPr>
          <p:cNvCxnSpPr>
            <a:cxnSpLocks/>
            <a:stCxn id="28" idx="1"/>
          </p:cNvCxnSpPr>
          <p:nvPr/>
        </p:nvCxnSpPr>
        <p:spPr>
          <a:xfrm flipH="1" flipV="1">
            <a:off x="8778146" y="2192618"/>
            <a:ext cx="1235851" cy="835832"/>
          </a:xfrm>
          <a:prstGeom prst="straightConnector1">
            <a:avLst/>
          </a:prstGeom>
          <a:ln w="38100" cap="sq">
            <a:solidFill>
              <a:srgbClr val="00A700"/>
            </a:solidFill>
            <a:miter lim="800000"/>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1" name="Straight Arrow Connector 20">
            <a:extLst>
              <a:ext uri="{FF2B5EF4-FFF2-40B4-BE49-F238E27FC236}">
                <a16:creationId xmlns:a16="http://schemas.microsoft.com/office/drawing/2014/main" id="{04997F6B-C00F-91E5-43E6-5B0C97A0850C}"/>
              </a:ext>
              <a:ext uri="{C183D7F6-B498-43B3-948B-1728B52AA6E4}">
                <adec:decorative xmlns:adec="http://schemas.microsoft.com/office/drawing/2017/decorative" val="1"/>
              </a:ext>
            </a:extLst>
          </p:cNvPr>
          <p:cNvCxnSpPr>
            <a:cxnSpLocks/>
            <a:stCxn id="29" idx="1"/>
          </p:cNvCxnSpPr>
          <p:nvPr/>
        </p:nvCxnSpPr>
        <p:spPr>
          <a:xfrm flipH="1" flipV="1">
            <a:off x="8778146" y="2505328"/>
            <a:ext cx="1271837" cy="1272582"/>
          </a:xfrm>
          <a:prstGeom prst="straightConnector1">
            <a:avLst/>
          </a:prstGeom>
          <a:ln w="38100" cap="sq">
            <a:solidFill>
              <a:srgbClr val="00A700"/>
            </a:solidFill>
            <a:miter lim="800000"/>
            <a:headEnd type="none" w="med" len="med"/>
            <a:tailEnd type="triangle"/>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E794437B-BD90-A450-EE12-7C9C1D84443D}"/>
              </a:ext>
              <a:ext uri="{C183D7F6-B498-43B3-948B-1728B52AA6E4}">
                <adec:decorative xmlns:adec="http://schemas.microsoft.com/office/drawing/2017/decorative" val="1"/>
              </a:ext>
            </a:extLst>
          </p:cNvPr>
          <p:cNvCxnSpPr>
            <a:cxnSpLocks/>
          </p:cNvCxnSpPr>
          <p:nvPr/>
        </p:nvCxnSpPr>
        <p:spPr>
          <a:xfrm flipH="1" flipV="1">
            <a:off x="8548323" y="3331634"/>
            <a:ext cx="1501660" cy="1146999"/>
          </a:xfrm>
          <a:prstGeom prst="straightConnector1">
            <a:avLst/>
          </a:prstGeom>
          <a:ln w="38100" cap="sq">
            <a:solidFill>
              <a:srgbClr val="00A700"/>
            </a:solidFill>
            <a:miter lim="800000"/>
            <a:headEnd type="none" w="med" len="med"/>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003063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porting</a:t>
            </a:r>
          </a:p>
        </p:txBody>
      </p:sp>
      <p:sp>
        <p:nvSpPr>
          <p:cNvPr id="15" name="Content Placeholder 14"/>
          <p:cNvSpPr>
            <a:spLocks noGrp="1"/>
          </p:cNvSpPr>
          <p:nvPr>
            <p:ph idx="1"/>
          </p:nvPr>
        </p:nvSpPr>
        <p:spPr>
          <a:xfrm>
            <a:off x="416817" y="1047364"/>
            <a:ext cx="5496299" cy="4678362"/>
          </a:xfrm>
        </p:spPr>
        <p:txBody>
          <a:bodyPr/>
          <a:lstStyle/>
          <a:p>
            <a:r>
              <a:rPr lang="en-US" dirty="0"/>
              <a:t>At the course level</a:t>
            </a:r>
          </a:p>
          <a:p>
            <a:pPr lvl="1"/>
            <a:r>
              <a:rPr lang="en-US" dirty="0"/>
              <a:t>Can be seen by the instructor</a:t>
            </a:r>
          </a:p>
          <a:p>
            <a:pPr lvl="1"/>
            <a:r>
              <a:rPr lang="en-US" dirty="0"/>
              <a:t>Number of files / content</a:t>
            </a:r>
          </a:p>
          <a:p>
            <a:pPr lvl="1"/>
            <a:r>
              <a:rPr lang="en-US" dirty="0"/>
              <a:t>Number of issues</a:t>
            </a:r>
          </a:p>
          <a:p>
            <a:pPr lvl="1"/>
            <a:r>
              <a:rPr lang="en-US" dirty="0"/>
              <a:t>AX score</a:t>
            </a:r>
          </a:p>
        </p:txBody>
      </p:sp>
      <p:pic>
        <p:nvPicPr>
          <p:cNvPr id="2052" name="Picture 4" descr="Screenshot of Ally's course-level reporting showing total accessibility issues within the course content">
            <a:extLst>
              <a:ext uri="{FF2B5EF4-FFF2-40B4-BE49-F238E27FC236}">
                <a16:creationId xmlns:a16="http://schemas.microsoft.com/office/drawing/2014/main" id="{D0D10787-3B92-A15F-FC64-5901E11C3A09}"/>
              </a:ext>
            </a:extLst>
          </p:cNvPr>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838125" y="3787412"/>
            <a:ext cx="3273435" cy="2313685"/>
          </a:xfrm>
          <a:prstGeom prst="rect">
            <a:avLst/>
          </a:prstGeom>
          <a:noFill/>
          <a:extLst>
            <a:ext uri="{909E8E84-426E-40DD-AFC4-6F175D3DCCD1}">
              <a14:hiddenFill xmlns:a14="http://schemas.microsoft.com/office/drawing/2010/main">
                <a:solidFill>
                  <a:srgbClr val="FFFFFF"/>
                </a:solidFill>
              </a14:hiddenFill>
            </a:ext>
          </a:extLst>
        </p:spPr>
      </p:pic>
      <p:sp>
        <p:nvSpPr>
          <p:cNvPr id="16" name="Content Placeholder 15"/>
          <p:cNvSpPr>
            <a:spLocks noGrp="1"/>
          </p:cNvSpPr>
          <p:nvPr>
            <p:ph idx="10"/>
          </p:nvPr>
        </p:nvSpPr>
        <p:spPr>
          <a:xfrm>
            <a:off x="6278874" y="929886"/>
            <a:ext cx="5496302" cy="4678362"/>
          </a:xfrm>
        </p:spPr>
        <p:txBody>
          <a:bodyPr/>
          <a:lstStyle/>
          <a:p>
            <a:r>
              <a:rPr lang="en-US" dirty="0"/>
              <a:t>At the institution level</a:t>
            </a:r>
          </a:p>
          <a:p>
            <a:pPr lvl="1"/>
            <a:r>
              <a:rPr lang="en-US" dirty="0"/>
              <a:t>At department / domain levels</a:t>
            </a:r>
          </a:p>
          <a:p>
            <a:pPr lvl="2"/>
            <a:r>
              <a:rPr lang="en-US" dirty="0"/>
              <a:t>Number of files/content</a:t>
            </a:r>
          </a:p>
          <a:p>
            <a:pPr lvl="2"/>
            <a:r>
              <a:rPr lang="en-US" dirty="0"/>
              <a:t>Number of issues</a:t>
            </a:r>
          </a:p>
          <a:p>
            <a:pPr lvl="2"/>
            <a:r>
              <a:rPr lang="en-US" dirty="0"/>
              <a:t>AX score</a:t>
            </a:r>
          </a:p>
          <a:p>
            <a:pPr lvl="1"/>
            <a:r>
              <a:rPr lang="en-US" dirty="0"/>
              <a:t>List of courses (LMS Version)</a:t>
            </a:r>
          </a:p>
          <a:p>
            <a:pPr lvl="2"/>
            <a:r>
              <a:rPr lang="en-US" dirty="0"/>
              <a:t>Number of Students</a:t>
            </a:r>
          </a:p>
          <a:p>
            <a:pPr lvl="2"/>
            <a:r>
              <a:rPr lang="en-US" dirty="0"/>
              <a:t>Number of Files</a:t>
            </a:r>
          </a:p>
          <a:p>
            <a:pPr lvl="2"/>
            <a:r>
              <a:rPr lang="en-US" dirty="0"/>
              <a:t>AX score</a:t>
            </a:r>
          </a:p>
          <a:p>
            <a:pPr lvl="1"/>
            <a:r>
              <a:rPr lang="en-US" dirty="0"/>
              <a:t>Usage</a:t>
            </a:r>
          </a:p>
          <a:p>
            <a:pPr lvl="2"/>
            <a:r>
              <a:rPr lang="en-US" dirty="0"/>
              <a:t>Alternative Format Launches</a:t>
            </a:r>
          </a:p>
        </p:txBody>
      </p:sp>
      <p:pic>
        <p:nvPicPr>
          <p:cNvPr id="3" name="Picture 2" descr="Icon&#10;&#10;This is the Ally Logo.&#10;A white A with a figure for the holes&#10;Two green L &#10;A blue Y with a figure and a little head">
            <a:extLst>
              <a:ext uri="{FF2B5EF4-FFF2-40B4-BE49-F238E27FC236}">
                <a16:creationId xmlns:a16="http://schemas.microsoft.com/office/drawing/2014/main" id="{575585F7-D6C5-6AA0-1593-7E0776A6A8E5}"/>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89562" y="6179609"/>
            <a:ext cx="2285281" cy="684515"/>
          </a:xfrm>
          <a:prstGeom prst="rect">
            <a:avLst/>
          </a:prstGeom>
        </p:spPr>
      </p:pic>
    </p:spTree>
    <p:extLst>
      <p:ext uri="{BB962C8B-B14F-4D97-AF65-F5344CB8AC3E}">
        <p14:creationId xmlns:p14="http://schemas.microsoft.com/office/powerpoint/2010/main" val="3932490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xit" presetSubtype="0" fill="hold" grpId="0" nodeType="withEffect">
                                  <p:stCondLst>
                                    <p:cond delay="0"/>
                                  </p:stCondLst>
                                  <p:childTnLst>
                                    <p:set>
                                      <p:cBhvr>
                                        <p:cTn id="6" dur="1" fill="hold">
                                          <p:stCondLst>
                                            <p:cond delay="0"/>
                                          </p:stCondLst>
                                        </p:cTn>
                                        <p:tgtEl>
                                          <p:spTgt spid="16">
                                            <p:txEl>
                                              <p:pRg st="0" end="0"/>
                                            </p:txEl>
                                          </p:spTgt>
                                        </p:tgtEl>
                                        <p:attrNameLst>
                                          <p:attrName>style.visibility</p:attrName>
                                        </p:attrNameLst>
                                      </p:cBhvr>
                                      <p:to>
                                        <p:strVal val="hidden"/>
                                      </p:to>
                                    </p:set>
                                  </p:childTnLst>
                                </p:cTn>
                              </p:par>
                              <p:par>
                                <p:cTn id="7" presetID="1" presetClass="exit" presetSubtype="0" fill="hold" grpId="0" nodeType="withEffect">
                                  <p:stCondLst>
                                    <p:cond delay="0"/>
                                  </p:stCondLst>
                                  <p:childTnLst>
                                    <p:set>
                                      <p:cBhvr>
                                        <p:cTn id="8" dur="1" fill="hold">
                                          <p:stCondLst>
                                            <p:cond delay="0"/>
                                          </p:stCondLst>
                                        </p:cTn>
                                        <p:tgtEl>
                                          <p:spTgt spid="16">
                                            <p:txEl>
                                              <p:pRg st="1" end="1"/>
                                            </p:txEl>
                                          </p:spTgt>
                                        </p:tgtEl>
                                        <p:attrNameLst>
                                          <p:attrName>style.visibility</p:attrName>
                                        </p:attrNameLst>
                                      </p:cBhvr>
                                      <p:to>
                                        <p:strVal val="hidden"/>
                                      </p:to>
                                    </p:set>
                                  </p:childTnLst>
                                </p:cTn>
                              </p:par>
                              <p:par>
                                <p:cTn id="9" presetID="1" presetClass="exit" presetSubtype="0" fill="hold" grpId="0" nodeType="withEffect">
                                  <p:stCondLst>
                                    <p:cond delay="0"/>
                                  </p:stCondLst>
                                  <p:childTnLst>
                                    <p:set>
                                      <p:cBhvr>
                                        <p:cTn id="10" dur="1" fill="hold">
                                          <p:stCondLst>
                                            <p:cond delay="0"/>
                                          </p:stCondLst>
                                        </p:cTn>
                                        <p:tgtEl>
                                          <p:spTgt spid="16">
                                            <p:txEl>
                                              <p:pRg st="2" end="2"/>
                                            </p:txEl>
                                          </p:spTgt>
                                        </p:tgtEl>
                                        <p:attrNameLst>
                                          <p:attrName>style.visibility</p:attrName>
                                        </p:attrNameLst>
                                      </p:cBhvr>
                                      <p:to>
                                        <p:strVal val="hidden"/>
                                      </p:to>
                                    </p:set>
                                  </p:childTnLst>
                                </p:cTn>
                              </p:par>
                              <p:par>
                                <p:cTn id="11" presetID="1" presetClass="exit" presetSubtype="0" fill="hold" grpId="0" nodeType="withEffect">
                                  <p:stCondLst>
                                    <p:cond delay="0"/>
                                  </p:stCondLst>
                                  <p:childTnLst>
                                    <p:set>
                                      <p:cBhvr>
                                        <p:cTn id="12" dur="1" fill="hold">
                                          <p:stCondLst>
                                            <p:cond delay="0"/>
                                          </p:stCondLst>
                                        </p:cTn>
                                        <p:tgtEl>
                                          <p:spTgt spid="16">
                                            <p:txEl>
                                              <p:pRg st="3" end="3"/>
                                            </p:txEl>
                                          </p:spTgt>
                                        </p:tgtEl>
                                        <p:attrNameLst>
                                          <p:attrName>style.visibility</p:attrName>
                                        </p:attrNameLst>
                                      </p:cBhvr>
                                      <p:to>
                                        <p:strVal val="hidden"/>
                                      </p:to>
                                    </p:set>
                                  </p:childTnLst>
                                </p:cTn>
                              </p:par>
                              <p:par>
                                <p:cTn id="13" presetID="1" presetClass="exit" presetSubtype="0" fill="hold" grpId="0" nodeType="withEffect">
                                  <p:stCondLst>
                                    <p:cond delay="0"/>
                                  </p:stCondLst>
                                  <p:childTnLst>
                                    <p:set>
                                      <p:cBhvr>
                                        <p:cTn id="14" dur="1" fill="hold">
                                          <p:stCondLst>
                                            <p:cond delay="0"/>
                                          </p:stCondLst>
                                        </p:cTn>
                                        <p:tgtEl>
                                          <p:spTgt spid="16">
                                            <p:txEl>
                                              <p:pRg st="4" end="4"/>
                                            </p:txEl>
                                          </p:spTgt>
                                        </p:tgtEl>
                                        <p:attrNameLst>
                                          <p:attrName>style.visibility</p:attrName>
                                        </p:attrNameLst>
                                      </p:cBhvr>
                                      <p:to>
                                        <p:strVal val="hidden"/>
                                      </p:to>
                                    </p:set>
                                  </p:childTnLst>
                                </p:cTn>
                              </p:par>
                              <p:par>
                                <p:cTn id="15" presetID="1" presetClass="exit" presetSubtype="0" fill="hold" grpId="0" nodeType="withEffect">
                                  <p:stCondLst>
                                    <p:cond delay="0"/>
                                  </p:stCondLst>
                                  <p:childTnLst>
                                    <p:set>
                                      <p:cBhvr>
                                        <p:cTn id="16" dur="1" fill="hold">
                                          <p:stCondLst>
                                            <p:cond delay="0"/>
                                          </p:stCondLst>
                                        </p:cTn>
                                        <p:tgtEl>
                                          <p:spTgt spid="16">
                                            <p:txEl>
                                              <p:pRg st="5" end="5"/>
                                            </p:txEl>
                                          </p:spTgt>
                                        </p:tgtEl>
                                        <p:attrNameLst>
                                          <p:attrName>style.visibility</p:attrName>
                                        </p:attrNameLst>
                                      </p:cBhvr>
                                      <p:to>
                                        <p:strVal val="hidden"/>
                                      </p:to>
                                    </p:set>
                                  </p:childTnLst>
                                </p:cTn>
                              </p:par>
                              <p:par>
                                <p:cTn id="17" presetID="1" presetClass="exit" presetSubtype="0" fill="hold" grpId="0" nodeType="withEffect">
                                  <p:stCondLst>
                                    <p:cond delay="0"/>
                                  </p:stCondLst>
                                  <p:childTnLst>
                                    <p:set>
                                      <p:cBhvr>
                                        <p:cTn id="18" dur="1" fill="hold">
                                          <p:stCondLst>
                                            <p:cond delay="0"/>
                                          </p:stCondLst>
                                        </p:cTn>
                                        <p:tgtEl>
                                          <p:spTgt spid="16">
                                            <p:txEl>
                                              <p:pRg st="6" end="6"/>
                                            </p:txEl>
                                          </p:spTgt>
                                        </p:tgtEl>
                                        <p:attrNameLst>
                                          <p:attrName>style.visibility</p:attrName>
                                        </p:attrNameLst>
                                      </p:cBhvr>
                                      <p:to>
                                        <p:strVal val="hidden"/>
                                      </p:to>
                                    </p:set>
                                  </p:childTnLst>
                                </p:cTn>
                              </p:par>
                              <p:par>
                                <p:cTn id="19" presetID="1" presetClass="exit" presetSubtype="0" fill="hold" grpId="0" nodeType="withEffect">
                                  <p:stCondLst>
                                    <p:cond delay="0"/>
                                  </p:stCondLst>
                                  <p:childTnLst>
                                    <p:set>
                                      <p:cBhvr>
                                        <p:cTn id="20" dur="1" fill="hold">
                                          <p:stCondLst>
                                            <p:cond delay="0"/>
                                          </p:stCondLst>
                                        </p:cTn>
                                        <p:tgtEl>
                                          <p:spTgt spid="16">
                                            <p:txEl>
                                              <p:pRg st="7" end="7"/>
                                            </p:txEl>
                                          </p:spTgt>
                                        </p:tgtEl>
                                        <p:attrNameLst>
                                          <p:attrName>style.visibility</p:attrName>
                                        </p:attrNameLst>
                                      </p:cBhvr>
                                      <p:to>
                                        <p:strVal val="hidden"/>
                                      </p:to>
                                    </p:set>
                                  </p:childTnLst>
                                </p:cTn>
                              </p:par>
                              <p:par>
                                <p:cTn id="21" presetID="1" presetClass="exit" presetSubtype="0" fill="hold" grpId="0" nodeType="withEffect">
                                  <p:stCondLst>
                                    <p:cond delay="0"/>
                                  </p:stCondLst>
                                  <p:childTnLst>
                                    <p:set>
                                      <p:cBhvr>
                                        <p:cTn id="22" dur="1" fill="hold">
                                          <p:stCondLst>
                                            <p:cond delay="0"/>
                                          </p:stCondLst>
                                        </p:cTn>
                                        <p:tgtEl>
                                          <p:spTgt spid="16">
                                            <p:txEl>
                                              <p:pRg st="8" end="8"/>
                                            </p:txEl>
                                          </p:spTgt>
                                        </p:tgtEl>
                                        <p:attrNameLst>
                                          <p:attrName>style.visibility</p:attrName>
                                        </p:attrNameLst>
                                      </p:cBhvr>
                                      <p:to>
                                        <p:strVal val="hidden"/>
                                      </p:to>
                                    </p:set>
                                  </p:childTnLst>
                                </p:cTn>
                              </p:par>
                              <p:par>
                                <p:cTn id="23" presetID="1" presetClass="exit" presetSubtype="0" fill="hold" grpId="0" nodeType="withEffect">
                                  <p:stCondLst>
                                    <p:cond delay="0"/>
                                  </p:stCondLst>
                                  <p:childTnLst>
                                    <p:set>
                                      <p:cBhvr>
                                        <p:cTn id="24" dur="1" fill="hold">
                                          <p:stCondLst>
                                            <p:cond delay="0"/>
                                          </p:stCondLst>
                                        </p:cTn>
                                        <p:tgtEl>
                                          <p:spTgt spid="16">
                                            <p:txEl>
                                              <p:pRg st="9" end="9"/>
                                            </p:txEl>
                                          </p:spTgt>
                                        </p:tgtEl>
                                        <p:attrNameLst>
                                          <p:attrName>style.visibility</p:attrName>
                                        </p:attrNameLst>
                                      </p:cBhvr>
                                      <p:to>
                                        <p:strVal val="hidden"/>
                                      </p:to>
                                    </p:set>
                                  </p:childTnLst>
                                </p:cTn>
                              </p:par>
                              <p:par>
                                <p:cTn id="25" presetID="1" presetClass="exit" presetSubtype="0" fill="hold" grpId="0" nodeType="withEffect">
                                  <p:stCondLst>
                                    <p:cond delay="0"/>
                                  </p:stCondLst>
                                  <p:childTnLst>
                                    <p:set>
                                      <p:cBhvr>
                                        <p:cTn id="26" dur="1" fill="hold">
                                          <p:stCondLst>
                                            <p:cond delay="0"/>
                                          </p:stCondLst>
                                        </p:cTn>
                                        <p:tgtEl>
                                          <p:spTgt spid="16">
                                            <p:txEl>
                                              <p:pRg st="10" end="10"/>
                                            </p:txEl>
                                          </p:spTgt>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C5F58EAD-68D6-69FE-6DBB-335C7BCB03B3}"/>
              </a:ext>
            </a:extLst>
          </p:cNvPr>
          <p:cNvSpPr>
            <a:spLocks noGrp="1"/>
          </p:cNvSpPr>
          <p:nvPr>
            <p:ph type="title"/>
          </p:nvPr>
        </p:nvSpPr>
        <p:spPr/>
        <p:txBody>
          <a:bodyPr/>
          <a:lstStyle/>
          <a:p>
            <a:r>
              <a:rPr lang="en-GB" b="1">
                <a:latin typeface="+mn-lt"/>
              </a:rPr>
              <a:t>Demonstration </a:t>
            </a:r>
            <a:endParaRPr lang="en-US" b="1">
              <a:latin typeface="+mn-lt"/>
            </a:endParaRPr>
          </a:p>
        </p:txBody>
      </p:sp>
    </p:spTree>
    <p:extLst>
      <p:ext uri="{BB962C8B-B14F-4D97-AF65-F5344CB8AC3E}">
        <p14:creationId xmlns:p14="http://schemas.microsoft.com/office/powerpoint/2010/main" val="3630785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Using Ally VS What Ally checks</a:t>
            </a:r>
          </a:p>
        </p:txBody>
      </p:sp>
      <p:sp>
        <p:nvSpPr>
          <p:cNvPr id="15" name="Content Placeholder 14"/>
          <p:cNvSpPr>
            <a:spLocks noGrp="1"/>
          </p:cNvSpPr>
          <p:nvPr>
            <p:ph idx="1"/>
          </p:nvPr>
        </p:nvSpPr>
        <p:spPr/>
        <p:txBody>
          <a:bodyPr/>
          <a:lstStyle/>
          <a:p>
            <a:r>
              <a:rPr lang="en-US"/>
              <a:t>Ally needs to be assessed also</a:t>
            </a:r>
          </a:p>
          <a:p>
            <a:pPr lvl="1"/>
            <a:r>
              <a:rPr lang="en-US"/>
              <a:t>It is a web application</a:t>
            </a:r>
          </a:p>
          <a:p>
            <a:pPr lvl="1"/>
            <a:r>
              <a:rPr lang="en-US"/>
              <a:t>Users with disabilities must be able to use Ally</a:t>
            </a:r>
          </a:p>
          <a:p>
            <a:pPr lvl="1"/>
            <a:r>
              <a:rPr lang="en-US"/>
              <a:t>How are we assessed?</a:t>
            </a:r>
          </a:p>
          <a:p>
            <a:pPr lvl="2"/>
            <a:r>
              <a:rPr lang="en-US"/>
              <a:t>VPAT (Voluntary Product Accessibility Template)</a:t>
            </a:r>
          </a:p>
          <a:p>
            <a:pPr lvl="2"/>
            <a:r>
              <a:rPr lang="en-US"/>
              <a:t>Level of compliance of a software</a:t>
            </a:r>
          </a:p>
        </p:txBody>
      </p:sp>
      <p:sp>
        <p:nvSpPr>
          <p:cNvPr id="16" name="Content Placeholder 15"/>
          <p:cNvSpPr>
            <a:spLocks noGrp="1"/>
          </p:cNvSpPr>
          <p:nvPr>
            <p:ph idx="10"/>
          </p:nvPr>
        </p:nvSpPr>
        <p:spPr/>
        <p:txBody>
          <a:bodyPr/>
          <a:lstStyle/>
          <a:p>
            <a:r>
              <a:rPr lang="en-US" dirty="0"/>
              <a:t>What Ally checks in LMS content</a:t>
            </a:r>
          </a:p>
          <a:p>
            <a:pPr lvl="1"/>
            <a:r>
              <a:rPr lang="en-US" dirty="0"/>
              <a:t>WCAG 2.1 (Web Content Accessibility Guidelines)</a:t>
            </a:r>
          </a:p>
          <a:p>
            <a:pPr lvl="1"/>
            <a:r>
              <a:rPr lang="en-US" dirty="0"/>
              <a:t>Is divided into three levels</a:t>
            </a:r>
          </a:p>
          <a:p>
            <a:pPr lvl="2"/>
            <a:r>
              <a:rPr lang="en-US" dirty="0"/>
              <a:t>A</a:t>
            </a:r>
          </a:p>
          <a:p>
            <a:pPr lvl="2"/>
            <a:r>
              <a:rPr lang="en-US" dirty="0"/>
              <a:t>AA</a:t>
            </a:r>
          </a:p>
          <a:p>
            <a:pPr lvl="2"/>
            <a:r>
              <a:rPr lang="en-US" dirty="0"/>
              <a:t>AAA</a:t>
            </a:r>
          </a:p>
          <a:p>
            <a:pPr lvl="1"/>
            <a:r>
              <a:rPr lang="en-US" dirty="0"/>
              <a:t>Ally looks for AA checks</a:t>
            </a:r>
          </a:p>
          <a:p>
            <a:pPr lvl="1"/>
            <a:r>
              <a:rPr lang="en-US" dirty="0"/>
              <a:t>It does not contain ALL checks</a:t>
            </a:r>
          </a:p>
          <a:p>
            <a:pPr lvl="2"/>
            <a:r>
              <a:rPr lang="en-US" dirty="0"/>
              <a:t>We are continuously including more checks and guidelines</a:t>
            </a:r>
          </a:p>
        </p:txBody>
      </p:sp>
      <p:pic>
        <p:nvPicPr>
          <p:cNvPr id="3" name="Picture 2" descr="Icon&#10;&#10;This is the Ally Logo.&#10;A white A with a figure for the holes&#10;Two green L &#10;A blue Y with a figure and a little head">
            <a:extLst>
              <a:ext uri="{FF2B5EF4-FFF2-40B4-BE49-F238E27FC236}">
                <a16:creationId xmlns:a16="http://schemas.microsoft.com/office/drawing/2014/main" id="{EC9FB50E-DF59-EBB8-41FE-C0B8C9ADAA22}"/>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89562" y="6179609"/>
            <a:ext cx="2285281" cy="684515"/>
          </a:xfrm>
          <a:prstGeom prst="rect">
            <a:avLst/>
          </a:prstGeom>
        </p:spPr>
      </p:pic>
    </p:spTree>
    <p:extLst>
      <p:ext uri="{BB962C8B-B14F-4D97-AF65-F5344CB8AC3E}">
        <p14:creationId xmlns:p14="http://schemas.microsoft.com/office/powerpoint/2010/main" val="10783348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2A4984-E219-3B40-B14A-8C2C3B0C4A0C}"/>
              </a:ext>
            </a:extLst>
          </p:cNvPr>
          <p:cNvSpPr>
            <a:spLocks noGrp="1"/>
          </p:cNvSpPr>
          <p:nvPr>
            <p:ph type="title"/>
          </p:nvPr>
        </p:nvSpPr>
        <p:spPr>
          <a:xfrm>
            <a:off x="685800" y="291162"/>
            <a:ext cx="10789920" cy="1080438"/>
          </a:xfrm>
        </p:spPr>
        <p:txBody>
          <a:bodyPr/>
          <a:lstStyle/>
          <a:p>
            <a:r>
              <a:rPr lang="en-US"/>
              <a:t>About Anthology</a:t>
            </a:r>
          </a:p>
        </p:txBody>
      </p:sp>
      <p:sp>
        <p:nvSpPr>
          <p:cNvPr id="8" name="Rectangle 7">
            <a:extLst>
              <a:ext uri="{FF2B5EF4-FFF2-40B4-BE49-F238E27FC236}">
                <a16:creationId xmlns:a16="http://schemas.microsoft.com/office/drawing/2014/main" id="{CB003BFD-9195-4ACF-9961-8372CC0518A8}"/>
              </a:ext>
              <a:ext uri="{C183D7F6-B498-43B3-948B-1728B52AA6E4}">
                <adec:decorative xmlns:adec="http://schemas.microsoft.com/office/drawing/2017/decorative" val="1"/>
              </a:ext>
            </a:extLst>
          </p:cNvPr>
          <p:cNvSpPr/>
          <p:nvPr/>
        </p:nvSpPr>
        <p:spPr>
          <a:xfrm>
            <a:off x="685799" y="1600199"/>
            <a:ext cx="6901176" cy="444341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2880" rIns="0" bIns="182880" rtlCol="0" anchor="t"/>
          <a:lstStyle/>
          <a:p>
            <a:pPr defTabSz="1218072">
              <a:lnSpc>
                <a:spcPct val="125000"/>
              </a:lnSpc>
              <a:spcAft>
                <a:spcPts val="1800"/>
              </a:spcAft>
            </a:pPr>
            <a:r>
              <a:rPr lang="en-US" sz="2000" kern="0" dirty="0">
                <a:solidFill>
                  <a:schemeClr val="tx1"/>
                </a:solidFill>
              </a:rPr>
              <a:t>Anthology offers the largest EdTech ecosystem on a global scale, supporting over 150 million users in 80 countries. </a:t>
            </a:r>
          </a:p>
          <a:p>
            <a:pPr defTabSz="1218072">
              <a:lnSpc>
                <a:spcPct val="125000"/>
              </a:lnSpc>
              <a:spcAft>
                <a:spcPts val="1800"/>
              </a:spcAft>
            </a:pPr>
            <a:r>
              <a:rPr lang="en-US" sz="2000" kern="0" dirty="0">
                <a:solidFill>
                  <a:schemeClr val="tx1"/>
                </a:solidFill>
              </a:rPr>
              <a:t>Through over 60 SaaS products and services, Anthology advances learning in partnership with K-12, higher education, business and government institutions. </a:t>
            </a:r>
          </a:p>
          <a:p>
            <a:pPr defTabSz="1218072">
              <a:lnSpc>
                <a:spcPct val="125000"/>
              </a:lnSpc>
              <a:spcAft>
                <a:spcPts val="1800"/>
              </a:spcAft>
            </a:pPr>
            <a:r>
              <a:rPr lang="en-US" sz="2000" kern="0" dirty="0">
                <a:solidFill>
                  <a:schemeClr val="tx1"/>
                </a:solidFill>
              </a:rPr>
              <a:t>Tapping into this unmatched portfolio of solutions, only Anthology can leverage data from across the EdTech ecosystem to create intelligent experiences that lead </a:t>
            </a:r>
            <a:br>
              <a:rPr lang="en-US" sz="2000" kern="0" dirty="0">
                <a:solidFill>
                  <a:schemeClr val="tx1"/>
                </a:solidFill>
              </a:rPr>
            </a:br>
            <a:r>
              <a:rPr lang="en-US" sz="2000" kern="0" dirty="0">
                <a:solidFill>
                  <a:schemeClr val="tx1"/>
                </a:solidFill>
              </a:rPr>
              <a:t>to better outcomes. </a:t>
            </a:r>
          </a:p>
        </p:txBody>
      </p:sp>
      <p:sp>
        <p:nvSpPr>
          <p:cNvPr id="18" name="Rectangle 17">
            <a:extLst>
              <a:ext uri="{FF2B5EF4-FFF2-40B4-BE49-F238E27FC236}">
                <a16:creationId xmlns:a16="http://schemas.microsoft.com/office/drawing/2014/main" id="{2F318564-CAE6-42D3-9BE4-DA4569F0B797}"/>
              </a:ext>
            </a:extLst>
          </p:cNvPr>
          <p:cNvSpPr/>
          <p:nvPr/>
        </p:nvSpPr>
        <p:spPr>
          <a:xfrm>
            <a:off x="8272777" y="1600200"/>
            <a:ext cx="3233423" cy="130672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1218072">
              <a:spcAft>
                <a:spcPts val="799"/>
              </a:spcAft>
            </a:pPr>
            <a:r>
              <a:rPr lang="en-US" sz="3600" kern="0" dirty="0">
                <a:solidFill>
                  <a:schemeClr val="tx1"/>
                </a:solidFill>
                <a:latin typeface="+mj-lt"/>
              </a:rPr>
              <a:t>150M+</a:t>
            </a:r>
          </a:p>
          <a:p>
            <a:pPr defTabSz="1218072">
              <a:spcAft>
                <a:spcPts val="799"/>
              </a:spcAft>
            </a:pPr>
            <a:r>
              <a:rPr lang="en-US" sz="1600" kern="0" dirty="0">
                <a:solidFill>
                  <a:schemeClr val="tx1"/>
                </a:solidFill>
              </a:rPr>
              <a:t>users</a:t>
            </a:r>
          </a:p>
        </p:txBody>
      </p:sp>
      <p:sp>
        <p:nvSpPr>
          <p:cNvPr id="23" name="Rectangle 22">
            <a:extLst>
              <a:ext uri="{FF2B5EF4-FFF2-40B4-BE49-F238E27FC236}">
                <a16:creationId xmlns:a16="http://schemas.microsoft.com/office/drawing/2014/main" id="{6AD0346C-5255-427C-8A4F-4A8B714115C2}"/>
              </a:ext>
              <a:ext uri="{C183D7F6-B498-43B3-948B-1728B52AA6E4}">
                <adec:decorative xmlns:adec="http://schemas.microsoft.com/office/drawing/2017/decorative" val="1"/>
              </a:ext>
            </a:extLst>
          </p:cNvPr>
          <p:cNvSpPr/>
          <p:nvPr/>
        </p:nvSpPr>
        <p:spPr>
          <a:xfrm>
            <a:off x="8272777" y="3083454"/>
            <a:ext cx="3233423" cy="130672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1218072">
              <a:spcAft>
                <a:spcPts val="799"/>
              </a:spcAft>
            </a:pPr>
            <a:r>
              <a:rPr lang="en-US" sz="3600" kern="0">
                <a:solidFill>
                  <a:schemeClr val="tx1"/>
                </a:solidFill>
                <a:latin typeface="+mj-lt"/>
              </a:rPr>
              <a:t>80+</a:t>
            </a:r>
          </a:p>
          <a:p>
            <a:pPr defTabSz="1218072">
              <a:spcAft>
                <a:spcPts val="799"/>
              </a:spcAft>
            </a:pPr>
            <a:r>
              <a:rPr lang="en-US" sz="1600" kern="0">
                <a:solidFill>
                  <a:schemeClr val="tx1"/>
                </a:solidFill>
              </a:rPr>
              <a:t>countries</a:t>
            </a:r>
          </a:p>
        </p:txBody>
      </p:sp>
      <p:sp>
        <p:nvSpPr>
          <p:cNvPr id="24" name="Rectangle 23">
            <a:extLst>
              <a:ext uri="{FF2B5EF4-FFF2-40B4-BE49-F238E27FC236}">
                <a16:creationId xmlns:a16="http://schemas.microsoft.com/office/drawing/2014/main" id="{34F1F491-7649-4BCD-A2D6-3403162A6618}"/>
              </a:ext>
              <a:ext uri="{C183D7F6-B498-43B3-948B-1728B52AA6E4}">
                <adec:decorative xmlns:adec="http://schemas.microsoft.com/office/drawing/2017/decorative" val="1"/>
              </a:ext>
            </a:extLst>
          </p:cNvPr>
          <p:cNvSpPr/>
          <p:nvPr/>
        </p:nvSpPr>
        <p:spPr>
          <a:xfrm>
            <a:off x="8272777" y="4571681"/>
            <a:ext cx="3233423" cy="1306722"/>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defTabSz="1218072">
              <a:spcAft>
                <a:spcPts val="799"/>
              </a:spcAft>
            </a:pPr>
            <a:r>
              <a:rPr lang="en-US" sz="3600" kern="0" dirty="0">
                <a:solidFill>
                  <a:schemeClr val="tx1"/>
                </a:solidFill>
                <a:latin typeface="+mj-lt"/>
              </a:rPr>
              <a:t>60+</a:t>
            </a:r>
          </a:p>
          <a:p>
            <a:pPr defTabSz="1218072">
              <a:spcAft>
                <a:spcPts val="799"/>
              </a:spcAft>
            </a:pPr>
            <a:r>
              <a:rPr lang="en-US" sz="1600" kern="0" dirty="0">
                <a:solidFill>
                  <a:schemeClr val="tx1"/>
                </a:solidFill>
              </a:rPr>
              <a:t>SaaS products</a:t>
            </a:r>
          </a:p>
        </p:txBody>
      </p:sp>
      <p:sp>
        <p:nvSpPr>
          <p:cNvPr id="28" name="Freeform 678">
            <a:extLst>
              <a:ext uri="{FF2B5EF4-FFF2-40B4-BE49-F238E27FC236}">
                <a16:creationId xmlns:a16="http://schemas.microsoft.com/office/drawing/2014/main" id="{42207B99-5393-4C28-956C-E64A12ACCBD6}"/>
              </a:ext>
              <a:ext uri="{C183D7F6-B498-43B3-948B-1728B52AA6E4}">
                <adec:decorative xmlns:adec="http://schemas.microsoft.com/office/drawing/2017/decorative" val="1"/>
              </a:ext>
            </a:extLst>
          </p:cNvPr>
          <p:cNvSpPr>
            <a:spLocks noChangeAspect="1" noEditPoints="1"/>
          </p:cNvSpPr>
          <p:nvPr/>
        </p:nvSpPr>
        <p:spPr bwMode="auto">
          <a:xfrm>
            <a:off x="10825262" y="2170957"/>
            <a:ext cx="498058" cy="548640"/>
          </a:xfrm>
          <a:custGeom>
            <a:avLst/>
            <a:gdLst>
              <a:gd name="T0" fmla="*/ 5860 w 5890"/>
              <a:gd name="T1" fmla="*/ 5484 h 6486"/>
              <a:gd name="T2" fmla="*/ 5204 w 5890"/>
              <a:gd name="T3" fmla="*/ 3325 h 6486"/>
              <a:gd name="T4" fmla="*/ 4917 w 5890"/>
              <a:gd name="T5" fmla="*/ 2961 h 6486"/>
              <a:gd name="T6" fmla="*/ 3542 w 5890"/>
              <a:gd name="T7" fmla="*/ 2450 h 6486"/>
              <a:gd name="T8" fmla="*/ 3839 w 5890"/>
              <a:gd name="T9" fmla="*/ 1942 h 6486"/>
              <a:gd name="T10" fmla="*/ 4116 w 5890"/>
              <a:gd name="T11" fmla="*/ 1678 h 6486"/>
              <a:gd name="T12" fmla="*/ 4128 w 5890"/>
              <a:gd name="T13" fmla="*/ 983 h 6486"/>
              <a:gd name="T14" fmla="*/ 3884 w 5890"/>
              <a:gd name="T15" fmla="*/ 464 h 6486"/>
              <a:gd name="T16" fmla="*/ 3465 w 5890"/>
              <a:gd name="T17" fmla="*/ 120 h 6486"/>
              <a:gd name="T18" fmla="*/ 2945 w 5890"/>
              <a:gd name="T19" fmla="*/ 0 h 6486"/>
              <a:gd name="T20" fmla="*/ 2399 w 5890"/>
              <a:gd name="T21" fmla="*/ 134 h 6486"/>
              <a:gd name="T22" fmla="*/ 1986 w 5890"/>
              <a:gd name="T23" fmla="*/ 488 h 6486"/>
              <a:gd name="T24" fmla="*/ 1756 w 5890"/>
              <a:gd name="T25" fmla="*/ 1013 h 6486"/>
              <a:gd name="T26" fmla="*/ 1780 w 5890"/>
              <a:gd name="T27" fmla="*/ 1694 h 6486"/>
              <a:gd name="T28" fmla="*/ 2097 w 5890"/>
              <a:gd name="T29" fmla="*/ 1950 h 6486"/>
              <a:gd name="T30" fmla="*/ 1386 w 5890"/>
              <a:gd name="T31" fmla="*/ 2807 h 6486"/>
              <a:gd name="T32" fmla="*/ 944 w 5890"/>
              <a:gd name="T33" fmla="*/ 2989 h 6486"/>
              <a:gd name="T34" fmla="*/ 92 w 5890"/>
              <a:gd name="T35" fmla="*/ 4890 h 6486"/>
              <a:gd name="T36" fmla="*/ 41 w 5890"/>
              <a:gd name="T37" fmla="*/ 5515 h 6486"/>
              <a:gd name="T38" fmla="*/ 229 w 5890"/>
              <a:gd name="T39" fmla="*/ 6245 h 6486"/>
              <a:gd name="T40" fmla="*/ 109 w 5890"/>
              <a:gd name="T41" fmla="*/ 6378 h 6486"/>
              <a:gd name="T42" fmla="*/ 5661 w 5890"/>
              <a:gd name="T43" fmla="*/ 6486 h 6486"/>
              <a:gd name="T44" fmla="*/ 5779 w 5890"/>
              <a:gd name="T45" fmla="*/ 6341 h 6486"/>
              <a:gd name="T46" fmla="*/ 2306 w 5890"/>
              <a:gd name="T47" fmla="*/ 1800 h 6486"/>
              <a:gd name="T48" fmla="*/ 2147 w 5890"/>
              <a:gd name="T49" fmla="*/ 1713 h 6486"/>
              <a:gd name="T50" fmla="*/ 2003 w 5890"/>
              <a:gd name="T51" fmla="*/ 1559 h 6486"/>
              <a:gd name="T52" fmla="*/ 2155 w 5890"/>
              <a:gd name="T53" fmla="*/ 1330 h 6486"/>
              <a:gd name="T54" fmla="*/ 2018 w 5890"/>
              <a:gd name="T55" fmla="*/ 1212 h 6486"/>
              <a:gd name="T56" fmla="*/ 2178 w 5890"/>
              <a:gd name="T57" fmla="*/ 636 h 6486"/>
              <a:gd name="T58" fmla="*/ 2945 w 5890"/>
              <a:gd name="T59" fmla="*/ 241 h 6486"/>
              <a:gd name="T60" fmla="*/ 3683 w 5890"/>
              <a:gd name="T61" fmla="*/ 599 h 6486"/>
              <a:gd name="T62" fmla="*/ 3843 w 5890"/>
              <a:gd name="T63" fmla="*/ 1200 h 6486"/>
              <a:gd name="T64" fmla="*/ 3447 w 5890"/>
              <a:gd name="T65" fmla="*/ 1228 h 6486"/>
              <a:gd name="T66" fmla="*/ 2849 w 5890"/>
              <a:gd name="T67" fmla="*/ 1043 h 6486"/>
              <a:gd name="T68" fmla="*/ 2559 w 5890"/>
              <a:gd name="T69" fmla="*/ 698 h 6486"/>
              <a:gd name="T70" fmla="*/ 2377 w 5890"/>
              <a:gd name="T71" fmla="*/ 741 h 6486"/>
              <a:gd name="T72" fmla="*/ 2572 w 5890"/>
              <a:gd name="T73" fmla="*/ 1125 h 6486"/>
              <a:gd name="T74" fmla="*/ 3168 w 5890"/>
              <a:gd name="T75" fmla="*/ 1440 h 6486"/>
              <a:gd name="T76" fmla="*/ 3793 w 5890"/>
              <a:gd name="T77" fmla="*/ 1436 h 6486"/>
              <a:gd name="T78" fmla="*/ 3876 w 5890"/>
              <a:gd name="T79" fmla="*/ 1625 h 6486"/>
              <a:gd name="T80" fmla="*/ 3685 w 5890"/>
              <a:gd name="T81" fmla="*/ 1709 h 6486"/>
              <a:gd name="T82" fmla="*/ 3523 w 5890"/>
              <a:gd name="T83" fmla="*/ 1995 h 6486"/>
              <a:gd name="T84" fmla="*/ 3145 w 5890"/>
              <a:gd name="T85" fmla="*/ 2483 h 6486"/>
              <a:gd name="T86" fmla="*/ 2698 w 5890"/>
              <a:gd name="T87" fmla="*/ 2454 h 6486"/>
              <a:gd name="T88" fmla="*/ 2341 w 5890"/>
              <a:gd name="T89" fmla="*/ 1920 h 6486"/>
              <a:gd name="T90" fmla="*/ 1235 w 5890"/>
              <a:gd name="T91" fmla="*/ 3794 h 6486"/>
              <a:gd name="T92" fmla="*/ 4742 w 5890"/>
              <a:gd name="T93" fmla="*/ 3890 h 6486"/>
              <a:gd name="T94" fmla="*/ 1102 w 5890"/>
              <a:gd name="T95" fmla="*/ 3592 h 6486"/>
              <a:gd name="T96" fmla="*/ 894 w 5890"/>
              <a:gd name="T97" fmla="*/ 3921 h 6486"/>
              <a:gd name="T98" fmla="*/ 252 w 5890"/>
              <a:gd name="T99" fmla="*/ 5378 h 6486"/>
              <a:gd name="T100" fmla="*/ 930 w 5890"/>
              <a:gd name="T101" fmla="*/ 3376 h 6486"/>
              <a:gd name="T102" fmla="*/ 2330 w 5890"/>
              <a:gd name="T103" fmla="*/ 2960 h 6486"/>
              <a:gd name="T104" fmla="*/ 2387 w 5890"/>
              <a:gd name="T105" fmla="*/ 2937 h 6486"/>
              <a:gd name="T106" fmla="*/ 2412 w 5890"/>
              <a:gd name="T107" fmla="*/ 2912 h 6486"/>
              <a:gd name="T108" fmla="*/ 2734 w 5890"/>
              <a:gd name="T109" fmla="*/ 2741 h 6486"/>
              <a:gd name="T110" fmla="*/ 3209 w 5890"/>
              <a:gd name="T111" fmla="*/ 2720 h 6486"/>
              <a:gd name="T112" fmla="*/ 3478 w 5890"/>
              <a:gd name="T113" fmla="*/ 2913 h 6486"/>
              <a:gd name="T114" fmla="*/ 3509 w 5890"/>
              <a:gd name="T115" fmla="*/ 2942 h 6486"/>
              <a:gd name="T116" fmla="*/ 3564 w 5890"/>
              <a:gd name="T117" fmla="*/ 2961 h 6486"/>
              <a:gd name="T118" fmla="*/ 4960 w 5890"/>
              <a:gd name="T119" fmla="*/ 3374 h 6486"/>
              <a:gd name="T120" fmla="*/ 5638 w 5890"/>
              <a:gd name="T121" fmla="*/ 5378 h 6486"/>
              <a:gd name="T122" fmla="*/ 4996 w 5890"/>
              <a:gd name="T123" fmla="*/ 3921 h 6486"/>
              <a:gd name="T124" fmla="*/ 4788 w 5890"/>
              <a:gd name="T125" fmla="*/ 3592 h 6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890" h="6486">
                <a:moveTo>
                  <a:pt x="5522" y="5887"/>
                </a:moveTo>
                <a:lnTo>
                  <a:pt x="5522" y="5887"/>
                </a:lnTo>
                <a:lnTo>
                  <a:pt x="5535" y="5879"/>
                </a:lnTo>
                <a:lnTo>
                  <a:pt x="5535" y="5879"/>
                </a:lnTo>
                <a:lnTo>
                  <a:pt x="5567" y="5858"/>
                </a:lnTo>
                <a:lnTo>
                  <a:pt x="5598" y="5837"/>
                </a:lnTo>
                <a:lnTo>
                  <a:pt x="5627" y="5815"/>
                </a:lnTo>
                <a:lnTo>
                  <a:pt x="5653" y="5791"/>
                </a:lnTo>
                <a:lnTo>
                  <a:pt x="5680" y="5767"/>
                </a:lnTo>
                <a:lnTo>
                  <a:pt x="5705" y="5743"/>
                </a:lnTo>
                <a:lnTo>
                  <a:pt x="5728" y="5716"/>
                </a:lnTo>
                <a:lnTo>
                  <a:pt x="5750" y="5690"/>
                </a:lnTo>
                <a:lnTo>
                  <a:pt x="5770" y="5662"/>
                </a:lnTo>
                <a:lnTo>
                  <a:pt x="5788" y="5634"/>
                </a:lnTo>
                <a:lnTo>
                  <a:pt x="5807" y="5605"/>
                </a:lnTo>
                <a:lnTo>
                  <a:pt x="5822" y="5576"/>
                </a:lnTo>
                <a:lnTo>
                  <a:pt x="5836" y="5545"/>
                </a:lnTo>
                <a:lnTo>
                  <a:pt x="5849" y="5515"/>
                </a:lnTo>
                <a:lnTo>
                  <a:pt x="5860" y="5484"/>
                </a:lnTo>
                <a:lnTo>
                  <a:pt x="5868" y="5451"/>
                </a:lnTo>
                <a:lnTo>
                  <a:pt x="5868" y="5451"/>
                </a:lnTo>
                <a:lnTo>
                  <a:pt x="5877" y="5419"/>
                </a:lnTo>
                <a:lnTo>
                  <a:pt x="5883" y="5386"/>
                </a:lnTo>
                <a:lnTo>
                  <a:pt x="5886" y="5352"/>
                </a:lnTo>
                <a:lnTo>
                  <a:pt x="5889" y="5320"/>
                </a:lnTo>
                <a:lnTo>
                  <a:pt x="5890" y="5285"/>
                </a:lnTo>
                <a:lnTo>
                  <a:pt x="5890" y="5251"/>
                </a:lnTo>
                <a:lnTo>
                  <a:pt x="5887" y="5216"/>
                </a:lnTo>
                <a:lnTo>
                  <a:pt x="5884" y="5181"/>
                </a:lnTo>
                <a:lnTo>
                  <a:pt x="5879" y="5146"/>
                </a:lnTo>
                <a:lnTo>
                  <a:pt x="5872" y="5110"/>
                </a:lnTo>
                <a:lnTo>
                  <a:pt x="5863" y="5074"/>
                </a:lnTo>
                <a:lnTo>
                  <a:pt x="5854" y="5038"/>
                </a:lnTo>
                <a:lnTo>
                  <a:pt x="5842" y="5002"/>
                </a:lnTo>
                <a:lnTo>
                  <a:pt x="5829" y="4964"/>
                </a:lnTo>
                <a:lnTo>
                  <a:pt x="5814" y="4927"/>
                </a:lnTo>
                <a:lnTo>
                  <a:pt x="5798" y="4890"/>
                </a:lnTo>
                <a:lnTo>
                  <a:pt x="5204" y="3325"/>
                </a:lnTo>
                <a:lnTo>
                  <a:pt x="5204" y="3325"/>
                </a:lnTo>
                <a:lnTo>
                  <a:pt x="5200" y="3318"/>
                </a:lnTo>
                <a:lnTo>
                  <a:pt x="5200" y="3318"/>
                </a:lnTo>
                <a:lnTo>
                  <a:pt x="5188" y="3290"/>
                </a:lnTo>
                <a:lnTo>
                  <a:pt x="5173" y="3263"/>
                </a:lnTo>
                <a:lnTo>
                  <a:pt x="5159" y="3237"/>
                </a:lnTo>
                <a:lnTo>
                  <a:pt x="5145" y="3212"/>
                </a:lnTo>
                <a:lnTo>
                  <a:pt x="5129" y="3186"/>
                </a:lnTo>
                <a:lnTo>
                  <a:pt x="5112" y="3162"/>
                </a:lnTo>
                <a:lnTo>
                  <a:pt x="5095" y="3139"/>
                </a:lnTo>
                <a:lnTo>
                  <a:pt x="5078" y="3117"/>
                </a:lnTo>
                <a:lnTo>
                  <a:pt x="5060" y="3094"/>
                </a:lnTo>
                <a:lnTo>
                  <a:pt x="5041" y="3073"/>
                </a:lnTo>
                <a:lnTo>
                  <a:pt x="5022" y="3053"/>
                </a:lnTo>
                <a:lnTo>
                  <a:pt x="5002" y="3032"/>
                </a:lnTo>
                <a:lnTo>
                  <a:pt x="4982" y="3013"/>
                </a:lnTo>
                <a:lnTo>
                  <a:pt x="4961" y="2995"/>
                </a:lnTo>
                <a:lnTo>
                  <a:pt x="4940" y="2977"/>
                </a:lnTo>
                <a:lnTo>
                  <a:pt x="4917" y="2961"/>
                </a:lnTo>
                <a:lnTo>
                  <a:pt x="4895" y="2944"/>
                </a:lnTo>
                <a:lnTo>
                  <a:pt x="4872" y="2930"/>
                </a:lnTo>
                <a:lnTo>
                  <a:pt x="4848" y="2915"/>
                </a:lnTo>
                <a:lnTo>
                  <a:pt x="4824" y="2902"/>
                </a:lnTo>
                <a:lnTo>
                  <a:pt x="4800" y="2889"/>
                </a:lnTo>
                <a:lnTo>
                  <a:pt x="4774" y="2877"/>
                </a:lnTo>
                <a:lnTo>
                  <a:pt x="4749" y="2866"/>
                </a:lnTo>
                <a:lnTo>
                  <a:pt x="4724" y="2856"/>
                </a:lnTo>
                <a:lnTo>
                  <a:pt x="4697" y="2847"/>
                </a:lnTo>
                <a:lnTo>
                  <a:pt x="4671" y="2838"/>
                </a:lnTo>
                <a:lnTo>
                  <a:pt x="4644" y="2831"/>
                </a:lnTo>
                <a:lnTo>
                  <a:pt x="4616" y="2824"/>
                </a:lnTo>
                <a:lnTo>
                  <a:pt x="4589" y="2819"/>
                </a:lnTo>
                <a:lnTo>
                  <a:pt x="4561" y="2814"/>
                </a:lnTo>
                <a:lnTo>
                  <a:pt x="4532" y="2809"/>
                </a:lnTo>
                <a:lnTo>
                  <a:pt x="4503" y="2807"/>
                </a:lnTo>
                <a:lnTo>
                  <a:pt x="3659" y="2727"/>
                </a:lnTo>
                <a:lnTo>
                  <a:pt x="3542" y="2450"/>
                </a:lnTo>
                <a:lnTo>
                  <a:pt x="3542" y="2450"/>
                </a:lnTo>
                <a:lnTo>
                  <a:pt x="3562" y="2425"/>
                </a:lnTo>
                <a:lnTo>
                  <a:pt x="3582" y="2399"/>
                </a:lnTo>
                <a:lnTo>
                  <a:pt x="3600" y="2371"/>
                </a:lnTo>
                <a:lnTo>
                  <a:pt x="3618" y="2342"/>
                </a:lnTo>
                <a:lnTo>
                  <a:pt x="3636" y="2313"/>
                </a:lnTo>
                <a:lnTo>
                  <a:pt x="3653" y="2284"/>
                </a:lnTo>
                <a:lnTo>
                  <a:pt x="3670" y="2254"/>
                </a:lnTo>
                <a:lnTo>
                  <a:pt x="3685" y="2223"/>
                </a:lnTo>
                <a:lnTo>
                  <a:pt x="3701" y="2191"/>
                </a:lnTo>
                <a:lnTo>
                  <a:pt x="3716" y="2159"/>
                </a:lnTo>
                <a:lnTo>
                  <a:pt x="3730" y="2125"/>
                </a:lnTo>
                <a:lnTo>
                  <a:pt x="3745" y="2091"/>
                </a:lnTo>
                <a:lnTo>
                  <a:pt x="3757" y="2058"/>
                </a:lnTo>
                <a:lnTo>
                  <a:pt x="3770" y="2023"/>
                </a:lnTo>
                <a:lnTo>
                  <a:pt x="3782" y="1987"/>
                </a:lnTo>
                <a:lnTo>
                  <a:pt x="3793" y="1950"/>
                </a:lnTo>
                <a:lnTo>
                  <a:pt x="3793" y="1950"/>
                </a:lnTo>
                <a:lnTo>
                  <a:pt x="3816" y="1947"/>
                </a:lnTo>
                <a:lnTo>
                  <a:pt x="3839" y="1942"/>
                </a:lnTo>
                <a:lnTo>
                  <a:pt x="3860" y="1936"/>
                </a:lnTo>
                <a:lnTo>
                  <a:pt x="3882" y="1927"/>
                </a:lnTo>
                <a:lnTo>
                  <a:pt x="3904" y="1919"/>
                </a:lnTo>
                <a:lnTo>
                  <a:pt x="3923" y="1909"/>
                </a:lnTo>
                <a:lnTo>
                  <a:pt x="3943" y="1897"/>
                </a:lnTo>
                <a:lnTo>
                  <a:pt x="3962" y="1885"/>
                </a:lnTo>
                <a:lnTo>
                  <a:pt x="3980" y="1872"/>
                </a:lnTo>
                <a:lnTo>
                  <a:pt x="3998" y="1858"/>
                </a:lnTo>
                <a:lnTo>
                  <a:pt x="4013" y="1842"/>
                </a:lnTo>
                <a:lnTo>
                  <a:pt x="4029" y="1826"/>
                </a:lnTo>
                <a:lnTo>
                  <a:pt x="4044" y="1809"/>
                </a:lnTo>
                <a:lnTo>
                  <a:pt x="4057" y="1791"/>
                </a:lnTo>
                <a:lnTo>
                  <a:pt x="4070" y="1772"/>
                </a:lnTo>
                <a:lnTo>
                  <a:pt x="4081" y="1753"/>
                </a:lnTo>
                <a:lnTo>
                  <a:pt x="4081" y="1753"/>
                </a:lnTo>
                <a:lnTo>
                  <a:pt x="4092" y="1735"/>
                </a:lnTo>
                <a:lnTo>
                  <a:pt x="4100" y="1717"/>
                </a:lnTo>
                <a:lnTo>
                  <a:pt x="4109" y="1697"/>
                </a:lnTo>
                <a:lnTo>
                  <a:pt x="4116" y="1678"/>
                </a:lnTo>
                <a:lnTo>
                  <a:pt x="4122" y="1659"/>
                </a:lnTo>
                <a:lnTo>
                  <a:pt x="4128" y="1638"/>
                </a:lnTo>
                <a:lnTo>
                  <a:pt x="4133" y="1617"/>
                </a:lnTo>
                <a:lnTo>
                  <a:pt x="4135" y="1596"/>
                </a:lnTo>
                <a:lnTo>
                  <a:pt x="4135" y="1596"/>
                </a:lnTo>
                <a:lnTo>
                  <a:pt x="4145" y="1513"/>
                </a:lnTo>
                <a:lnTo>
                  <a:pt x="4152" y="1430"/>
                </a:lnTo>
                <a:lnTo>
                  <a:pt x="4156" y="1346"/>
                </a:lnTo>
                <a:lnTo>
                  <a:pt x="4157" y="1261"/>
                </a:lnTo>
                <a:lnTo>
                  <a:pt x="4157" y="1261"/>
                </a:lnTo>
                <a:lnTo>
                  <a:pt x="4157" y="1230"/>
                </a:lnTo>
                <a:lnTo>
                  <a:pt x="4156" y="1199"/>
                </a:lnTo>
                <a:lnTo>
                  <a:pt x="4155" y="1167"/>
                </a:lnTo>
                <a:lnTo>
                  <a:pt x="4152" y="1136"/>
                </a:lnTo>
                <a:lnTo>
                  <a:pt x="4148" y="1105"/>
                </a:lnTo>
                <a:lnTo>
                  <a:pt x="4145" y="1075"/>
                </a:lnTo>
                <a:lnTo>
                  <a:pt x="4140" y="1044"/>
                </a:lnTo>
                <a:lnTo>
                  <a:pt x="4134" y="1013"/>
                </a:lnTo>
                <a:lnTo>
                  <a:pt x="4128" y="983"/>
                </a:lnTo>
                <a:lnTo>
                  <a:pt x="4122" y="954"/>
                </a:lnTo>
                <a:lnTo>
                  <a:pt x="4114" y="924"/>
                </a:lnTo>
                <a:lnTo>
                  <a:pt x="4106" y="894"/>
                </a:lnTo>
                <a:lnTo>
                  <a:pt x="4097" y="865"/>
                </a:lnTo>
                <a:lnTo>
                  <a:pt x="4087" y="836"/>
                </a:lnTo>
                <a:lnTo>
                  <a:pt x="4077" y="807"/>
                </a:lnTo>
                <a:lnTo>
                  <a:pt x="4066" y="779"/>
                </a:lnTo>
                <a:lnTo>
                  <a:pt x="4054" y="752"/>
                </a:lnTo>
                <a:lnTo>
                  <a:pt x="4042" y="723"/>
                </a:lnTo>
                <a:lnTo>
                  <a:pt x="4029" y="696"/>
                </a:lnTo>
                <a:lnTo>
                  <a:pt x="4016" y="669"/>
                </a:lnTo>
                <a:lnTo>
                  <a:pt x="4001" y="642"/>
                </a:lnTo>
                <a:lnTo>
                  <a:pt x="3987" y="616"/>
                </a:lnTo>
                <a:lnTo>
                  <a:pt x="3971" y="589"/>
                </a:lnTo>
                <a:lnTo>
                  <a:pt x="3956" y="564"/>
                </a:lnTo>
                <a:lnTo>
                  <a:pt x="3939" y="537"/>
                </a:lnTo>
                <a:lnTo>
                  <a:pt x="3922" y="513"/>
                </a:lnTo>
                <a:lnTo>
                  <a:pt x="3904" y="488"/>
                </a:lnTo>
                <a:lnTo>
                  <a:pt x="3884" y="464"/>
                </a:lnTo>
                <a:lnTo>
                  <a:pt x="3865" y="440"/>
                </a:lnTo>
                <a:lnTo>
                  <a:pt x="3846" y="417"/>
                </a:lnTo>
                <a:lnTo>
                  <a:pt x="3825" y="394"/>
                </a:lnTo>
                <a:lnTo>
                  <a:pt x="3805" y="371"/>
                </a:lnTo>
                <a:lnTo>
                  <a:pt x="3805" y="371"/>
                </a:lnTo>
                <a:lnTo>
                  <a:pt x="3783" y="349"/>
                </a:lnTo>
                <a:lnTo>
                  <a:pt x="3760" y="328"/>
                </a:lnTo>
                <a:lnTo>
                  <a:pt x="3737" y="306"/>
                </a:lnTo>
                <a:lnTo>
                  <a:pt x="3714" y="287"/>
                </a:lnTo>
                <a:lnTo>
                  <a:pt x="3691" y="266"/>
                </a:lnTo>
                <a:lnTo>
                  <a:pt x="3667" y="248"/>
                </a:lnTo>
                <a:lnTo>
                  <a:pt x="3643" y="230"/>
                </a:lnTo>
                <a:lnTo>
                  <a:pt x="3619" y="212"/>
                </a:lnTo>
                <a:lnTo>
                  <a:pt x="3594" y="195"/>
                </a:lnTo>
                <a:lnTo>
                  <a:pt x="3568" y="178"/>
                </a:lnTo>
                <a:lnTo>
                  <a:pt x="3543" y="164"/>
                </a:lnTo>
                <a:lnTo>
                  <a:pt x="3518" y="148"/>
                </a:lnTo>
                <a:lnTo>
                  <a:pt x="3491" y="134"/>
                </a:lnTo>
                <a:lnTo>
                  <a:pt x="3465" y="120"/>
                </a:lnTo>
                <a:lnTo>
                  <a:pt x="3438" y="107"/>
                </a:lnTo>
                <a:lnTo>
                  <a:pt x="3410" y="95"/>
                </a:lnTo>
                <a:lnTo>
                  <a:pt x="3383" y="84"/>
                </a:lnTo>
                <a:lnTo>
                  <a:pt x="3355" y="73"/>
                </a:lnTo>
                <a:lnTo>
                  <a:pt x="3327" y="64"/>
                </a:lnTo>
                <a:lnTo>
                  <a:pt x="3300" y="54"/>
                </a:lnTo>
                <a:lnTo>
                  <a:pt x="3271" y="46"/>
                </a:lnTo>
                <a:lnTo>
                  <a:pt x="3242" y="37"/>
                </a:lnTo>
                <a:lnTo>
                  <a:pt x="3213" y="30"/>
                </a:lnTo>
                <a:lnTo>
                  <a:pt x="3184" y="24"/>
                </a:lnTo>
                <a:lnTo>
                  <a:pt x="3155" y="18"/>
                </a:lnTo>
                <a:lnTo>
                  <a:pt x="3126" y="13"/>
                </a:lnTo>
                <a:lnTo>
                  <a:pt x="3096" y="10"/>
                </a:lnTo>
                <a:lnTo>
                  <a:pt x="3066" y="6"/>
                </a:lnTo>
                <a:lnTo>
                  <a:pt x="3035" y="4"/>
                </a:lnTo>
                <a:lnTo>
                  <a:pt x="3005" y="1"/>
                </a:lnTo>
                <a:lnTo>
                  <a:pt x="2975" y="0"/>
                </a:lnTo>
                <a:lnTo>
                  <a:pt x="2945" y="0"/>
                </a:lnTo>
                <a:lnTo>
                  <a:pt x="2945" y="0"/>
                </a:lnTo>
                <a:lnTo>
                  <a:pt x="2915" y="0"/>
                </a:lnTo>
                <a:lnTo>
                  <a:pt x="2885" y="1"/>
                </a:lnTo>
                <a:lnTo>
                  <a:pt x="2855" y="4"/>
                </a:lnTo>
                <a:lnTo>
                  <a:pt x="2824" y="6"/>
                </a:lnTo>
                <a:lnTo>
                  <a:pt x="2794" y="10"/>
                </a:lnTo>
                <a:lnTo>
                  <a:pt x="2764" y="13"/>
                </a:lnTo>
                <a:lnTo>
                  <a:pt x="2735" y="18"/>
                </a:lnTo>
                <a:lnTo>
                  <a:pt x="2706" y="24"/>
                </a:lnTo>
                <a:lnTo>
                  <a:pt x="2677" y="30"/>
                </a:lnTo>
                <a:lnTo>
                  <a:pt x="2648" y="37"/>
                </a:lnTo>
                <a:lnTo>
                  <a:pt x="2619" y="46"/>
                </a:lnTo>
                <a:lnTo>
                  <a:pt x="2590" y="54"/>
                </a:lnTo>
                <a:lnTo>
                  <a:pt x="2563" y="64"/>
                </a:lnTo>
                <a:lnTo>
                  <a:pt x="2535" y="73"/>
                </a:lnTo>
                <a:lnTo>
                  <a:pt x="2507" y="84"/>
                </a:lnTo>
                <a:lnTo>
                  <a:pt x="2480" y="95"/>
                </a:lnTo>
                <a:lnTo>
                  <a:pt x="2452" y="107"/>
                </a:lnTo>
                <a:lnTo>
                  <a:pt x="2425" y="120"/>
                </a:lnTo>
                <a:lnTo>
                  <a:pt x="2399" y="134"/>
                </a:lnTo>
                <a:lnTo>
                  <a:pt x="2372" y="148"/>
                </a:lnTo>
                <a:lnTo>
                  <a:pt x="2347" y="164"/>
                </a:lnTo>
                <a:lnTo>
                  <a:pt x="2322" y="178"/>
                </a:lnTo>
                <a:lnTo>
                  <a:pt x="2296" y="195"/>
                </a:lnTo>
                <a:lnTo>
                  <a:pt x="2271" y="212"/>
                </a:lnTo>
                <a:lnTo>
                  <a:pt x="2247" y="230"/>
                </a:lnTo>
                <a:lnTo>
                  <a:pt x="2223" y="248"/>
                </a:lnTo>
                <a:lnTo>
                  <a:pt x="2199" y="266"/>
                </a:lnTo>
                <a:lnTo>
                  <a:pt x="2176" y="287"/>
                </a:lnTo>
                <a:lnTo>
                  <a:pt x="2153" y="306"/>
                </a:lnTo>
                <a:lnTo>
                  <a:pt x="2130" y="328"/>
                </a:lnTo>
                <a:lnTo>
                  <a:pt x="2107" y="349"/>
                </a:lnTo>
                <a:lnTo>
                  <a:pt x="2085" y="371"/>
                </a:lnTo>
                <a:lnTo>
                  <a:pt x="2085" y="371"/>
                </a:lnTo>
                <a:lnTo>
                  <a:pt x="2065" y="394"/>
                </a:lnTo>
                <a:lnTo>
                  <a:pt x="2044" y="417"/>
                </a:lnTo>
                <a:lnTo>
                  <a:pt x="2025" y="440"/>
                </a:lnTo>
                <a:lnTo>
                  <a:pt x="2006" y="464"/>
                </a:lnTo>
                <a:lnTo>
                  <a:pt x="1986" y="488"/>
                </a:lnTo>
                <a:lnTo>
                  <a:pt x="1968" y="513"/>
                </a:lnTo>
                <a:lnTo>
                  <a:pt x="1951" y="537"/>
                </a:lnTo>
                <a:lnTo>
                  <a:pt x="1934" y="564"/>
                </a:lnTo>
                <a:lnTo>
                  <a:pt x="1919" y="589"/>
                </a:lnTo>
                <a:lnTo>
                  <a:pt x="1903" y="616"/>
                </a:lnTo>
                <a:lnTo>
                  <a:pt x="1889" y="642"/>
                </a:lnTo>
                <a:lnTo>
                  <a:pt x="1874" y="669"/>
                </a:lnTo>
                <a:lnTo>
                  <a:pt x="1861" y="696"/>
                </a:lnTo>
                <a:lnTo>
                  <a:pt x="1848" y="723"/>
                </a:lnTo>
                <a:lnTo>
                  <a:pt x="1836" y="752"/>
                </a:lnTo>
                <a:lnTo>
                  <a:pt x="1824" y="779"/>
                </a:lnTo>
                <a:lnTo>
                  <a:pt x="1813" y="807"/>
                </a:lnTo>
                <a:lnTo>
                  <a:pt x="1803" y="836"/>
                </a:lnTo>
                <a:lnTo>
                  <a:pt x="1793" y="865"/>
                </a:lnTo>
                <a:lnTo>
                  <a:pt x="1784" y="894"/>
                </a:lnTo>
                <a:lnTo>
                  <a:pt x="1776" y="924"/>
                </a:lnTo>
                <a:lnTo>
                  <a:pt x="1768" y="954"/>
                </a:lnTo>
                <a:lnTo>
                  <a:pt x="1762" y="983"/>
                </a:lnTo>
                <a:lnTo>
                  <a:pt x="1756" y="1013"/>
                </a:lnTo>
                <a:lnTo>
                  <a:pt x="1750" y="1044"/>
                </a:lnTo>
                <a:lnTo>
                  <a:pt x="1745" y="1075"/>
                </a:lnTo>
                <a:lnTo>
                  <a:pt x="1742" y="1105"/>
                </a:lnTo>
                <a:lnTo>
                  <a:pt x="1738" y="1136"/>
                </a:lnTo>
                <a:lnTo>
                  <a:pt x="1735" y="1167"/>
                </a:lnTo>
                <a:lnTo>
                  <a:pt x="1734" y="1199"/>
                </a:lnTo>
                <a:lnTo>
                  <a:pt x="1733" y="1230"/>
                </a:lnTo>
                <a:lnTo>
                  <a:pt x="1733" y="1261"/>
                </a:lnTo>
                <a:lnTo>
                  <a:pt x="1733" y="1261"/>
                </a:lnTo>
                <a:lnTo>
                  <a:pt x="1733" y="1275"/>
                </a:lnTo>
                <a:lnTo>
                  <a:pt x="1733" y="1275"/>
                </a:lnTo>
                <a:lnTo>
                  <a:pt x="1735" y="1356"/>
                </a:lnTo>
                <a:lnTo>
                  <a:pt x="1739" y="1437"/>
                </a:lnTo>
                <a:lnTo>
                  <a:pt x="1746" y="1517"/>
                </a:lnTo>
                <a:lnTo>
                  <a:pt x="1755" y="1596"/>
                </a:lnTo>
                <a:lnTo>
                  <a:pt x="1755" y="1596"/>
                </a:lnTo>
                <a:lnTo>
                  <a:pt x="1761" y="1630"/>
                </a:lnTo>
                <a:lnTo>
                  <a:pt x="1769" y="1662"/>
                </a:lnTo>
                <a:lnTo>
                  <a:pt x="1780" y="1694"/>
                </a:lnTo>
                <a:lnTo>
                  <a:pt x="1793" y="1724"/>
                </a:lnTo>
                <a:lnTo>
                  <a:pt x="1793" y="1724"/>
                </a:lnTo>
                <a:lnTo>
                  <a:pt x="1804" y="1747"/>
                </a:lnTo>
                <a:lnTo>
                  <a:pt x="1816" y="1767"/>
                </a:lnTo>
                <a:lnTo>
                  <a:pt x="1830" y="1788"/>
                </a:lnTo>
                <a:lnTo>
                  <a:pt x="1845" y="1808"/>
                </a:lnTo>
                <a:lnTo>
                  <a:pt x="1861" y="1826"/>
                </a:lnTo>
                <a:lnTo>
                  <a:pt x="1878" y="1844"/>
                </a:lnTo>
                <a:lnTo>
                  <a:pt x="1896" y="1861"/>
                </a:lnTo>
                <a:lnTo>
                  <a:pt x="1915" y="1876"/>
                </a:lnTo>
                <a:lnTo>
                  <a:pt x="1934" y="1890"/>
                </a:lnTo>
                <a:lnTo>
                  <a:pt x="1956" y="1903"/>
                </a:lnTo>
                <a:lnTo>
                  <a:pt x="1978" y="1915"/>
                </a:lnTo>
                <a:lnTo>
                  <a:pt x="2000" y="1925"/>
                </a:lnTo>
                <a:lnTo>
                  <a:pt x="2024" y="1934"/>
                </a:lnTo>
                <a:lnTo>
                  <a:pt x="2048" y="1941"/>
                </a:lnTo>
                <a:lnTo>
                  <a:pt x="2072" y="1947"/>
                </a:lnTo>
                <a:lnTo>
                  <a:pt x="2097" y="1950"/>
                </a:lnTo>
                <a:lnTo>
                  <a:pt x="2097" y="1950"/>
                </a:lnTo>
                <a:lnTo>
                  <a:pt x="2109" y="1988"/>
                </a:lnTo>
                <a:lnTo>
                  <a:pt x="2121" y="2024"/>
                </a:lnTo>
                <a:lnTo>
                  <a:pt x="2133" y="2059"/>
                </a:lnTo>
                <a:lnTo>
                  <a:pt x="2147" y="2094"/>
                </a:lnTo>
                <a:lnTo>
                  <a:pt x="2161" y="2127"/>
                </a:lnTo>
                <a:lnTo>
                  <a:pt x="2176" y="2161"/>
                </a:lnTo>
                <a:lnTo>
                  <a:pt x="2190" y="2194"/>
                </a:lnTo>
                <a:lnTo>
                  <a:pt x="2206" y="2226"/>
                </a:lnTo>
                <a:lnTo>
                  <a:pt x="2223" y="2258"/>
                </a:lnTo>
                <a:lnTo>
                  <a:pt x="2240" y="2288"/>
                </a:lnTo>
                <a:lnTo>
                  <a:pt x="2256" y="2318"/>
                </a:lnTo>
                <a:lnTo>
                  <a:pt x="2275" y="2347"/>
                </a:lnTo>
                <a:lnTo>
                  <a:pt x="2293" y="2376"/>
                </a:lnTo>
                <a:lnTo>
                  <a:pt x="2312" y="2403"/>
                </a:lnTo>
                <a:lnTo>
                  <a:pt x="2332" y="2430"/>
                </a:lnTo>
                <a:lnTo>
                  <a:pt x="2352" y="2456"/>
                </a:lnTo>
                <a:lnTo>
                  <a:pt x="2232" y="2727"/>
                </a:lnTo>
                <a:lnTo>
                  <a:pt x="1386" y="2807"/>
                </a:lnTo>
                <a:lnTo>
                  <a:pt x="1386" y="2807"/>
                </a:lnTo>
                <a:lnTo>
                  <a:pt x="1382" y="2807"/>
                </a:lnTo>
                <a:lnTo>
                  <a:pt x="1382" y="2807"/>
                </a:lnTo>
                <a:lnTo>
                  <a:pt x="1353" y="2812"/>
                </a:lnTo>
                <a:lnTo>
                  <a:pt x="1324" y="2817"/>
                </a:lnTo>
                <a:lnTo>
                  <a:pt x="1295" y="2823"/>
                </a:lnTo>
                <a:lnTo>
                  <a:pt x="1268" y="2830"/>
                </a:lnTo>
                <a:lnTo>
                  <a:pt x="1240" y="2837"/>
                </a:lnTo>
                <a:lnTo>
                  <a:pt x="1213" y="2845"/>
                </a:lnTo>
                <a:lnTo>
                  <a:pt x="1187" y="2855"/>
                </a:lnTo>
                <a:lnTo>
                  <a:pt x="1160" y="2865"/>
                </a:lnTo>
                <a:lnTo>
                  <a:pt x="1134" y="2876"/>
                </a:lnTo>
                <a:lnTo>
                  <a:pt x="1108" y="2886"/>
                </a:lnTo>
                <a:lnTo>
                  <a:pt x="1084" y="2900"/>
                </a:lnTo>
                <a:lnTo>
                  <a:pt x="1059" y="2912"/>
                </a:lnTo>
                <a:lnTo>
                  <a:pt x="1035" y="2926"/>
                </a:lnTo>
                <a:lnTo>
                  <a:pt x="1012" y="2941"/>
                </a:lnTo>
                <a:lnTo>
                  <a:pt x="989" y="2956"/>
                </a:lnTo>
                <a:lnTo>
                  <a:pt x="966" y="2972"/>
                </a:lnTo>
                <a:lnTo>
                  <a:pt x="944" y="2989"/>
                </a:lnTo>
                <a:lnTo>
                  <a:pt x="924" y="3006"/>
                </a:lnTo>
                <a:lnTo>
                  <a:pt x="902" y="3024"/>
                </a:lnTo>
                <a:lnTo>
                  <a:pt x="883" y="3043"/>
                </a:lnTo>
                <a:lnTo>
                  <a:pt x="862" y="3062"/>
                </a:lnTo>
                <a:lnTo>
                  <a:pt x="844" y="3082"/>
                </a:lnTo>
                <a:lnTo>
                  <a:pt x="825" y="3103"/>
                </a:lnTo>
                <a:lnTo>
                  <a:pt x="808" y="3124"/>
                </a:lnTo>
                <a:lnTo>
                  <a:pt x="791" y="3147"/>
                </a:lnTo>
                <a:lnTo>
                  <a:pt x="774" y="3170"/>
                </a:lnTo>
                <a:lnTo>
                  <a:pt x="759" y="3192"/>
                </a:lnTo>
                <a:lnTo>
                  <a:pt x="743" y="3216"/>
                </a:lnTo>
                <a:lnTo>
                  <a:pt x="729" y="3241"/>
                </a:lnTo>
                <a:lnTo>
                  <a:pt x="715" y="3266"/>
                </a:lnTo>
                <a:lnTo>
                  <a:pt x="702" y="3291"/>
                </a:lnTo>
                <a:lnTo>
                  <a:pt x="690" y="3318"/>
                </a:lnTo>
                <a:lnTo>
                  <a:pt x="690" y="3318"/>
                </a:lnTo>
                <a:lnTo>
                  <a:pt x="686" y="3325"/>
                </a:lnTo>
                <a:lnTo>
                  <a:pt x="92" y="4890"/>
                </a:lnTo>
                <a:lnTo>
                  <a:pt x="92" y="4890"/>
                </a:lnTo>
                <a:lnTo>
                  <a:pt x="76" y="4927"/>
                </a:lnTo>
                <a:lnTo>
                  <a:pt x="61" y="4964"/>
                </a:lnTo>
                <a:lnTo>
                  <a:pt x="48" y="5002"/>
                </a:lnTo>
                <a:lnTo>
                  <a:pt x="36" y="5038"/>
                </a:lnTo>
                <a:lnTo>
                  <a:pt x="27" y="5074"/>
                </a:lnTo>
                <a:lnTo>
                  <a:pt x="18" y="5110"/>
                </a:lnTo>
                <a:lnTo>
                  <a:pt x="11" y="5146"/>
                </a:lnTo>
                <a:lnTo>
                  <a:pt x="6" y="5181"/>
                </a:lnTo>
                <a:lnTo>
                  <a:pt x="3" y="5216"/>
                </a:lnTo>
                <a:lnTo>
                  <a:pt x="0" y="5251"/>
                </a:lnTo>
                <a:lnTo>
                  <a:pt x="0" y="5285"/>
                </a:lnTo>
                <a:lnTo>
                  <a:pt x="1" y="5320"/>
                </a:lnTo>
                <a:lnTo>
                  <a:pt x="4" y="5352"/>
                </a:lnTo>
                <a:lnTo>
                  <a:pt x="7" y="5386"/>
                </a:lnTo>
                <a:lnTo>
                  <a:pt x="13" y="5419"/>
                </a:lnTo>
                <a:lnTo>
                  <a:pt x="22" y="5451"/>
                </a:lnTo>
                <a:lnTo>
                  <a:pt x="22" y="5451"/>
                </a:lnTo>
                <a:lnTo>
                  <a:pt x="30" y="5484"/>
                </a:lnTo>
                <a:lnTo>
                  <a:pt x="41" y="5515"/>
                </a:lnTo>
                <a:lnTo>
                  <a:pt x="54" y="5545"/>
                </a:lnTo>
                <a:lnTo>
                  <a:pt x="68" y="5576"/>
                </a:lnTo>
                <a:lnTo>
                  <a:pt x="83" y="5605"/>
                </a:lnTo>
                <a:lnTo>
                  <a:pt x="102" y="5634"/>
                </a:lnTo>
                <a:lnTo>
                  <a:pt x="120" y="5662"/>
                </a:lnTo>
                <a:lnTo>
                  <a:pt x="140" y="5690"/>
                </a:lnTo>
                <a:lnTo>
                  <a:pt x="162" y="5716"/>
                </a:lnTo>
                <a:lnTo>
                  <a:pt x="185" y="5743"/>
                </a:lnTo>
                <a:lnTo>
                  <a:pt x="210" y="5767"/>
                </a:lnTo>
                <a:lnTo>
                  <a:pt x="237" y="5791"/>
                </a:lnTo>
                <a:lnTo>
                  <a:pt x="263" y="5815"/>
                </a:lnTo>
                <a:lnTo>
                  <a:pt x="292" y="5837"/>
                </a:lnTo>
                <a:lnTo>
                  <a:pt x="323" y="5858"/>
                </a:lnTo>
                <a:lnTo>
                  <a:pt x="355" y="5879"/>
                </a:lnTo>
                <a:lnTo>
                  <a:pt x="355" y="5879"/>
                </a:lnTo>
                <a:lnTo>
                  <a:pt x="368" y="5887"/>
                </a:lnTo>
                <a:lnTo>
                  <a:pt x="891" y="6126"/>
                </a:lnTo>
                <a:lnTo>
                  <a:pt x="891" y="6245"/>
                </a:lnTo>
                <a:lnTo>
                  <a:pt x="229" y="6245"/>
                </a:lnTo>
                <a:lnTo>
                  <a:pt x="229" y="6245"/>
                </a:lnTo>
                <a:lnTo>
                  <a:pt x="216" y="6246"/>
                </a:lnTo>
                <a:lnTo>
                  <a:pt x="205" y="6247"/>
                </a:lnTo>
                <a:lnTo>
                  <a:pt x="193" y="6251"/>
                </a:lnTo>
                <a:lnTo>
                  <a:pt x="182" y="6255"/>
                </a:lnTo>
                <a:lnTo>
                  <a:pt x="171" y="6260"/>
                </a:lnTo>
                <a:lnTo>
                  <a:pt x="162" y="6266"/>
                </a:lnTo>
                <a:lnTo>
                  <a:pt x="152" y="6273"/>
                </a:lnTo>
                <a:lnTo>
                  <a:pt x="144" y="6280"/>
                </a:lnTo>
                <a:lnTo>
                  <a:pt x="136" y="6290"/>
                </a:lnTo>
                <a:lnTo>
                  <a:pt x="129" y="6298"/>
                </a:lnTo>
                <a:lnTo>
                  <a:pt x="123" y="6309"/>
                </a:lnTo>
                <a:lnTo>
                  <a:pt x="118" y="6319"/>
                </a:lnTo>
                <a:lnTo>
                  <a:pt x="114" y="6329"/>
                </a:lnTo>
                <a:lnTo>
                  <a:pt x="111" y="6341"/>
                </a:lnTo>
                <a:lnTo>
                  <a:pt x="109" y="6353"/>
                </a:lnTo>
                <a:lnTo>
                  <a:pt x="109" y="6366"/>
                </a:lnTo>
                <a:lnTo>
                  <a:pt x="109" y="6366"/>
                </a:lnTo>
                <a:lnTo>
                  <a:pt x="109" y="6378"/>
                </a:lnTo>
                <a:lnTo>
                  <a:pt x="111" y="6390"/>
                </a:lnTo>
                <a:lnTo>
                  <a:pt x="114" y="6402"/>
                </a:lnTo>
                <a:lnTo>
                  <a:pt x="118" y="6413"/>
                </a:lnTo>
                <a:lnTo>
                  <a:pt x="123" y="6423"/>
                </a:lnTo>
                <a:lnTo>
                  <a:pt x="129" y="6433"/>
                </a:lnTo>
                <a:lnTo>
                  <a:pt x="136" y="6443"/>
                </a:lnTo>
                <a:lnTo>
                  <a:pt x="144" y="6451"/>
                </a:lnTo>
                <a:lnTo>
                  <a:pt x="152" y="6458"/>
                </a:lnTo>
                <a:lnTo>
                  <a:pt x="162" y="6466"/>
                </a:lnTo>
                <a:lnTo>
                  <a:pt x="171" y="6472"/>
                </a:lnTo>
                <a:lnTo>
                  <a:pt x="182" y="6476"/>
                </a:lnTo>
                <a:lnTo>
                  <a:pt x="193" y="6481"/>
                </a:lnTo>
                <a:lnTo>
                  <a:pt x="205" y="6484"/>
                </a:lnTo>
                <a:lnTo>
                  <a:pt x="216" y="6486"/>
                </a:lnTo>
                <a:lnTo>
                  <a:pt x="229" y="6486"/>
                </a:lnTo>
                <a:lnTo>
                  <a:pt x="1012" y="6486"/>
                </a:lnTo>
                <a:lnTo>
                  <a:pt x="4878" y="6486"/>
                </a:lnTo>
                <a:lnTo>
                  <a:pt x="5661" y="6486"/>
                </a:lnTo>
                <a:lnTo>
                  <a:pt x="5661" y="6486"/>
                </a:lnTo>
                <a:lnTo>
                  <a:pt x="5674" y="6486"/>
                </a:lnTo>
                <a:lnTo>
                  <a:pt x="5685" y="6484"/>
                </a:lnTo>
                <a:lnTo>
                  <a:pt x="5697" y="6481"/>
                </a:lnTo>
                <a:lnTo>
                  <a:pt x="5708" y="6476"/>
                </a:lnTo>
                <a:lnTo>
                  <a:pt x="5719" y="6472"/>
                </a:lnTo>
                <a:lnTo>
                  <a:pt x="5728" y="6466"/>
                </a:lnTo>
                <a:lnTo>
                  <a:pt x="5738" y="6458"/>
                </a:lnTo>
                <a:lnTo>
                  <a:pt x="5746" y="6451"/>
                </a:lnTo>
                <a:lnTo>
                  <a:pt x="5754" y="6443"/>
                </a:lnTo>
                <a:lnTo>
                  <a:pt x="5761" y="6433"/>
                </a:lnTo>
                <a:lnTo>
                  <a:pt x="5767" y="6423"/>
                </a:lnTo>
                <a:lnTo>
                  <a:pt x="5772" y="6413"/>
                </a:lnTo>
                <a:lnTo>
                  <a:pt x="5776" y="6402"/>
                </a:lnTo>
                <a:lnTo>
                  <a:pt x="5779" y="6390"/>
                </a:lnTo>
                <a:lnTo>
                  <a:pt x="5781" y="6378"/>
                </a:lnTo>
                <a:lnTo>
                  <a:pt x="5781" y="6366"/>
                </a:lnTo>
                <a:lnTo>
                  <a:pt x="5781" y="6366"/>
                </a:lnTo>
                <a:lnTo>
                  <a:pt x="5781" y="6353"/>
                </a:lnTo>
                <a:lnTo>
                  <a:pt x="5779" y="6341"/>
                </a:lnTo>
                <a:lnTo>
                  <a:pt x="5776" y="6329"/>
                </a:lnTo>
                <a:lnTo>
                  <a:pt x="5772" y="6319"/>
                </a:lnTo>
                <a:lnTo>
                  <a:pt x="5767" y="6309"/>
                </a:lnTo>
                <a:lnTo>
                  <a:pt x="5761" y="6298"/>
                </a:lnTo>
                <a:lnTo>
                  <a:pt x="5754" y="6290"/>
                </a:lnTo>
                <a:lnTo>
                  <a:pt x="5746" y="6280"/>
                </a:lnTo>
                <a:lnTo>
                  <a:pt x="5738" y="6273"/>
                </a:lnTo>
                <a:lnTo>
                  <a:pt x="5728" y="6266"/>
                </a:lnTo>
                <a:lnTo>
                  <a:pt x="5719" y="6260"/>
                </a:lnTo>
                <a:lnTo>
                  <a:pt x="5708" y="6255"/>
                </a:lnTo>
                <a:lnTo>
                  <a:pt x="5697" y="6251"/>
                </a:lnTo>
                <a:lnTo>
                  <a:pt x="5685" y="6247"/>
                </a:lnTo>
                <a:lnTo>
                  <a:pt x="5674" y="6246"/>
                </a:lnTo>
                <a:lnTo>
                  <a:pt x="5661" y="6245"/>
                </a:lnTo>
                <a:lnTo>
                  <a:pt x="4999" y="6245"/>
                </a:lnTo>
                <a:lnTo>
                  <a:pt x="4999" y="6126"/>
                </a:lnTo>
                <a:lnTo>
                  <a:pt x="5522" y="5887"/>
                </a:lnTo>
                <a:close/>
                <a:moveTo>
                  <a:pt x="2306" y="1800"/>
                </a:moveTo>
                <a:lnTo>
                  <a:pt x="2306" y="1800"/>
                </a:lnTo>
                <a:lnTo>
                  <a:pt x="2303" y="1789"/>
                </a:lnTo>
                <a:lnTo>
                  <a:pt x="2299" y="1778"/>
                </a:lnTo>
                <a:lnTo>
                  <a:pt x="2294" y="1768"/>
                </a:lnTo>
                <a:lnTo>
                  <a:pt x="2288" y="1759"/>
                </a:lnTo>
                <a:lnTo>
                  <a:pt x="2281" y="1750"/>
                </a:lnTo>
                <a:lnTo>
                  <a:pt x="2273" y="1742"/>
                </a:lnTo>
                <a:lnTo>
                  <a:pt x="2265" y="1735"/>
                </a:lnTo>
                <a:lnTo>
                  <a:pt x="2255" y="1729"/>
                </a:lnTo>
                <a:lnTo>
                  <a:pt x="2246" y="1723"/>
                </a:lnTo>
                <a:lnTo>
                  <a:pt x="2236" y="1718"/>
                </a:lnTo>
                <a:lnTo>
                  <a:pt x="2226" y="1714"/>
                </a:lnTo>
                <a:lnTo>
                  <a:pt x="2215" y="1712"/>
                </a:lnTo>
                <a:lnTo>
                  <a:pt x="2205" y="1709"/>
                </a:lnTo>
                <a:lnTo>
                  <a:pt x="2193" y="1708"/>
                </a:lnTo>
                <a:lnTo>
                  <a:pt x="2182" y="1709"/>
                </a:lnTo>
                <a:lnTo>
                  <a:pt x="2170" y="1711"/>
                </a:lnTo>
                <a:lnTo>
                  <a:pt x="2170" y="1711"/>
                </a:lnTo>
                <a:lnTo>
                  <a:pt x="2158" y="1712"/>
                </a:lnTo>
                <a:lnTo>
                  <a:pt x="2147" y="1713"/>
                </a:lnTo>
                <a:lnTo>
                  <a:pt x="2147" y="1713"/>
                </a:lnTo>
                <a:lnTo>
                  <a:pt x="2132" y="1712"/>
                </a:lnTo>
                <a:lnTo>
                  <a:pt x="2118" y="1711"/>
                </a:lnTo>
                <a:lnTo>
                  <a:pt x="2103" y="1707"/>
                </a:lnTo>
                <a:lnTo>
                  <a:pt x="2090" y="1702"/>
                </a:lnTo>
                <a:lnTo>
                  <a:pt x="2078" y="1696"/>
                </a:lnTo>
                <a:lnTo>
                  <a:pt x="2066" y="1689"/>
                </a:lnTo>
                <a:lnTo>
                  <a:pt x="2055" y="1681"/>
                </a:lnTo>
                <a:lnTo>
                  <a:pt x="2044" y="1671"/>
                </a:lnTo>
                <a:lnTo>
                  <a:pt x="2036" y="1661"/>
                </a:lnTo>
                <a:lnTo>
                  <a:pt x="2027" y="1649"/>
                </a:lnTo>
                <a:lnTo>
                  <a:pt x="2020" y="1638"/>
                </a:lnTo>
                <a:lnTo>
                  <a:pt x="2014" y="1625"/>
                </a:lnTo>
                <a:lnTo>
                  <a:pt x="2009" y="1612"/>
                </a:lnTo>
                <a:lnTo>
                  <a:pt x="2006" y="1599"/>
                </a:lnTo>
                <a:lnTo>
                  <a:pt x="2003" y="1584"/>
                </a:lnTo>
                <a:lnTo>
                  <a:pt x="2002" y="1570"/>
                </a:lnTo>
                <a:lnTo>
                  <a:pt x="2002" y="1570"/>
                </a:lnTo>
                <a:lnTo>
                  <a:pt x="2003" y="1559"/>
                </a:lnTo>
                <a:lnTo>
                  <a:pt x="2004" y="1549"/>
                </a:lnTo>
                <a:lnTo>
                  <a:pt x="2006" y="1538"/>
                </a:lnTo>
                <a:lnTo>
                  <a:pt x="2008" y="1529"/>
                </a:lnTo>
                <a:lnTo>
                  <a:pt x="2015" y="1511"/>
                </a:lnTo>
                <a:lnTo>
                  <a:pt x="2025" y="1493"/>
                </a:lnTo>
                <a:lnTo>
                  <a:pt x="2037" y="1477"/>
                </a:lnTo>
                <a:lnTo>
                  <a:pt x="2050" y="1462"/>
                </a:lnTo>
                <a:lnTo>
                  <a:pt x="2067" y="1450"/>
                </a:lnTo>
                <a:lnTo>
                  <a:pt x="2076" y="1446"/>
                </a:lnTo>
                <a:lnTo>
                  <a:pt x="2085" y="1441"/>
                </a:lnTo>
                <a:lnTo>
                  <a:pt x="2085" y="1441"/>
                </a:lnTo>
                <a:lnTo>
                  <a:pt x="2101" y="1431"/>
                </a:lnTo>
                <a:lnTo>
                  <a:pt x="2114" y="1420"/>
                </a:lnTo>
                <a:lnTo>
                  <a:pt x="2126" y="1408"/>
                </a:lnTo>
                <a:lnTo>
                  <a:pt x="2137" y="1395"/>
                </a:lnTo>
                <a:lnTo>
                  <a:pt x="2144" y="1379"/>
                </a:lnTo>
                <a:lnTo>
                  <a:pt x="2150" y="1364"/>
                </a:lnTo>
                <a:lnTo>
                  <a:pt x="2154" y="1347"/>
                </a:lnTo>
                <a:lnTo>
                  <a:pt x="2155" y="1330"/>
                </a:lnTo>
                <a:lnTo>
                  <a:pt x="2155" y="1330"/>
                </a:lnTo>
                <a:lnTo>
                  <a:pt x="2154" y="1317"/>
                </a:lnTo>
                <a:lnTo>
                  <a:pt x="2152" y="1305"/>
                </a:lnTo>
                <a:lnTo>
                  <a:pt x="2148" y="1293"/>
                </a:lnTo>
                <a:lnTo>
                  <a:pt x="2143" y="1281"/>
                </a:lnTo>
                <a:lnTo>
                  <a:pt x="2143" y="1281"/>
                </a:lnTo>
                <a:lnTo>
                  <a:pt x="2137" y="1270"/>
                </a:lnTo>
                <a:lnTo>
                  <a:pt x="2131" y="1259"/>
                </a:lnTo>
                <a:lnTo>
                  <a:pt x="2123" y="1250"/>
                </a:lnTo>
                <a:lnTo>
                  <a:pt x="2114" y="1242"/>
                </a:lnTo>
                <a:lnTo>
                  <a:pt x="2106" y="1235"/>
                </a:lnTo>
                <a:lnTo>
                  <a:pt x="2096" y="1228"/>
                </a:lnTo>
                <a:lnTo>
                  <a:pt x="2085" y="1223"/>
                </a:lnTo>
                <a:lnTo>
                  <a:pt x="2076" y="1218"/>
                </a:lnTo>
                <a:lnTo>
                  <a:pt x="2063" y="1214"/>
                </a:lnTo>
                <a:lnTo>
                  <a:pt x="2053" y="1212"/>
                </a:lnTo>
                <a:lnTo>
                  <a:pt x="2041" y="1211"/>
                </a:lnTo>
                <a:lnTo>
                  <a:pt x="2030" y="1211"/>
                </a:lnTo>
                <a:lnTo>
                  <a:pt x="2018" y="1212"/>
                </a:lnTo>
                <a:lnTo>
                  <a:pt x="2006" y="1214"/>
                </a:lnTo>
                <a:lnTo>
                  <a:pt x="1995" y="1218"/>
                </a:lnTo>
                <a:lnTo>
                  <a:pt x="1983" y="1223"/>
                </a:lnTo>
                <a:lnTo>
                  <a:pt x="1983" y="1223"/>
                </a:lnTo>
                <a:lnTo>
                  <a:pt x="1974" y="1226"/>
                </a:lnTo>
                <a:lnTo>
                  <a:pt x="1974" y="1226"/>
                </a:lnTo>
                <a:lnTo>
                  <a:pt x="1977" y="1176"/>
                </a:lnTo>
                <a:lnTo>
                  <a:pt x="1983" y="1125"/>
                </a:lnTo>
                <a:lnTo>
                  <a:pt x="1990" y="1076"/>
                </a:lnTo>
                <a:lnTo>
                  <a:pt x="2000" y="1028"/>
                </a:lnTo>
                <a:lnTo>
                  <a:pt x="2012" y="979"/>
                </a:lnTo>
                <a:lnTo>
                  <a:pt x="2025" y="932"/>
                </a:lnTo>
                <a:lnTo>
                  <a:pt x="2042" y="887"/>
                </a:lnTo>
                <a:lnTo>
                  <a:pt x="2060" y="842"/>
                </a:lnTo>
                <a:lnTo>
                  <a:pt x="2079" y="797"/>
                </a:lnTo>
                <a:lnTo>
                  <a:pt x="2101" y="755"/>
                </a:lnTo>
                <a:lnTo>
                  <a:pt x="2125" y="714"/>
                </a:lnTo>
                <a:lnTo>
                  <a:pt x="2150" y="675"/>
                </a:lnTo>
                <a:lnTo>
                  <a:pt x="2178" y="636"/>
                </a:lnTo>
                <a:lnTo>
                  <a:pt x="2207" y="599"/>
                </a:lnTo>
                <a:lnTo>
                  <a:pt x="2237" y="563"/>
                </a:lnTo>
                <a:lnTo>
                  <a:pt x="2270" y="529"/>
                </a:lnTo>
                <a:lnTo>
                  <a:pt x="2303" y="496"/>
                </a:lnTo>
                <a:lnTo>
                  <a:pt x="2338" y="465"/>
                </a:lnTo>
                <a:lnTo>
                  <a:pt x="2375" y="436"/>
                </a:lnTo>
                <a:lnTo>
                  <a:pt x="2412" y="408"/>
                </a:lnTo>
                <a:lnTo>
                  <a:pt x="2451" y="383"/>
                </a:lnTo>
                <a:lnTo>
                  <a:pt x="2490" y="359"/>
                </a:lnTo>
                <a:lnTo>
                  <a:pt x="2533" y="337"/>
                </a:lnTo>
                <a:lnTo>
                  <a:pt x="2575" y="318"/>
                </a:lnTo>
                <a:lnTo>
                  <a:pt x="2618" y="300"/>
                </a:lnTo>
                <a:lnTo>
                  <a:pt x="2662" y="284"/>
                </a:lnTo>
                <a:lnTo>
                  <a:pt x="2707" y="271"/>
                </a:lnTo>
                <a:lnTo>
                  <a:pt x="2753" y="260"/>
                </a:lnTo>
                <a:lnTo>
                  <a:pt x="2800" y="252"/>
                </a:lnTo>
                <a:lnTo>
                  <a:pt x="2847" y="246"/>
                </a:lnTo>
                <a:lnTo>
                  <a:pt x="2896" y="242"/>
                </a:lnTo>
                <a:lnTo>
                  <a:pt x="2945" y="241"/>
                </a:lnTo>
                <a:lnTo>
                  <a:pt x="2945" y="241"/>
                </a:lnTo>
                <a:lnTo>
                  <a:pt x="2994" y="242"/>
                </a:lnTo>
                <a:lnTo>
                  <a:pt x="3043" y="246"/>
                </a:lnTo>
                <a:lnTo>
                  <a:pt x="3090" y="252"/>
                </a:lnTo>
                <a:lnTo>
                  <a:pt x="3137" y="260"/>
                </a:lnTo>
                <a:lnTo>
                  <a:pt x="3183" y="271"/>
                </a:lnTo>
                <a:lnTo>
                  <a:pt x="3228" y="284"/>
                </a:lnTo>
                <a:lnTo>
                  <a:pt x="3272" y="300"/>
                </a:lnTo>
                <a:lnTo>
                  <a:pt x="3315" y="318"/>
                </a:lnTo>
                <a:lnTo>
                  <a:pt x="3357" y="337"/>
                </a:lnTo>
                <a:lnTo>
                  <a:pt x="3400" y="359"/>
                </a:lnTo>
                <a:lnTo>
                  <a:pt x="3439" y="383"/>
                </a:lnTo>
                <a:lnTo>
                  <a:pt x="3478" y="408"/>
                </a:lnTo>
                <a:lnTo>
                  <a:pt x="3515" y="436"/>
                </a:lnTo>
                <a:lnTo>
                  <a:pt x="3553" y="465"/>
                </a:lnTo>
                <a:lnTo>
                  <a:pt x="3588" y="496"/>
                </a:lnTo>
                <a:lnTo>
                  <a:pt x="3620" y="529"/>
                </a:lnTo>
                <a:lnTo>
                  <a:pt x="3653" y="563"/>
                </a:lnTo>
                <a:lnTo>
                  <a:pt x="3683" y="599"/>
                </a:lnTo>
                <a:lnTo>
                  <a:pt x="3712" y="636"/>
                </a:lnTo>
                <a:lnTo>
                  <a:pt x="3740" y="675"/>
                </a:lnTo>
                <a:lnTo>
                  <a:pt x="3765" y="714"/>
                </a:lnTo>
                <a:lnTo>
                  <a:pt x="3789" y="755"/>
                </a:lnTo>
                <a:lnTo>
                  <a:pt x="3811" y="799"/>
                </a:lnTo>
                <a:lnTo>
                  <a:pt x="3830" y="842"/>
                </a:lnTo>
                <a:lnTo>
                  <a:pt x="3848" y="887"/>
                </a:lnTo>
                <a:lnTo>
                  <a:pt x="3865" y="932"/>
                </a:lnTo>
                <a:lnTo>
                  <a:pt x="3878" y="979"/>
                </a:lnTo>
                <a:lnTo>
                  <a:pt x="3890" y="1028"/>
                </a:lnTo>
                <a:lnTo>
                  <a:pt x="3900" y="1076"/>
                </a:lnTo>
                <a:lnTo>
                  <a:pt x="3907" y="1125"/>
                </a:lnTo>
                <a:lnTo>
                  <a:pt x="3913" y="1176"/>
                </a:lnTo>
                <a:lnTo>
                  <a:pt x="3916" y="1226"/>
                </a:lnTo>
                <a:lnTo>
                  <a:pt x="3916" y="1226"/>
                </a:lnTo>
                <a:lnTo>
                  <a:pt x="3899" y="1219"/>
                </a:lnTo>
                <a:lnTo>
                  <a:pt x="3881" y="1212"/>
                </a:lnTo>
                <a:lnTo>
                  <a:pt x="3863" y="1205"/>
                </a:lnTo>
                <a:lnTo>
                  <a:pt x="3843" y="1200"/>
                </a:lnTo>
                <a:lnTo>
                  <a:pt x="3824" y="1195"/>
                </a:lnTo>
                <a:lnTo>
                  <a:pt x="3805" y="1191"/>
                </a:lnTo>
                <a:lnTo>
                  <a:pt x="3786" y="1188"/>
                </a:lnTo>
                <a:lnTo>
                  <a:pt x="3765" y="1187"/>
                </a:lnTo>
                <a:lnTo>
                  <a:pt x="3765" y="1187"/>
                </a:lnTo>
                <a:lnTo>
                  <a:pt x="3753" y="1187"/>
                </a:lnTo>
                <a:lnTo>
                  <a:pt x="3740" y="1188"/>
                </a:lnTo>
                <a:lnTo>
                  <a:pt x="3728" y="1190"/>
                </a:lnTo>
                <a:lnTo>
                  <a:pt x="3717" y="1194"/>
                </a:lnTo>
                <a:lnTo>
                  <a:pt x="3717" y="1194"/>
                </a:lnTo>
                <a:lnTo>
                  <a:pt x="3683" y="1202"/>
                </a:lnTo>
                <a:lnTo>
                  <a:pt x="3650" y="1208"/>
                </a:lnTo>
                <a:lnTo>
                  <a:pt x="3617" y="1214"/>
                </a:lnTo>
                <a:lnTo>
                  <a:pt x="3583" y="1219"/>
                </a:lnTo>
                <a:lnTo>
                  <a:pt x="3549" y="1223"/>
                </a:lnTo>
                <a:lnTo>
                  <a:pt x="3515" y="1225"/>
                </a:lnTo>
                <a:lnTo>
                  <a:pt x="3480" y="1226"/>
                </a:lnTo>
                <a:lnTo>
                  <a:pt x="3447" y="1228"/>
                </a:lnTo>
                <a:lnTo>
                  <a:pt x="3447" y="1228"/>
                </a:lnTo>
                <a:lnTo>
                  <a:pt x="3410" y="1226"/>
                </a:lnTo>
                <a:lnTo>
                  <a:pt x="3376" y="1225"/>
                </a:lnTo>
                <a:lnTo>
                  <a:pt x="3342" y="1223"/>
                </a:lnTo>
                <a:lnTo>
                  <a:pt x="3307" y="1219"/>
                </a:lnTo>
                <a:lnTo>
                  <a:pt x="3273" y="1213"/>
                </a:lnTo>
                <a:lnTo>
                  <a:pt x="3239" y="1207"/>
                </a:lnTo>
                <a:lnTo>
                  <a:pt x="3205" y="1201"/>
                </a:lnTo>
                <a:lnTo>
                  <a:pt x="3173" y="1193"/>
                </a:lnTo>
                <a:lnTo>
                  <a:pt x="3140" y="1183"/>
                </a:lnTo>
                <a:lnTo>
                  <a:pt x="3108" y="1173"/>
                </a:lnTo>
                <a:lnTo>
                  <a:pt x="3076" y="1163"/>
                </a:lnTo>
                <a:lnTo>
                  <a:pt x="3046" y="1150"/>
                </a:lnTo>
                <a:lnTo>
                  <a:pt x="3015" y="1138"/>
                </a:lnTo>
                <a:lnTo>
                  <a:pt x="2986" y="1124"/>
                </a:lnTo>
                <a:lnTo>
                  <a:pt x="2957" y="1110"/>
                </a:lnTo>
                <a:lnTo>
                  <a:pt x="2928" y="1094"/>
                </a:lnTo>
                <a:lnTo>
                  <a:pt x="2902" y="1078"/>
                </a:lnTo>
                <a:lnTo>
                  <a:pt x="2874" y="1060"/>
                </a:lnTo>
                <a:lnTo>
                  <a:pt x="2849" y="1043"/>
                </a:lnTo>
                <a:lnTo>
                  <a:pt x="2823" y="1024"/>
                </a:lnTo>
                <a:lnTo>
                  <a:pt x="2799" y="1005"/>
                </a:lnTo>
                <a:lnTo>
                  <a:pt x="2775" y="984"/>
                </a:lnTo>
                <a:lnTo>
                  <a:pt x="2752" y="964"/>
                </a:lnTo>
                <a:lnTo>
                  <a:pt x="2730" y="941"/>
                </a:lnTo>
                <a:lnTo>
                  <a:pt x="2710" y="919"/>
                </a:lnTo>
                <a:lnTo>
                  <a:pt x="2691" y="896"/>
                </a:lnTo>
                <a:lnTo>
                  <a:pt x="2672" y="872"/>
                </a:lnTo>
                <a:lnTo>
                  <a:pt x="2654" y="848"/>
                </a:lnTo>
                <a:lnTo>
                  <a:pt x="2637" y="823"/>
                </a:lnTo>
                <a:lnTo>
                  <a:pt x="2623" y="797"/>
                </a:lnTo>
                <a:lnTo>
                  <a:pt x="2609" y="771"/>
                </a:lnTo>
                <a:lnTo>
                  <a:pt x="2595" y="743"/>
                </a:lnTo>
                <a:lnTo>
                  <a:pt x="2595" y="743"/>
                </a:lnTo>
                <a:lnTo>
                  <a:pt x="2590" y="732"/>
                </a:lnTo>
                <a:lnTo>
                  <a:pt x="2583" y="723"/>
                </a:lnTo>
                <a:lnTo>
                  <a:pt x="2576" y="713"/>
                </a:lnTo>
                <a:lnTo>
                  <a:pt x="2568" y="705"/>
                </a:lnTo>
                <a:lnTo>
                  <a:pt x="2559" y="698"/>
                </a:lnTo>
                <a:lnTo>
                  <a:pt x="2549" y="691"/>
                </a:lnTo>
                <a:lnTo>
                  <a:pt x="2539" y="685"/>
                </a:lnTo>
                <a:lnTo>
                  <a:pt x="2528" y="681"/>
                </a:lnTo>
                <a:lnTo>
                  <a:pt x="2517" y="677"/>
                </a:lnTo>
                <a:lnTo>
                  <a:pt x="2506" y="675"/>
                </a:lnTo>
                <a:lnTo>
                  <a:pt x="2494" y="673"/>
                </a:lnTo>
                <a:lnTo>
                  <a:pt x="2483" y="673"/>
                </a:lnTo>
                <a:lnTo>
                  <a:pt x="2471" y="673"/>
                </a:lnTo>
                <a:lnTo>
                  <a:pt x="2459" y="676"/>
                </a:lnTo>
                <a:lnTo>
                  <a:pt x="2447" y="679"/>
                </a:lnTo>
                <a:lnTo>
                  <a:pt x="2436" y="684"/>
                </a:lnTo>
                <a:lnTo>
                  <a:pt x="2436" y="684"/>
                </a:lnTo>
                <a:lnTo>
                  <a:pt x="2425" y="689"/>
                </a:lnTo>
                <a:lnTo>
                  <a:pt x="2414" y="696"/>
                </a:lnTo>
                <a:lnTo>
                  <a:pt x="2406" y="704"/>
                </a:lnTo>
                <a:lnTo>
                  <a:pt x="2398" y="712"/>
                </a:lnTo>
                <a:lnTo>
                  <a:pt x="2389" y="720"/>
                </a:lnTo>
                <a:lnTo>
                  <a:pt x="2383" y="730"/>
                </a:lnTo>
                <a:lnTo>
                  <a:pt x="2377" y="741"/>
                </a:lnTo>
                <a:lnTo>
                  <a:pt x="2373" y="752"/>
                </a:lnTo>
                <a:lnTo>
                  <a:pt x="2370" y="763"/>
                </a:lnTo>
                <a:lnTo>
                  <a:pt x="2367" y="773"/>
                </a:lnTo>
                <a:lnTo>
                  <a:pt x="2365" y="785"/>
                </a:lnTo>
                <a:lnTo>
                  <a:pt x="2365" y="796"/>
                </a:lnTo>
                <a:lnTo>
                  <a:pt x="2366" y="808"/>
                </a:lnTo>
                <a:lnTo>
                  <a:pt x="2369" y="820"/>
                </a:lnTo>
                <a:lnTo>
                  <a:pt x="2371" y="832"/>
                </a:lnTo>
                <a:lnTo>
                  <a:pt x="2376" y="843"/>
                </a:lnTo>
                <a:lnTo>
                  <a:pt x="2376" y="843"/>
                </a:lnTo>
                <a:lnTo>
                  <a:pt x="2393" y="877"/>
                </a:lnTo>
                <a:lnTo>
                  <a:pt x="2410" y="911"/>
                </a:lnTo>
                <a:lnTo>
                  <a:pt x="2429" y="943"/>
                </a:lnTo>
                <a:lnTo>
                  <a:pt x="2449" y="976"/>
                </a:lnTo>
                <a:lnTo>
                  <a:pt x="2472" y="1007"/>
                </a:lnTo>
                <a:lnTo>
                  <a:pt x="2495" y="1038"/>
                </a:lnTo>
                <a:lnTo>
                  <a:pt x="2519" y="1067"/>
                </a:lnTo>
                <a:lnTo>
                  <a:pt x="2546" y="1096"/>
                </a:lnTo>
                <a:lnTo>
                  <a:pt x="2572" y="1125"/>
                </a:lnTo>
                <a:lnTo>
                  <a:pt x="2601" y="1152"/>
                </a:lnTo>
                <a:lnTo>
                  <a:pt x="2630" y="1178"/>
                </a:lnTo>
                <a:lnTo>
                  <a:pt x="2662" y="1203"/>
                </a:lnTo>
                <a:lnTo>
                  <a:pt x="2693" y="1229"/>
                </a:lnTo>
                <a:lnTo>
                  <a:pt x="2726" y="1252"/>
                </a:lnTo>
                <a:lnTo>
                  <a:pt x="2760" y="1275"/>
                </a:lnTo>
                <a:lnTo>
                  <a:pt x="2795" y="1296"/>
                </a:lnTo>
                <a:lnTo>
                  <a:pt x="2795" y="1296"/>
                </a:lnTo>
                <a:lnTo>
                  <a:pt x="2838" y="1320"/>
                </a:lnTo>
                <a:lnTo>
                  <a:pt x="2838" y="1320"/>
                </a:lnTo>
                <a:lnTo>
                  <a:pt x="2873" y="1337"/>
                </a:lnTo>
                <a:lnTo>
                  <a:pt x="2908" y="1354"/>
                </a:lnTo>
                <a:lnTo>
                  <a:pt x="2944" y="1370"/>
                </a:lnTo>
                <a:lnTo>
                  <a:pt x="2980" y="1384"/>
                </a:lnTo>
                <a:lnTo>
                  <a:pt x="3016" y="1397"/>
                </a:lnTo>
                <a:lnTo>
                  <a:pt x="3054" y="1409"/>
                </a:lnTo>
                <a:lnTo>
                  <a:pt x="3091" y="1420"/>
                </a:lnTo>
                <a:lnTo>
                  <a:pt x="3130" y="1431"/>
                </a:lnTo>
                <a:lnTo>
                  <a:pt x="3168" y="1440"/>
                </a:lnTo>
                <a:lnTo>
                  <a:pt x="3207" y="1447"/>
                </a:lnTo>
                <a:lnTo>
                  <a:pt x="3245" y="1454"/>
                </a:lnTo>
                <a:lnTo>
                  <a:pt x="3285" y="1459"/>
                </a:lnTo>
                <a:lnTo>
                  <a:pt x="3325" y="1462"/>
                </a:lnTo>
                <a:lnTo>
                  <a:pt x="3366" y="1466"/>
                </a:lnTo>
                <a:lnTo>
                  <a:pt x="3406" y="1467"/>
                </a:lnTo>
                <a:lnTo>
                  <a:pt x="3447" y="1469"/>
                </a:lnTo>
                <a:lnTo>
                  <a:pt x="3447" y="1469"/>
                </a:lnTo>
                <a:lnTo>
                  <a:pt x="3488" y="1467"/>
                </a:lnTo>
                <a:lnTo>
                  <a:pt x="3529" y="1466"/>
                </a:lnTo>
                <a:lnTo>
                  <a:pt x="3570" y="1462"/>
                </a:lnTo>
                <a:lnTo>
                  <a:pt x="3609" y="1459"/>
                </a:lnTo>
                <a:lnTo>
                  <a:pt x="3650" y="1453"/>
                </a:lnTo>
                <a:lnTo>
                  <a:pt x="3690" y="1447"/>
                </a:lnTo>
                <a:lnTo>
                  <a:pt x="3730" y="1438"/>
                </a:lnTo>
                <a:lnTo>
                  <a:pt x="3769" y="1429"/>
                </a:lnTo>
                <a:lnTo>
                  <a:pt x="3769" y="1429"/>
                </a:lnTo>
                <a:lnTo>
                  <a:pt x="3782" y="1432"/>
                </a:lnTo>
                <a:lnTo>
                  <a:pt x="3793" y="1436"/>
                </a:lnTo>
                <a:lnTo>
                  <a:pt x="3805" y="1441"/>
                </a:lnTo>
                <a:lnTo>
                  <a:pt x="3816" y="1447"/>
                </a:lnTo>
                <a:lnTo>
                  <a:pt x="3827" y="1453"/>
                </a:lnTo>
                <a:lnTo>
                  <a:pt x="3836" y="1460"/>
                </a:lnTo>
                <a:lnTo>
                  <a:pt x="3845" y="1469"/>
                </a:lnTo>
                <a:lnTo>
                  <a:pt x="3853" y="1478"/>
                </a:lnTo>
                <a:lnTo>
                  <a:pt x="3860" y="1488"/>
                </a:lnTo>
                <a:lnTo>
                  <a:pt x="3868" y="1497"/>
                </a:lnTo>
                <a:lnTo>
                  <a:pt x="3874" y="1508"/>
                </a:lnTo>
                <a:lnTo>
                  <a:pt x="3878" y="1520"/>
                </a:lnTo>
                <a:lnTo>
                  <a:pt x="3882" y="1531"/>
                </a:lnTo>
                <a:lnTo>
                  <a:pt x="3884" y="1544"/>
                </a:lnTo>
                <a:lnTo>
                  <a:pt x="3887" y="1556"/>
                </a:lnTo>
                <a:lnTo>
                  <a:pt x="3887" y="1570"/>
                </a:lnTo>
                <a:lnTo>
                  <a:pt x="3887" y="1570"/>
                </a:lnTo>
                <a:lnTo>
                  <a:pt x="3886" y="1584"/>
                </a:lnTo>
                <a:lnTo>
                  <a:pt x="3884" y="1599"/>
                </a:lnTo>
                <a:lnTo>
                  <a:pt x="3881" y="1612"/>
                </a:lnTo>
                <a:lnTo>
                  <a:pt x="3876" y="1625"/>
                </a:lnTo>
                <a:lnTo>
                  <a:pt x="3870" y="1638"/>
                </a:lnTo>
                <a:lnTo>
                  <a:pt x="3863" y="1649"/>
                </a:lnTo>
                <a:lnTo>
                  <a:pt x="3854" y="1661"/>
                </a:lnTo>
                <a:lnTo>
                  <a:pt x="3845" y="1671"/>
                </a:lnTo>
                <a:lnTo>
                  <a:pt x="3835" y="1681"/>
                </a:lnTo>
                <a:lnTo>
                  <a:pt x="3823" y="1689"/>
                </a:lnTo>
                <a:lnTo>
                  <a:pt x="3812" y="1696"/>
                </a:lnTo>
                <a:lnTo>
                  <a:pt x="3799" y="1702"/>
                </a:lnTo>
                <a:lnTo>
                  <a:pt x="3786" y="1707"/>
                </a:lnTo>
                <a:lnTo>
                  <a:pt x="3772" y="1711"/>
                </a:lnTo>
                <a:lnTo>
                  <a:pt x="3758" y="1712"/>
                </a:lnTo>
                <a:lnTo>
                  <a:pt x="3743" y="1713"/>
                </a:lnTo>
                <a:lnTo>
                  <a:pt x="3743" y="1713"/>
                </a:lnTo>
                <a:lnTo>
                  <a:pt x="3732" y="1712"/>
                </a:lnTo>
                <a:lnTo>
                  <a:pt x="3720" y="1711"/>
                </a:lnTo>
                <a:lnTo>
                  <a:pt x="3720" y="1711"/>
                </a:lnTo>
                <a:lnTo>
                  <a:pt x="3708" y="1709"/>
                </a:lnTo>
                <a:lnTo>
                  <a:pt x="3697" y="1708"/>
                </a:lnTo>
                <a:lnTo>
                  <a:pt x="3685" y="1709"/>
                </a:lnTo>
                <a:lnTo>
                  <a:pt x="3675" y="1712"/>
                </a:lnTo>
                <a:lnTo>
                  <a:pt x="3664" y="1714"/>
                </a:lnTo>
                <a:lnTo>
                  <a:pt x="3654" y="1718"/>
                </a:lnTo>
                <a:lnTo>
                  <a:pt x="3643" y="1723"/>
                </a:lnTo>
                <a:lnTo>
                  <a:pt x="3635" y="1729"/>
                </a:lnTo>
                <a:lnTo>
                  <a:pt x="3625" y="1735"/>
                </a:lnTo>
                <a:lnTo>
                  <a:pt x="3617" y="1742"/>
                </a:lnTo>
                <a:lnTo>
                  <a:pt x="3609" y="1750"/>
                </a:lnTo>
                <a:lnTo>
                  <a:pt x="3602" y="1759"/>
                </a:lnTo>
                <a:lnTo>
                  <a:pt x="3596" y="1768"/>
                </a:lnTo>
                <a:lnTo>
                  <a:pt x="3591" y="1778"/>
                </a:lnTo>
                <a:lnTo>
                  <a:pt x="3587" y="1789"/>
                </a:lnTo>
                <a:lnTo>
                  <a:pt x="3584" y="1800"/>
                </a:lnTo>
                <a:lnTo>
                  <a:pt x="3584" y="1800"/>
                </a:lnTo>
                <a:lnTo>
                  <a:pt x="3573" y="1841"/>
                </a:lnTo>
                <a:lnTo>
                  <a:pt x="3561" y="1882"/>
                </a:lnTo>
                <a:lnTo>
                  <a:pt x="3549" y="1920"/>
                </a:lnTo>
                <a:lnTo>
                  <a:pt x="3536" y="1959"/>
                </a:lnTo>
                <a:lnTo>
                  <a:pt x="3523" y="1995"/>
                </a:lnTo>
                <a:lnTo>
                  <a:pt x="3508" y="2031"/>
                </a:lnTo>
                <a:lnTo>
                  <a:pt x="3492" y="2067"/>
                </a:lnTo>
                <a:lnTo>
                  <a:pt x="3477" y="2101"/>
                </a:lnTo>
                <a:lnTo>
                  <a:pt x="3460" y="2133"/>
                </a:lnTo>
                <a:lnTo>
                  <a:pt x="3443" y="2166"/>
                </a:lnTo>
                <a:lnTo>
                  <a:pt x="3425" y="2196"/>
                </a:lnTo>
                <a:lnTo>
                  <a:pt x="3406" y="2226"/>
                </a:lnTo>
                <a:lnTo>
                  <a:pt x="3388" y="2255"/>
                </a:lnTo>
                <a:lnTo>
                  <a:pt x="3367" y="2282"/>
                </a:lnTo>
                <a:lnTo>
                  <a:pt x="3347" y="2308"/>
                </a:lnTo>
                <a:lnTo>
                  <a:pt x="3326" y="2333"/>
                </a:lnTo>
                <a:lnTo>
                  <a:pt x="3306" y="2356"/>
                </a:lnTo>
                <a:lnTo>
                  <a:pt x="3284" y="2379"/>
                </a:lnTo>
                <a:lnTo>
                  <a:pt x="3261" y="2400"/>
                </a:lnTo>
                <a:lnTo>
                  <a:pt x="3239" y="2419"/>
                </a:lnTo>
                <a:lnTo>
                  <a:pt x="3216" y="2437"/>
                </a:lnTo>
                <a:lnTo>
                  <a:pt x="3192" y="2454"/>
                </a:lnTo>
                <a:lnTo>
                  <a:pt x="3169" y="2468"/>
                </a:lnTo>
                <a:lnTo>
                  <a:pt x="3145" y="2483"/>
                </a:lnTo>
                <a:lnTo>
                  <a:pt x="3121" y="2495"/>
                </a:lnTo>
                <a:lnTo>
                  <a:pt x="3096" y="2506"/>
                </a:lnTo>
                <a:lnTo>
                  <a:pt x="3072" y="2514"/>
                </a:lnTo>
                <a:lnTo>
                  <a:pt x="3046" y="2523"/>
                </a:lnTo>
                <a:lnTo>
                  <a:pt x="3021" y="2529"/>
                </a:lnTo>
                <a:lnTo>
                  <a:pt x="2996" y="2532"/>
                </a:lnTo>
                <a:lnTo>
                  <a:pt x="2970" y="2535"/>
                </a:lnTo>
                <a:lnTo>
                  <a:pt x="2945" y="2536"/>
                </a:lnTo>
                <a:lnTo>
                  <a:pt x="2945" y="2536"/>
                </a:lnTo>
                <a:lnTo>
                  <a:pt x="2920" y="2535"/>
                </a:lnTo>
                <a:lnTo>
                  <a:pt x="2894" y="2532"/>
                </a:lnTo>
                <a:lnTo>
                  <a:pt x="2869" y="2529"/>
                </a:lnTo>
                <a:lnTo>
                  <a:pt x="2844" y="2523"/>
                </a:lnTo>
                <a:lnTo>
                  <a:pt x="2818" y="2514"/>
                </a:lnTo>
                <a:lnTo>
                  <a:pt x="2794" y="2506"/>
                </a:lnTo>
                <a:lnTo>
                  <a:pt x="2769" y="2495"/>
                </a:lnTo>
                <a:lnTo>
                  <a:pt x="2745" y="2483"/>
                </a:lnTo>
                <a:lnTo>
                  <a:pt x="2721" y="2468"/>
                </a:lnTo>
                <a:lnTo>
                  <a:pt x="2698" y="2454"/>
                </a:lnTo>
                <a:lnTo>
                  <a:pt x="2674" y="2437"/>
                </a:lnTo>
                <a:lnTo>
                  <a:pt x="2651" y="2419"/>
                </a:lnTo>
                <a:lnTo>
                  <a:pt x="2629" y="2400"/>
                </a:lnTo>
                <a:lnTo>
                  <a:pt x="2606" y="2379"/>
                </a:lnTo>
                <a:lnTo>
                  <a:pt x="2584" y="2356"/>
                </a:lnTo>
                <a:lnTo>
                  <a:pt x="2564" y="2333"/>
                </a:lnTo>
                <a:lnTo>
                  <a:pt x="2543" y="2308"/>
                </a:lnTo>
                <a:lnTo>
                  <a:pt x="2523" y="2282"/>
                </a:lnTo>
                <a:lnTo>
                  <a:pt x="2502" y="2255"/>
                </a:lnTo>
                <a:lnTo>
                  <a:pt x="2484" y="2226"/>
                </a:lnTo>
                <a:lnTo>
                  <a:pt x="2465" y="2196"/>
                </a:lnTo>
                <a:lnTo>
                  <a:pt x="2447" y="2166"/>
                </a:lnTo>
                <a:lnTo>
                  <a:pt x="2430" y="2133"/>
                </a:lnTo>
                <a:lnTo>
                  <a:pt x="2413" y="2101"/>
                </a:lnTo>
                <a:lnTo>
                  <a:pt x="2398" y="2067"/>
                </a:lnTo>
                <a:lnTo>
                  <a:pt x="2382" y="2031"/>
                </a:lnTo>
                <a:lnTo>
                  <a:pt x="2367" y="1995"/>
                </a:lnTo>
                <a:lnTo>
                  <a:pt x="2354" y="1959"/>
                </a:lnTo>
                <a:lnTo>
                  <a:pt x="2341" y="1920"/>
                </a:lnTo>
                <a:lnTo>
                  <a:pt x="2329" y="1881"/>
                </a:lnTo>
                <a:lnTo>
                  <a:pt x="2317" y="1841"/>
                </a:lnTo>
                <a:lnTo>
                  <a:pt x="2306" y="1800"/>
                </a:lnTo>
                <a:lnTo>
                  <a:pt x="2306" y="1800"/>
                </a:lnTo>
                <a:close/>
                <a:moveTo>
                  <a:pt x="4757" y="6245"/>
                </a:moveTo>
                <a:lnTo>
                  <a:pt x="1133" y="6245"/>
                </a:lnTo>
                <a:lnTo>
                  <a:pt x="1133" y="3966"/>
                </a:lnTo>
                <a:lnTo>
                  <a:pt x="1133" y="3966"/>
                </a:lnTo>
                <a:lnTo>
                  <a:pt x="1134" y="3945"/>
                </a:lnTo>
                <a:lnTo>
                  <a:pt x="1136" y="3926"/>
                </a:lnTo>
                <a:lnTo>
                  <a:pt x="1141" y="3908"/>
                </a:lnTo>
                <a:lnTo>
                  <a:pt x="1148" y="3890"/>
                </a:lnTo>
                <a:lnTo>
                  <a:pt x="1157" y="3873"/>
                </a:lnTo>
                <a:lnTo>
                  <a:pt x="1166" y="3856"/>
                </a:lnTo>
                <a:lnTo>
                  <a:pt x="1177" y="3842"/>
                </a:lnTo>
                <a:lnTo>
                  <a:pt x="1190" y="3827"/>
                </a:lnTo>
                <a:lnTo>
                  <a:pt x="1204" y="3815"/>
                </a:lnTo>
                <a:lnTo>
                  <a:pt x="1219" y="3803"/>
                </a:lnTo>
                <a:lnTo>
                  <a:pt x="1235" y="3794"/>
                </a:lnTo>
                <a:lnTo>
                  <a:pt x="1252" y="3785"/>
                </a:lnTo>
                <a:lnTo>
                  <a:pt x="1270" y="3779"/>
                </a:lnTo>
                <a:lnTo>
                  <a:pt x="1289" y="3774"/>
                </a:lnTo>
                <a:lnTo>
                  <a:pt x="1309" y="3771"/>
                </a:lnTo>
                <a:lnTo>
                  <a:pt x="1328" y="3771"/>
                </a:lnTo>
                <a:lnTo>
                  <a:pt x="4562" y="3771"/>
                </a:lnTo>
                <a:lnTo>
                  <a:pt x="4562" y="3771"/>
                </a:lnTo>
                <a:lnTo>
                  <a:pt x="4581" y="3771"/>
                </a:lnTo>
                <a:lnTo>
                  <a:pt x="4601" y="3774"/>
                </a:lnTo>
                <a:lnTo>
                  <a:pt x="4620" y="3779"/>
                </a:lnTo>
                <a:lnTo>
                  <a:pt x="4638" y="3785"/>
                </a:lnTo>
                <a:lnTo>
                  <a:pt x="4655" y="3794"/>
                </a:lnTo>
                <a:lnTo>
                  <a:pt x="4671" y="3803"/>
                </a:lnTo>
                <a:lnTo>
                  <a:pt x="4686" y="3815"/>
                </a:lnTo>
                <a:lnTo>
                  <a:pt x="4700" y="3827"/>
                </a:lnTo>
                <a:lnTo>
                  <a:pt x="4713" y="3842"/>
                </a:lnTo>
                <a:lnTo>
                  <a:pt x="4724" y="3856"/>
                </a:lnTo>
                <a:lnTo>
                  <a:pt x="4733" y="3873"/>
                </a:lnTo>
                <a:lnTo>
                  <a:pt x="4742" y="3890"/>
                </a:lnTo>
                <a:lnTo>
                  <a:pt x="4749" y="3908"/>
                </a:lnTo>
                <a:lnTo>
                  <a:pt x="4754" y="3926"/>
                </a:lnTo>
                <a:lnTo>
                  <a:pt x="4756" y="3945"/>
                </a:lnTo>
                <a:lnTo>
                  <a:pt x="4757" y="3966"/>
                </a:lnTo>
                <a:lnTo>
                  <a:pt x="4757" y="6245"/>
                </a:lnTo>
                <a:close/>
                <a:moveTo>
                  <a:pt x="4562" y="3530"/>
                </a:moveTo>
                <a:lnTo>
                  <a:pt x="1328" y="3530"/>
                </a:lnTo>
                <a:lnTo>
                  <a:pt x="1328" y="3530"/>
                </a:lnTo>
                <a:lnTo>
                  <a:pt x="1306" y="3530"/>
                </a:lnTo>
                <a:lnTo>
                  <a:pt x="1283" y="3532"/>
                </a:lnTo>
                <a:lnTo>
                  <a:pt x="1262" y="3535"/>
                </a:lnTo>
                <a:lnTo>
                  <a:pt x="1240" y="3538"/>
                </a:lnTo>
                <a:lnTo>
                  <a:pt x="1219" y="3543"/>
                </a:lnTo>
                <a:lnTo>
                  <a:pt x="1199" y="3549"/>
                </a:lnTo>
                <a:lnTo>
                  <a:pt x="1178" y="3556"/>
                </a:lnTo>
                <a:lnTo>
                  <a:pt x="1158" y="3563"/>
                </a:lnTo>
                <a:lnTo>
                  <a:pt x="1139" y="3572"/>
                </a:lnTo>
                <a:lnTo>
                  <a:pt x="1120" y="3582"/>
                </a:lnTo>
                <a:lnTo>
                  <a:pt x="1102" y="3592"/>
                </a:lnTo>
                <a:lnTo>
                  <a:pt x="1084" y="3604"/>
                </a:lnTo>
                <a:lnTo>
                  <a:pt x="1067" y="3616"/>
                </a:lnTo>
                <a:lnTo>
                  <a:pt x="1051" y="3628"/>
                </a:lnTo>
                <a:lnTo>
                  <a:pt x="1035" y="3643"/>
                </a:lnTo>
                <a:lnTo>
                  <a:pt x="1019" y="3657"/>
                </a:lnTo>
                <a:lnTo>
                  <a:pt x="1005" y="3672"/>
                </a:lnTo>
                <a:lnTo>
                  <a:pt x="991" y="3689"/>
                </a:lnTo>
                <a:lnTo>
                  <a:pt x="978" y="3704"/>
                </a:lnTo>
                <a:lnTo>
                  <a:pt x="966" y="3722"/>
                </a:lnTo>
                <a:lnTo>
                  <a:pt x="955" y="3739"/>
                </a:lnTo>
                <a:lnTo>
                  <a:pt x="944" y="3757"/>
                </a:lnTo>
                <a:lnTo>
                  <a:pt x="935" y="3777"/>
                </a:lnTo>
                <a:lnTo>
                  <a:pt x="926" y="3796"/>
                </a:lnTo>
                <a:lnTo>
                  <a:pt x="918" y="3815"/>
                </a:lnTo>
                <a:lnTo>
                  <a:pt x="911" y="3836"/>
                </a:lnTo>
                <a:lnTo>
                  <a:pt x="906" y="3856"/>
                </a:lnTo>
                <a:lnTo>
                  <a:pt x="900" y="3878"/>
                </a:lnTo>
                <a:lnTo>
                  <a:pt x="896" y="3900"/>
                </a:lnTo>
                <a:lnTo>
                  <a:pt x="894" y="3921"/>
                </a:lnTo>
                <a:lnTo>
                  <a:pt x="893" y="3943"/>
                </a:lnTo>
                <a:lnTo>
                  <a:pt x="891" y="3966"/>
                </a:lnTo>
                <a:lnTo>
                  <a:pt x="891" y="5861"/>
                </a:lnTo>
                <a:lnTo>
                  <a:pt x="475" y="5670"/>
                </a:lnTo>
                <a:lnTo>
                  <a:pt x="475" y="5670"/>
                </a:lnTo>
                <a:lnTo>
                  <a:pt x="449" y="5652"/>
                </a:lnTo>
                <a:lnTo>
                  <a:pt x="422" y="5633"/>
                </a:lnTo>
                <a:lnTo>
                  <a:pt x="399" y="5614"/>
                </a:lnTo>
                <a:lnTo>
                  <a:pt x="378" y="5595"/>
                </a:lnTo>
                <a:lnTo>
                  <a:pt x="357" y="5574"/>
                </a:lnTo>
                <a:lnTo>
                  <a:pt x="339" y="5554"/>
                </a:lnTo>
                <a:lnTo>
                  <a:pt x="323" y="5532"/>
                </a:lnTo>
                <a:lnTo>
                  <a:pt x="309" y="5511"/>
                </a:lnTo>
                <a:lnTo>
                  <a:pt x="296" y="5490"/>
                </a:lnTo>
                <a:lnTo>
                  <a:pt x="284" y="5468"/>
                </a:lnTo>
                <a:lnTo>
                  <a:pt x="274" y="5445"/>
                </a:lnTo>
                <a:lnTo>
                  <a:pt x="266" y="5423"/>
                </a:lnTo>
                <a:lnTo>
                  <a:pt x="258" y="5401"/>
                </a:lnTo>
                <a:lnTo>
                  <a:pt x="252" y="5378"/>
                </a:lnTo>
                <a:lnTo>
                  <a:pt x="247" y="5356"/>
                </a:lnTo>
                <a:lnTo>
                  <a:pt x="245" y="5333"/>
                </a:lnTo>
                <a:lnTo>
                  <a:pt x="243" y="5310"/>
                </a:lnTo>
                <a:lnTo>
                  <a:pt x="241" y="5287"/>
                </a:lnTo>
                <a:lnTo>
                  <a:pt x="241" y="5264"/>
                </a:lnTo>
                <a:lnTo>
                  <a:pt x="243" y="5242"/>
                </a:lnTo>
                <a:lnTo>
                  <a:pt x="245" y="5220"/>
                </a:lnTo>
                <a:lnTo>
                  <a:pt x="247" y="5197"/>
                </a:lnTo>
                <a:lnTo>
                  <a:pt x="251" y="5175"/>
                </a:lnTo>
                <a:lnTo>
                  <a:pt x="256" y="5152"/>
                </a:lnTo>
                <a:lnTo>
                  <a:pt x="267" y="5109"/>
                </a:lnTo>
                <a:lnTo>
                  <a:pt x="280" y="5067"/>
                </a:lnTo>
                <a:lnTo>
                  <a:pt x="296" y="5026"/>
                </a:lnTo>
                <a:lnTo>
                  <a:pt x="313" y="4986"/>
                </a:lnTo>
                <a:lnTo>
                  <a:pt x="313" y="4986"/>
                </a:lnTo>
                <a:lnTo>
                  <a:pt x="316" y="4979"/>
                </a:lnTo>
                <a:lnTo>
                  <a:pt x="911" y="3414"/>
                </a:lnTo>
                <a:lnTo>
                  <a:pt x="911" y="3414"/>
                </a:lnTo>
                <a:lnTo>
                  <a:pt x="930" y="3376"/>
                </a:lnTo>
                <a:lnTo>
                  <a:pt x="950" y="3341"/>
                </a:lnTo>
                <a:lnTo>
                  <a:pt x="972" y="3306"/>
                </a:lnTo>
                <a:lnTo>
                  <a:pt x="996" y="3273"/>
                </a:lnTo>
                <a:lnTo>
                  <a:pt x="1023" y="3243"/>
                </a:lnTo>
                <a:lnTo>
                  <a:pt x="1051" y="3215"/>
                </a:lnTo>
                <a:lnTo>
                  <a:pt x="1079" y="3189"/>
                </a:lnTo>
                <a:lnTo>
                  <a:pt x="1111" y="3165"/>
                </a:lnTo>
                <a:lnTo>
                  <a:pt x="1143" y="3142"/>
                </a:lnTo>
                <a:lnTo>
                  <a:pt x="1177" y="3121"/>
                </a:lnTo>
                <a:lnTo>
                  <a:pt x="1213" y="3103"/>
                </a:lnTo>
                <a:lnTo>
                  <a:pt x="1250" y="3088"/>
                </a:lnTo>
                <a:lnTo>
                  <a:pt x="1288" y="3074"/>
                </a:lnTo>
                <a:lnTo>
                  <a:pt x="1328" y="3062"/>
                </a:lnTo>
                <a:lnTo>
                  <a:pt x="1369" y="3054"/>
                </a:lnTo>
                <a:lnTo>
                  <a:pt x="1411" y="3047"/>
                </a:lnTo>
                <a:lnTo>
                  <a:pt x="2326" y="2961"/>
                </a:lnTo>
                <a:lnTo>
                  <a:pt x="2326" y="2961"/>
                </a:lnTo>
                <a:lnTo>
                  <a:pt x="2330" y="2960"/>
                </a:lnTo>
                <a:lnTo>
                  <a:pt x="2330" y="2960"/>
                </a:lnTo>
                <a:lnTo>
                  <a:pt x="2332" y="2960"/>
                </a:lnTo>
                <a:lnTo>
                  <a:pt x="2332" y="2960"/>
                </a:lnTo>
                <a:lnTo>
                  <a:pt x="2340" y="2959"/>
                </a:lnTo>
                <a:lnTo>
                  <a:pt x="2340" y="2959"/>
                </a:lnTo>
                <a:lnTo>
                  <a:pt x="2341" y="2959"/>
                </a:lnTo>
                <a:lnTo>
                  <a:pt x="2341" y="2959"/>
                </a:lnTo>
                <a:lnTo>
                  <a:pt x="2348" y="2956"/>
                </a:lnTo>
                <a:lnTo>
                  <a:pt x="2348" y="2956"/>
                </a:lnTo>
                <a:lnTo>
                  <a:pt x="2348" y="2956"/>
                </a:lnTo>
                <a:lnTo>
                  <a:pt x="2348" y="2956"/>
                </a:lnTo>
                <a:lnTo>
                  <a:pt x="2365" y="2950"/>
                </a:lnTo>
                <a:lnTo>
                  <a:pt x="2365" y="2950"/>
                </a:lnTo>
                <a:lnTo>
                  <a:pt x="2365" y="2950"/>
                </a:lnTo>
                <a:lnTo>
                  <a:pt x="2365" y="2950"/>
                </a:lnTo>
                <a:lnTo>
                  <a:pt x="2379" y="2943"/>
                </a:lnTo>
                <a:lnTo>
                  <a:pt x="2379" y="2943"/>
                </a:lnTo>
                <a:lnTo>
                  <a:pt x="2381" y="2942"/>
                </a:lnTo>
                <a:lnTo>
                  <a:pt x="2381" y="2942"/>
                </a:lnTo>
                <a:lnTo>
                  <a:pt x="2387" y="2937"/>
                </a:lnTo>
                <a:lnTo>
                  <a:pt x="2387" y="2937"/>
                </a:lnTo>
                <a:lnTo>
                  <a:pt x="2388" y="2937"/>
                </a:lnTo>
                <a:lnTo>
                  <a:pt x="2388" y="2937"/>
                </a:lnTo>
                <a:lnTo>
                  <a:pt x="2393" y="2933"/>
                </a:lnTo>
                <a:lnTo>
                  <a:pt x="2393" y="2933"/>
                </a:lnTo>
                <a:lnTo>
                  <a:pt x="2395" y="2931"/>
                </a:lnTo>
                <a:lnTo>
                  <a:pt x="2395" y="2931"/>
                </a:lnTo>
                <a:lnTo>
                  <a:pt x="2399" y="2927"/>
                </a:lnTo>
                <a:lnTo>
                  <a:pt x="2399" y="2927"/>
                </a:lnTo>
                <a:lnTo>
                  <a:pt x="2401" y="2924"/>
                </a:lnTo>
                <a:lnTo>
                  <a:pt x="2401" y="2924"/>
                </a:lnTo>
                <a:lnTo>
                  <a:pt x="2405" y="2921"/>
                </a:lnTo>
                <a:lnTo>
                  <a:pt x="2405" y="2921"/>
                </a:lnTo>
                <a:lnTo>
                  <a:pt x="2407" y="2919"/>
                </a:lnTo>
                <a:lnTo>
                  <a:pt x="2407" y="2919"/>
                </a:lnTo>
                <a:lnTo>
                  <a:pt x="2411" y="2914"/>
                </a:lnTo>
                <a:lnTo>
                  <a:pt x="2411" y="2914"/>
                </a:lnTo>
                <a:lnTo>
                  <a:pt x="2412" y="2912"/>
                </a:lnTo>
                <a:lnTo>
                  <a:pt x="2412" y="2912"/>
                </a:lnTo>
                <a:lnTo>
                  <a:pt x="2416" y="2907"/>
                </a:lnTo>
                <a:lnTo>
                  <a:pt x="2416" y="2907"/>
                </a:lnTo>
                <a:lnTo>
                  <a:pt x="2417" y="2904"/>
                </a:lnTo>
                <a:lnTo>
                  <a:pt x="2417" y="2904"/>
                </a:lnTo>
                <a:lnTo>
                  <a:pt x="2420" y="2898"/>
                </a:lnTo>
                <a:lnTo>
                  <a:pt x="2420" y="2898"/>
                </a:lnTo>
                <a:lnTo>
                  <a:pt x="2422" y="2897"/>
                </a:lnTo>
                <a:lnTo>
                  <a:pt x="2422" y="2897"/>
                </a:lnTo>
                <a:lnTo>
                  <a:pt x="2425" y="2888"/>
                </a:lnTo>
                <a:lnTo>
                  <a:pt x="2536" y="2636"/>
                </a:lnTo>
                <a:lnTo>
                  <a:pt x="2536" y="2636"/>
                </a:lnTo>
                <a:lnTo>
                  <a:pt x="2560" y="2653"/>
                </a:lnTo>
                <a:lnTo>
                  <a:pt x="2584" y="2668"/>
                </a:lnTo>
                <a:lnTo>
                  <a:pt x="2609" y="2683"/>
                </a:lnTo>
                <a:lnTo>
                  <a:pt x="2633" y="2697"/>
                </a:lnTo>
                <a:lnTo>
                  <a:pt x="2658" y="2709"/>
                </a:lnTo>
                <a:lnTo>
                  <a:pt x="2683" y="2721"/>
                </a:lnTo>
                <a:lnTo>
                  <a:pt x="2709" y="2731"/>
                </a:lnTo>
                <a:lnTo>
                  <a:pt x="2734" y="2741"/>
                </a:lnTo>
                <a:lnTo>
                  <a:pt x="2759" y="2749"/>
                </a:lnTo>
                <a:lnTo>
                  <a:pt x="2786" y="2756"/>
                </a:lnTo>
                <a:lnTo>
                  <a:pt x="2811" y="2762"/>
                </a:lnTo>
                <a:lnTo>
                  <a:pt x="2838" y="2767"/>
                </a:lnTo>
                <a:lnTo>
                  <a:pt x="2864" y="2772"/>
                </a:lnTo>
                <a:lnTo>
                  <a:pt x="2891" y="2774"/>
                </a:lnTo>
                <a:lnTo>
                  <a:pt x="2918" y="2776"/>
                </a:lnTo>
                <a:lnTo>
                  <a:pt x="2945" y="2777"/>
                </a:lnTo>
                <a:lnTo>
                  <a:pt x="2945" y="2777"/>
                </a:lnTo>
                <a:lnTo>
                  <a:pt x="2973" y="2776"/>
                </a:lnTo>
                <a:lnTo>
                  <a:pt x="2999" y="2774"/>
                </a:lnTo>
                <a:lnTo>
                  <a:pt x="3026" y="2772"/>
                </a:lnTo>
                <a:lnTo>
                  <a:pt x="3054" y="2767"/>
                </a:lnTo>
                <a:lnTo>
                  <a:pt x="3080" y="2762"/>
                </a:lnTo>
                <a:lnTo>
                  <a:pt x="3107" y="2756"/>
                </a:lnTo>
                <a:lnTo>
                  <a:pt x="3132" y="2749"/>
                </a:lnTo>
                <a:lnTo>
                  <a:pt x="3158" y="2741"/>
                </a:lnTo>
                <a:lnTo>
                  <a:pt x="3184" y="2731"/>
                </a:lnTo>
                <a:lnTo>
                  <a:pt x="3209" y="2720"/>
                </a:lnTo>
                <a:lnTo>
                  <a:pt x="3234" y="2708"/>
                </a:lnTo>
                <a:lnTo>
                  <a:pt x="3260" y="2695"/>
                </a:lnTo>
                <a:lnTo>
                  <a:pt x="3285" y="2682"/>
                </a:lnTo>
                <a:lnTo>
                  <a:pt x="3309" y="2666"/>
                </a:lnTo>
                <a:lnTo>
                  <a:pt x="3333" y="2650"/>
                </a:lnTo>
                <a:lnTo>
                  <a:pt x="3357" y="2633"/>
                </a:lnTo>
                <a:lnTo>
                  <a:pt x="3464" y="2888"/>
                </a:lnTo>
                <a:lnTo>
                  <a:pt x="3464" y="2888"/>
                </a:lnTo>
                <a:lnTo>
                  <a:pt x="3468" y="2895"/>
                </a:lnTo>
                <a:lnTo>
                  <a:pt x="3468" y="2895"/>
                </a:lnTo>
                <a:lnTo>
                  <a:pt x="3468" y="2897"/>
                </a:lnTo>
                <a:lnTo>
                  <a:pt x="3468" y="2897"/>
                </a:lnTo>
                <a:lnTo>
                  <a:pt x="3472" y="2903"/>
                </a:lnTo>
                <a:lnTo>
                  <a:pt x="3472" y="2903"/>
                </a:lnTo>
                <a:lnTo>
                  <a:pt x="3473" y="2906"/>
                </a:lnTo>
                <a:lnTo>
                  <a:pt x="3473" y="2906"/>
                </a:lnTo>
                <a:lnTo>
                  <a:pt x="3477" y="2911"/>
                </a:lnTo>
                <a:lnTo>
                  <a:pt x="3477" y="2911"/>
                </a:lnTo>
                <a:lnTo>
                  <a:pt x="3478" y="2913"/>
                </a:lnTo>
                <a:lnTo>
                  <a:pt x="3478" y="2913"/>
                </a:lnTo>
                <a:lnTo>
                  <a:pt x="3483" y="2918"/>
                </a:lnTo>
                <a:lnTo>
                  <a:pt x="3483" y="2918"/>
                </a:lnTo>
                <a:lnTo>
                  <a:pt x="3485" y="2920"/>
                </a:lnTo>
                <a:lnTo>
                  <a:pt x="3485" y="2920"/>
                </a:lnTo>
                <a:lnTo>
                  <a:pt x="3488" y="2924"/>
                </a:lnTo>
                <a:lnTo>
                  <a:pt x="3488" y="2924"/>
                </a:lnTo>
                <a:lnTo>
                  <a:pt x="3490" y="2926"/>
                </a:lnTo>
                <a:lnTo>
                  <a:pt x="3490" y="2926"/>
                </a:lnTo>
                <a:lnTo>
                  <a:pt x="3495" y="2931"/>
                </a:lnTo>
                <a:lnTo>
                  <a:pt x="3495" y="2931"/>
                </a:lnTo>
                <a:lnTo>
                  <a:pt x="3497" y="2932"/>
                </a:lnTo>
                <a:lnTo>
                  <a:pt x="3497" y="2932"/>
                </a:lnTo>
                <a:lnTo>
                  <a:pt x="3501" y="2936"/>
                </a:lnTo>
                <a:lnTo>
                  <a:pt x="3501" y="2936"/>
                </a:lnTo>
                <a:lnTo>
                  <a:pt x="3503" y="2937"/>
                </a:lnTo>
                <a:lnTo>
                  <a:pt x="3503" y="2937"/>
                </a:lnTo>
                <a:lnTo>
                  <a:pt x="3509" y="2942"/>
                </a:lnTo>
                <a:lnTo>
                  <a:pt x="3509" y="2942"/>
                </a:lnTo>
                <a:lnTo>
                  <a:pt x="3509" y="2942"/>
                </a:lnTo>
                <a:lnTo>
                  <a:pt x="3509" y="2942"/>
                </a:lnTo>
                <a:lnTo>
                  <a:pt x="3517" y="2947"/>
                </a:lnTo>
                <a:lnTo>
                  <a:pt x="3517" y="2947"/>
                </a:lnTo>
                <a:lnTo>
                  <a:pt x="3517" y="2947"/>
                </a:lnTo>
                <a:lnTo>
                  <a:pt x="3517" y="2947"/>
                </a:lnTo>
                <a:lnTo>
                  <a:pt x="3532" y="2954"/>
                </a:lnTo>
                <a:lnTo>
                  <a:pt x="3532" y="2954"/>
                </a:lnTo>
                <a:lnTo>
                  <a:pt x="3532" y="2954"/>
                </a:lnTo>
                <a:lnTo>
                  <a:pt x="3532" y="2954"/>
                </a:lnTo>
                <a:lnTo>
                  <a:pt x="3548" y="2959"/>
                </a:lnTo>
                <a:lnTo>
                  <a:pt x="3548" y="2959"/>
                </a:lnTo>
                <a:lnTo>
                  <a:pt x="3550" y="2959"/>
                </a:lnTo>
                <a:lnTo>
                  <a:pt x="3550" y="2959"/>
                </a:lnTo>
                <a:lnTo>
                  <a:pt x="3556" y="2960"/>
                </a:lnTo>
                <a:lnTo>
                  <a:pt x="3556" y="2960"/>
                </a:lnTo>
                <a:lnTo>
                  <a:pt x="3559" y="2960"/>
                </a:lnTo>
                <a:lnTo>
                  <a:pt x="3559" y="2960"/>
                </a:lnTo>
                <a:lnTo>
                  <a:pt x="3564" y="2961"/>
                </a:lnTo>
                <a:lnTo>
                  <a:pt x="4481" y="3047"/>
                </a:lnTo>
                <a:lnTo>
                  <a:pt x="4481" y="3047"/>
                </a:lnTo>
                <a:lnTo>
                  <a:pt x="4483" y="3047"/>
                </a:lnTo>
                <a:lnTo>
                  <a:pt x="4483" y="3047"/>
                </a:lnTo>
                <a:lnTo>
                  <a:pt x="4522" y="3051"/>
                </a:lnTo>
                <a:lnTo>
                  <a:pt x="4562" y="3059"/>
                </a:lnTo>
                <a:lnTo>
                  <a:pt x="4601" y="3070"/>
                </a:lnTo>
                <a:lnTo>
                  <a:pt x="4638" y="3082"/>
                </a:lnTo>
                <a:lnTo>
                  <a:pt x="4674" y="3097"/>
                </a:lnTo>
                <a:lnTo>
                  <a:pt x="4709" y="3114"/>
                </a:lnTo>
                <a:lnTo>
                  <a:pt x="4743" y="3135"/>
                </a:lnTo>
                <a:lnTo>
                  <a:pt x="4776" y="3157"/>
                </a:lnTo>
                <a:lnTo>
                  <a:pt x="4807" y="3182"/>
                </a:lnTo>
                <a:lnTo>
                  <a:pt x="4836" y="3208"/>
                </a:lnTo>
                <a:lnTo>
                  <a:pt x="4865" y="3237"/>
                </a:lnTo>
                <a:lnTo>
                  <a:pt x="4891" y="3268"/>
                </a:lnTo>
                <a:lnTo>
                  <a:pt x="4915" y="3302"/>
                </a:lnTo>
                <a:lnTo>
                  <a:pt x="4938" y="3337"/>
                </a:lnTo>
                <a:lnTo>
                  <a:pt x="4960" y="3374"/>
                </a:lnTo>
                <a:lnTo>
                  <a:pt x="4979" y="3414"/>
                </a:lnTo>
                <a:lnTo>
                  <a:pt x="5574" y="4979"/>
                </a:lnTo>
                <a:lnTo>
                  <a:pt x="5574" y="4979"/>
                </a:lnTo>
                <a:lnTo>
                  <a:pt x="5577" y="4986"/>
                </a:lnTo>
                <a:lnTo>
                  <a:pt x="5577" y="4986"/>
                </a:lnTo>
                <a:lnTo>
                  <a:pt x="5594" y="5026"/>
                </a:lnTo>
                <a:lnTo>
                  <a:pt x="5610" y="5067"/>
                </a:lnTo>
                <a:lnTo>
                  <a:pt x="5623" y="5109"/>
                </a:lnTo>
                <a:lnTo>
                  <a:pt x="5634" y="5152"/>
                </a:lnTo>
                <a:lnTo>
                  <a:pt x="5639" y="5175"/>
                </a:lnTo>
                <a:lnTo>
                  <a:pt x="5643" y="5197"/>
                </a:lnTo>
                <a:lnTo>
                  <a:pt x="5645" y="5220"/>
                </a:lnTo>
                <a:lnTo>
                  <a:pt x="5647" y="5242"/>
                </a:lnTo>
                <a:lnTo>
                  <a:pt x="5649" y="5264"/>
                </a:lnTo>
                <a:lnTo>
                  <a:pt x="5649" y="5287"/>
                </a:lnTo>
                <a:lnTo>
                  <a:pt x="5647" y="5310"/>
                </a:lnTo>
                <a:lnTo>
                  <a:pt x="5645" y="5333"/>
                </a:lnTo>
                <a:lnTo>
                  <a:pt x="5643" y="5356"/>
                </a:lnTo>
                <a:lnTo>
                  <a:pt x="5638" y="5378"/>
                </a:lnTo>
                <a:lnTo>
                  <a:pt x="5632" y="5401"/>
                </a:lnTo>
                <a:lnTo>
                  <a:pt x="5624" y="5423"/>
                </a:lnTo>
                <a:lnTo>
                  <a:pt x="5616" y="5445"/>
                </a:lnTo>
                <a:lnTo>
                  <a:pt x="5606" y="5468"/>
                </a:lnTo>
                <a:lnTo>
                  <a:pt x="5594" y="5490"/>
                </a:lnTo>
                <a:lnTo>
                  <a:pt x="5581" y="5511"/>
                </a:lnTo>
                <a:lnTo>
                  <a:pt x="5567" y="5532"/>
                </a:lnTo>
                <a:lnTo>
                  <a:pt x="5551" y="5554"/>
                </a:lnTo>
                <a:lnTo>
                  <a:pt x="5533" y="5574"/>
                </a:lnTo>
                <a:lnTo>
                  <a:pt x="5512" y="5595"/>
                </a:lnTo>
                <a:lnTo>
                  <a:pt x="5491" y="5614"/>
                </a:lnTo>
                <a:lnTo>
                  <a:pt x="5468" y="5633"/>
                </a:lnTo>
                <a:lnTo>
                  <a:pt x="5441" y="5652"/>
                </a:lnTo>
                <a:lnTo>
                  <a:pt x="5415" y="5670"/>
                </a:lnTo>
                <a:lnTo>
                  <a:pt x="4999" y="5861"/>
                </a:lnTo>
                <a:lnTo>
                  <a:pt x="4999" y="3966"/>
                </a:lnTo>
                <a:lnTo>
                  <a:pt x="4999" y="3966"/>
                </a:lnTo>
                <a:lnTo>
                  <a:pt x="4997" y="3943"/>
                </a:lnTo>
                <a:lnTo>
                  <a:pt x="4996" y="3921"/>
                </a:lnTo>
                <a:lnTo>
                  <a:pt x="4994" y="3900"/>
                </a:lnTo>
                <a:lnTo>
                  <a:pt x="4990" y="3878"/>
                </a:lnTo>
                <a:lnTo>
                  <a:pt x="4984" y="3856"/>
                </a:lnTo>
                <a:lnTo>
                  <a:pt x="4979" y="3836"/>
                </a:lnTo>
                <a:lnTo>
                  <a:pt x="4972" y="3815"/>
                </a:lnTo>
                <a:lnTo>
                  <a:pt x="4964" y="3796"/>
                </a:lnTo>
                <a:lnTo>
                  <a:pt x="4955" y="3777"/>
                </a:lnTo>
                <a:lnTo>
                  <a:pt x="4946" y="3757"/>
                </a:lnTo>
                <a:lnTo>
                  <a:pt x="4935" y="3739"/>
                </a:lnTo>
                <a:lnTo>
                  <a:pt x="4924" y="3722"/>
                </a:lnTo>
                <a:lnTo>
                  <a:pt x="4912" y="3704"/>
                </a:lnTo>
                <a:lnTo>
                  <a:pt x="4899" y="3689"/>
                </a:lnTo>
                <a:lnTo>
                  <a:pt x="4885" y="3672"/>
                </a:lnTo>
                <a:lnTo>
                  <a:pt x="4871" y="3657"/>
                </a:lnTo>
                <a:lnTo>
                  <a:pt x="4855" y="3643"/>
                </a:lnTo>
                <a:lnTo>
                  <a:pt x="4839" y="3628"/>
                </a:lnTo>
                <a:lnTo>
                  <a:pt x="4823" y="3616"/>
                </a:lnTo>
                <a:lnTo>
                  <a:pt x="4806" y="3604"/>
                </a:lnTo>
                <a:lnTo>
                  <a:pt x="4788" y="3592"/>
                </a:lnTo>
                <a:lnTo>
                  <a:pt x="4770" y="3582"/>
                </a:lnTo>
                <a:lnTo>
                  <a:pt x="4751" y="3572"/>
                </a:lnTo>
                <a:lnTo>
                  <a:pt x="4732" y="3563"/>
                </a:lnTo>
                <a:lnTo>
                  <a:pt x="4712" y="3556"/>
                </a:lnTo>
                <a:lnTo>
                  <a:pt x="4691" y="3549"/>
                </a:lnTo>
                <a:lnTo>
                  <a:pt x="4671" y="3543"/>
                </a:lnTo>
                <a:lnTo>
                  <a:pt x="4650" y="3538"/>
                </a:lnTo>
                <a:lnTo>
                  <a:pt x="4628" y="3535"/>
                </a:lnTo>
                <a:lnTo>
                  <a:pt x="4607" y="3532"/>
                </a:lnTo>
                <a:lnTo>
                  <a:pt x="4584" y="3530"/>
                </a:lnTo>
                <a:lnTo>
                  <a:pt x="4562" y="3530"/>
                </a:lnTo>
                <a:lnTo>
                  <a:pt x="4562" y="3530"/>
                </a:lnTo>
                <a:close/>
              </a:path>
            </a:pathLst>
          </a:custGeom>
          <a:solidFill>
            <a:schemeClr val="tx1"/>
          </a:solidFill>
          <a:ln>
            <a:noFill/>
          </a:ln>
        </p:spPr>
        <p:txBody>
          <a:bodyPr vert="horz" wrap="square" lIns="121807" tIns="60904" rIns="121807" bIns="60904" numCol="1" anchor="t" anchorCtr="0" compatLnSpc="1">
            <a:prstTxWarp prst="textNoShape">
              <a:avLst/>
            </a:prstTxWarp>
          </a:bodyPr>
          <a:lstStyle/>
          <a:p>
            <a:pPr defTabSz="913798">
              <a:defRPr/>
            </a:pPr>
            <a:endParaRPr lang="en-US" sz="1798">
              <a:solidFill>
                <a:srgbClr val="000000"/>
              </a:solidFill>
              <a:latin typeface="Calibri"/>
            </a:endParaRPr>
          </a:p>
        </p:txBody>
      </p:sp>
      <p:sp>
        <p:nvSpPr>
          <p:cNvPr id="29" name="Freeform 499">
            <a:extLst>
              <a:ext uri="{FF2B5EF4-FFF2-40B4-BE49-F238E27FC236}">
                <a16:creationId xmlns:a16="http://schemas.microsoft.com/office/drawing/2014/main" id="{34B1BC95-7CA8-4618-B616-09DC5B8FE648}"/>
              </a:ext>
              <a:ext uri="{C183D7F6-B498-43B3-948B-1728B52AA6E4}">
                <adec:decorative xmlns:adec="http://schemas.microsoft.com/office/drawing/2017/decorative" val="1"/>
              </a:ext>
            </a:extLst>
          </p:cNvPr>
          <p:cNvSpPr>
            <a:spLocks noChangeAspect="1" noEditPoints="1"/>
          </p:cNvSpPr>
          <p:nvPr/>
        </p:nvSpPr>
        <p:spPr bwMode="auto">
          <a:xfrm>
            <a:off x="10774171" y="3657969"/>
            <a:ext cx="549149" cy="548640"/>
          </a:xfrm>
          <a:custGeom>
            <a:avLst/>
            <a:gdLst>
              <a:gd name="T0" fmla="*/ 4791 w 6492"/>
              <a:gd name="T1" fmla="*/ 390 h 6486"/>
              <a:gd name="T2" fmla="*/ 3000 w 6492"/>
              <a:gd name="T3" fmla="*/ 10 h 6486"/>
              <a:gd name="T4" fmla="*/ 950 w 6492"/>
              <a:gd name="T5" fmla="*/ 950 h 6486"/>
              <a:gd name="T6" fmla="*/ 4 w 6492"/>
              <a:gd name="T7" fmla="*/ 3080 h 6486"/>
              <a:gd name="T8" fmla="*/ 689 w 6492"/>
              <a:gd name="T9" fmla="*/ 5243 h 6486"/>
              <a:gd name="T10" fmla="*/ 2599 w 6492"/>
              <a:gd name="T11" fmla="*/ 6422 h 6486"/>
              <a:gd name="T12" fmla="*/ 4509 w 6492"/>
              <a:gd name="T13" fmla="*/ 6231 h 6486"/>
              <a:gd name="T14" fmla="*/ 6136 w 6492"/>
              <a:gd name="T15" fmla="*/ 4718 h 6486"/>
              <a:gd name="T16" fmla="*/ 6392 w 6492"/>
              <a:gd name="T17" fmla="*/ 2441 h 6486"/>
              <a:gd name="T18" fmla="*/ 4933 w 6492"/>
              <a:gd name="T19" fmla="*/ 1547 h 6486"/>
              <a:gd name="T20" fmla="*/ 6105 w 6492"/>
              <a:gd name="T21" fmla="*/ 2257 h 6486"/>
              <a:gd name="T22" fmla="*/ 3703 w 6492"/>
              <a:gd name="T23" fmla="*/ 1263 h 6486"/>
              <a:gd name="T24" fmla="*/ 3692 w 6492"/>
              <a:gd name="T25" fmla="*/ 370 h 6486"/>
              <a:gd name="T26" fmla="*/ 4346 w 6492"/>
              <a:gd name="T27" fmla="*/ 1464 h 6486"/>
              <a:gd name="T28" fmla="*/ 2907 w 6492"/>
              <a:gd name="T29" fmla="*/ 1882 h 6486"/>
              <a:gd name="T30" fmla="*/ 3008 w 6492"/>
              <a:gd name="T31" fmla="*/ 1359 h 6486"/>
              <a:gd name="T32" fmla="*/ 3539 w 6492"/>
              <a:gd name="T33" fmla="*/ 1411 h 6486"/>
              <a:gd name="T34" fmla="*/ 3539 w 6492"/>
              <a:gd name="T35" fmla="*/ 1943 h 6486"/>
              <a:gd name="T36" fmla="*/ 2925 w 6492"/>
              <a:gd name="T37" fmla="*/ 1150 h 6486"/>
              <a:gd name="T38" fmla="*/ 2077 w 6492"/>
              <a:gd name="T39" fmla="*/ 1451 h 6486"/>
              <a:gd name="T40" fmla="*/ 2828 w 6492"/>
              <a:gd name="T41" fmla="*/ 350 h 6486"/>
              <a:gd name="T42" fmla="*/ 2700 w 6492"/>
              <a:gd name="T43" fmla="*/ 1967 h 6486"/>
              <a:gd name="T44" fmla="*/ 2255 w 6492"/>
              <a:gd name="T45" fmla="*/ 3023 h 6486"/>
              <a:gd name="T46" fmla="*/ 1840 w 6492"/>
              <a:gd name="T47" fmla="*/ 2448 h 6486"/>
              <a:gd name="T48" fmla="*/ 1944 w 6492"/>
              <a:gd name="T49" fmla="*/ 2949 h 6486"/>
              <a:gd name="T50" fmla="*/ 1996 w 6492"/>
              <a:gd name="T51" fmla="*/ 3480 h 6486"/>
              <a:gd name="T52" fmla="*/ 1472 w 6492"/>
              <a:gd name="T53" fmla="*/ 3581 h 6486"/>
              <a:gd name="T54" fmla="*/ 1320 w 6492"/>
              <a:gd name="T55" fmla="*/ 3071 h 6486"/>
              <a:gd name="T56" fmla="*/ 2916 w 6492"/>
              <a:gd name="T57" fmla="*/ 4707 h 6486"/>
              <a:gd name="T58" fmla="*/ 1818 w 6492"/>
              <a:gd name="T59" fmla="*/ 3845 h 6486"/>
              <a:gd name="T60" fmla="*/ 2281 w 6492"/>
              <a:gd name="T61" fmla="*/ 3376 h 6486"/>
              <a:gd name="T62" fmla="*/ 2383 w 6492"/>
              <a:gd name="T63" fmla="*/ 5667 h 6486"/>
              <a:gd name="T64" fmla="*/ 3135 w 6492"/>
              <a:gd name="T65" fmla="*/ 4920 h 6486"/>
              <a:gd name="T66" fmla="*/ 4200 w 6492"/>
              <a:gd name="T67" fmla="*/ 5513 h 6486"/>
              <a:gd name="T68" fmla="*/ 3355 w 6492"/>
              <a:gd name="T69" fmla="*/ 6255 h 6486"/>
              <a:gd name="T70" fmla="*/ 4478 w 6492"/>
              <a:gd name="T71" fmla="*/ 4564 h 6486"/>
              <a:gd name="T72" fmla="*/ 4936 w 6492"/>
              <a:gd name="T73" fmla="*/ 4834 h 6486"/>
              <a:gd name="T74" fmla="*/ 4711 w 6492"/>
              <a:gd name="T75" fmla="*/ 5318 h 6486"/>
              <a:gd name="T76" fmla="*/ 4208 w 6492"/>
              <a:gd name="T77" fmla="*/ 5141 h 6486"/>
              <a:gd name="T78" fmla="*/ 4219 w 6492"/>
              <a:gd name="T79" fmla="*/ 4436 h 6486"/>
              <a:gd name="T80" fmla="*/ 4692 w 6492"/>
              <a:gd name="T81" fmla="*/ 3608 h 6486"/>
              <a:gd name="T82" fmla="*/ 3767 w 6492"/>
              <a:gd name="T83" fmla="*/ 2009 h 6486"/>
              <a:gd name="T84" fmla="*/ 4664 w 6492"/>
              <a:gd name="T85" fmla="*/ 2552 h 6486"/>
              <a:gd name="T86" fmla="*/ 4372 w 6492"/>
              <a:gd name="T87" fmla="*/ 826 h 6486"/>
              <a:gd name="T88" fmla="*/ 4791 w 6492"/>
              <a:gd name="T89" fmla="*/ 646 h 6486"/>
              <a:gd name="T90" fmla="*/ 2119 w 6492"/>
              <a:gd name="T91" fmla="*/ 826 h 6486"/>
              <a:gd name="T92" fmla="*/ 1400 w 6492"/>
              <a:gd name="T93" fmla="*/ 851 h 6486"/>
              <a:gd name="T94" fmla="*/ 1130 w 6492"/>
              <a:gd name="T95" fmla="*/ 1388 h 6486"/>
              <a:gd name="T96" fmla="*/ 1571 w 6492"/>
              <a:gd name="T97" fmla="*/ 2635 h 6486"/>
              <a:gd name="T98" fmla="*/ 1069 w 6492"/>
              <a:gd name="T99" fmla="*/ 3132 h 6486"/>
              <a:gd name="T100" fmla="*/ 820 w 6492"/>
              <a:gd name="T101" fmla="*/ 1439 h 6486"/>
              <a:gd name="T102" fmla="*/ 1409 w 6492"/>
              <a:gd name="T103" fmla="*/ 3799 h 6486"/>
              <a:gd name="T104" fmla="*/ 1501 w 6492"/>
              <a:gd name="T105" fmla="*/ 4956 h 6486"/>
              <a:gd name="T106" fmla="*/ 367 w 6492"/>
              <a:gd name="T107" fmla="*/ 4170 h 6486"/>
              <a:gd name="T108" fmla="*/ 1967 w 6492"/>
              <a:gd name="T109" fmla="*/ 5355 h 6486"/>
              <a:gd name="T110" fmla="*/ 2024 w 6492"/>
              <a:gd name="T111" fmla="*/ 6008 h 6486"/>
              <a:gd name="T112" fmla="*/ 4154 w 6492"/>
              <a:gd name="T113" fmla="*/ 5981 h 6486"/>
              <a:gd name="T114" fmla="*/ 4918 w 6492"/>
              <a:gd name="T115" fmla="*/ 5453 h 6486"/>
              <a:gd name="T116" fmla="*/ 4656 w 6492"/>
              <a:gd name="T117" fmla="*/ 5916 h 6486"/>
              <a:gd name="T118" fmla="*/ 5174 w 6492"/>
              <a:gd name="T119" fmla="*/ 4906 h 6486"/>
              <a:gd name="T120" fmla="*/ 4817 w 6492"/>
              <a:gd name="T121" fmla="*/ 4392 h 6486"/>
              <a:gd name="T122" fmla="*/ 5933 w 6492"/>
              <a:gd name="T123" fmla="*/ 4629 h 6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92" h="6486">
                <a:moveTo>
                  <a:pt x="6237" y="1980"/>
                </a:moveTo>
                <a:lnTo>
                  <a:pt x="6237" y="1980"/>
                </a:lnTo>
                <a:lnTo>
                  <a:pt x="6205" y="1909"/>
                </a:lnTo>
                <a:lnTo>
                  <a:pt x="6171" y="1838"/>
                </a:lnTo>
                <a:lnTo>
                  <a:pt x="6136" y="1768"/>
                </a:lnTo>
                <a:lnTo>
                  <a:pt x="6100" y="1699"/>
                </a:lnTo>
                <a:lnTo>
                  <a:pt x="6063" y="1630"/>
                </a:lnTo>
                <a:lnTo>
                  <a:pt x="6023" y="1564"/>
                </a:lnTo>
                <a:lnTo>
                  <a:pt x="5982" y="1497"/>
                </a:lnTo>
                <a:lnTo>
                  <a:pt x="5939" y="1432"/>
                </a:lnTo>
                <a:lnTo>
                  <a:pt x="5894" y="1368"/>
                </a:lnTo>
                <a:lnTo>
                  <a:pt x="5848" y="1305"/>
                </a:lnTo>
                <a:lnTo>
                  <a:pt x="5801" y="1243"/>
                </a:lnTo>
                <a:lnTo>
                  <a:pt x="5752" y="1183"/>
                </a:lnTo>
                <a:lnTo>
                  <a:pt x="5702" y="1122"/>
                </a:lnTo>
                <a:lnTo>
                  <a:pt x="5649" y="1064"/>
                </a:lnTo>
                <a:lnTo>
                  <a:pt x="5596" y="1006"/>
                </a:lnTo>
                <a:lnTo>
                  <a:pt x="5541" y="950"/>
                </a:lnTo>
                <a:lnTo>
                  <a:pt x="5541" y="950"/>
                </a:lnTo>
                <a:lnTo>
                  <a:pt x="5484" y="895"/>
                </a:lnTo>
                <a:lnTo>
                  <a:pt x="5426" y="841"/>
                </a:lnTo>
                <a:lnTo>
                  <a:pt x="5368" y="789"/>
                </a:lnTo>
                <a:lnTo>
                  <a:pt x="5308" y="739"/>
                </a:lnTo>
                <a:lnTo>
                  <a:pt x="5247" y="690"/>
                </a:lnTo>
                <a:lnTo>
                  <a:pt x="5186" y="643"/>
                </a:lnTo>
                <a:lnTo>
                  <a:pt x="5122" y="597"/>
                </a:lnTo>
                <a:lnTo>
                  <a:pt x="5057" y="552"/>
                </a:lnTo>
                <a:lnTo>
                  <a:pt x="4993" y="510"/>
                </a:lnTo>
                <a:lnTo>
                  <a:pt x="4927" y="469"/>
                </a:lnTo>
                <a:lnTo>
                  <a:pt x="4859" y="429"/>
                </a:lnTo>
                <a:lnTo>
                  <a:pt x="4791" y="390"/>
                </a:lnTo>
                <a:lnTo>
                  <a:pt x="4722" y="354"/>
                </a:lnTo>
                <a:lnTo>
                  <a:pt x="4652" y="320"/>
                </a:lnTo>
                <a:lnTo>
                  <a:pt x="4581" y="286"/>
                </a:lnTo>
                <a:lnTo>
                  <a:pt x="4509" y="255"/>
                </a:lnTo>
                <a:lnTo>
                  <a:pt x="4509" y="255"/>
                </a:lnTo>
                <a:lnTo>
                  <a:pt x="4433" y="225"/>
                </a:lnTo>
                <a:lnTo>
                  <a:pt x="4358" y="196"/>
                </a:lnTo>
                <a:lnTo>
                  <a:pt x="4281" y="169"/>
                </a:lnTo>
                <a:lnTo>
                  <a:pt x="4205" y="144"/>
                </a:lnTo>
                <a:lnTo>
                  <a:pt x="4127" y="121"/>
                </a:lnTo>
                <a:lnTo>
                  <a:pt x="4049" y="100"/>
                </a:lnTo>
                <a:lnTo>
                  <a:pt x="3970" y="81"/>
                </a:lnTo>
                <a:lnTo>
                  <a:pt x="3891" y="64"/>
                </a:lnTo>
                <a:lnTo>
                  <a:pt x="3813" y="50"/>
                </a:lnTo>
                <a:lnTo>
                  <a:pt x="3733" y="36"/>
                </a:lnTo>
                <a:lnTo>
                  <a:pt x="3652" y="25"/>
                </a:lnTo>
                <a:lnTo>
                  <a:pt x="3572" y="17"/>
                </a:lnTo>
                <a:lnTo>
                  <a:pt x="3491" y="10"/>
                </a:lnTo>
                <a:lnTo>
                  <a:pt x="3410" y="5"/>
                </a:lnTo>
                <a:lnTo>
                  <a:pt x="3328" y="1"/>
                </a:lnTo>
                <a:lnTo>
                  <a:pt x="3245" y="0"/>
                </a:lnTo>
                <a:lnTo>
                  <a:pt x="3245" y="0"/>
                </a:lnTo>
                <a:lnTo>
                  <a:pt x="3245" y="0"/>
                </a:lnTo>
                <a:lnTo>
                  <a:pt x="3245" y="0"/>
                </a:lnTo>
                <a:lnTo>
                  <a:pt x="3245" y="0"/>
                </a:lnTo>
                <a:lnTo>
                  <a:pt x="3245" y="0"/>
                </a:lnTo>
                <a:lnTo>
                  <a:pt x="3245" y="0"/>
                </a:lnTo>
                <a:lnTo>
                  <a:pt x="3245" y="0"/>
                </a:lnTo>
                <a:lnTo>
                  <a:pt x="3163" y="1"/>
                </a:lnTo>
                <a:lnTo>
                  <a:pt x="3082" y="5"/>
                </a:lnTo>
                <a:lnTo>
                  <a:pt x="3000" y="10"/>
                </a:lnTo>
                <a:lnTo>
                  <a:pt x="2919" y="17"/>
                </a:lnTo>
                <a:lnTo>
                  <a:pt x="2839" y="25"/>
                </a:lnTo>
                <a:lnTo>
                  <a:pt x="2759" y="36"/>
                </a:lnTo>
                <a:lnTo>
                  <a:pt x="2679" y="50"/>
                </a:lnTo>
                <a:lnTo>
                  <a:pt x="2599" y="64"/>
                </a:lnTo>
                <a:lnTo>
                  <a:pt x="2521" y="81"/>
                </a:lnTo>
                <a:lnTo>
                  <a:pt x="2442" y="100"/>
                </a:lnTo>
                <a:lnTo>
                  <a:pt x="2364" y="121"/>
                </a:lnTo>
                <a:lnTo>
                  <a:pt x="2286" y="144"/>
                </a:lnTo>
                <a:lnTo>
                  <a:pt x="2210" y="169"/>
                </a:lnTo>
                <a:lnTo>
                  <a:pt x="2133" y="196"/>
                </a:lnTo>
                <a:lnTo>
                  <a:pt x="2058" y="225"/>
                </a:lnTo>
                <a:lnTo>
                  <a:pt x="1981" y="255"/>
                </a:lnTo>
                <a:lnTo>
                  <a:pt x="1981" y="255"/>
                </a:lnTo>
                <a:lnTo>
                  <a:pt x="1910" y="286"/>
                </a:lnTo>
                <a:lnTo>
                  <a:pt x="1839" y="320"/>
                </a:lnTo>
                <a:lnTo>
                  <a:pt x="1768" y="354"/>
                </a:lnTo>
                <a:lnTo>
                  <a:pt x="1700" y="390"/>
                </a:lnTo>
                <a:lnTo>
                  <a:pt x="1632" y="429"/>
                </a:lnTo>
                <a:lnTo>
                  <a:pt x="1564" y="469"/>
                </a:lnTo>
                <a:lnTo>
                  <a:pt x="1498" y="510"/>
                </a:lnTo>
                <a:lnTo>
                  <a:pt x="1433" y="552"/>
                </a:lnTo>
                <a:lnTo>
                  <a:pt x="1369" y="597"/>
                </a:lnTo>
                <a:lnTo>
                  <a:pt x="1305" y="643"/>
                </a:lnTo>
                <a:lnTo>
                  <a:pt x="1243" y="690"/>
                </a:lnTo>
                <a:lnTo>
                  <a:pt x="1183" y="739"/>
                </a:lnTo>
                <a:lnTo>
                  <a:pt x="1123" y="789"/>
                </a:lnTo>
                <a:lnTo>
                  <a:pt x="1064" y="841"/>
                </a:lnTo>
                <a:lnTo>
                  <a:pt x="1006" y="895"/>
                </a:lnTo>
                <a:lnTo>
                  <a:pt x="950" y="950"/>
                </a:lnTo>
                <a:lnTo>
                  <a:pt x="950" y="950"/>
                </a:lnTo>
                <a:lnTo>
                  <a:pt x="895" y="1006"/>
                </a:lnTo>
                <a:lnTo>
                  <a:pt x="842" y="1064"/>
                </a:lnTo>
                <a:lnTo>
                  <a:pt x="790" y="1122"/>
                </a:lnTo>
                <a:lnTo>
                  <a:pt x="739" y="1183"/>
                </a:lnTo>
                <a:lnTo>
                  <a:pt x="689" y="1243"/>
                </a:lnTo>
                <a:lnTo>
                  <a:pt x="642" y="1305"/>
                </a:lnTo>
                <a:lnTo>
                  <a:pt x="596" y="1368"/>
                </a:lnTo>
                <a:lnTo>
                  <a:pt x="552" y="1432"/>
                </a:lnTo>
                <a:lnTo>
                  <a:pt x="509" y="1497"/>
                </a:lnTo>
                <a:lnTo>
                  <a:pt x="468" y="1564"/>
                </a:lnTo>
                <a:lnTo>
                  <a:pt x="428" y="1630"/>
                </a:lnTo>
                <a:lnTo>
                  <a:pt x="391" y="1699"/>
                </a:lnTo>
                <a:lnTo>
                  <a:pt x="354" y="1768"/>
                </a:lnTo>
                <a:lnTo>
                  <a:pt x="319" y="1838"/>
                </a:lnTo>
                <a:lnTo>
                  <a:pt x="285" y="1909"/>
                </a:lnTo>
                <a:lnTo>
                  <a:pt x="254" y="1980"/>
                </a:lnTo>
                <a:lnTo>
                  <a:pt x="254" y="1980"/>
                </a:lnTo>
                <a:lnTo>
                  <a:pt x="224" y="2056"/>
                </a:lnTo>
                <a:lnTo>
                  <a:pt x="195" y="2131"/>
                </a:lnTo>
                <a:lnTo>
                  <a:pt x="168" y="2209"/>
                </a:lnTo>
                <a:lnTo>
                  <a:pt x="143" y="2285"/>
                </a:lnTo>
                <a:lnTo>
                  <a:pt x="120" y="2362"/>
                </a:lnTo>
                <a:lnTo>
                  <a:pt x="99" y="2441"/>
                </a:lnTo>
                <a:lnTo>
                  <a:pt x="81" y="2519"/>
                </a:lnTo>
                <a:lnTo>
                  <a:pt x="63" y="2598"/>
                </a:lnTo>
                <a:lnTo>
                  <a:pt x="48" y="2676"/>
                </a:lnTo>
                <a:lnTo>
                  <a:pt x="35" y="2756"/>
                </a:lnTo>
                <a:lnTo>
                  <a:pt x="24" y="2837"/>
                </a:lnTo>
                <a:lnTo>
                  <a:pt x="16" y="2917"/>
                </a:lnTo>
                <a:lnTo>
                  <a:pt x="8" y="2998"/>
                </a:lnTo>
                <a:lnTo>
                  <a:pt x="4" y="3080"/>
                </a:lnTo>
                <a:lnTo>
                  <a:pt x="0" y="3161"/>
                </a:lnTo>
                <a:lnTo>
                  <a:pt x="0" y="3243"/>
                </a:lnTo>
                <a:lnTo>
                  <a:pt x="0" y="3243"/>
                </a:lnTo>
                <a:lnTo>
                  <a:pt x="0" y="3325"/>
                </a:lnTo>
                <a:lnTo>
                  <a:pt x="4" y="3406"/>
                </a:lnTo>
                <a:lnTo>
                  <a:pt x="8" y="3487"/>
                </a:lnTo>
                <a:lnTo>
                  <a:pt x="16" y="3568"/>
                </a:lnTo>
                <a:lnTo>
                  <a:pt x="24" y="3649"/>
                </a:lnTo>
                <a:lnTo>
                  <a:pt x="35" y="3729"/>
                </a:lnTo>
                <a:lnTo>
                  <a:pt x="48" y="3808"/>
                </a:lnTo>
                <a:lnTo>
                  <a:pt x="63" y="3888"/>
                </a:lnTo>
                <a:lnTo>
                  <a:pt x="81" y="3967"/>
                </a:lnTo>
                <a:lnTo>
                  <a:pt x="99" y="4045"/>
                </a:lnTo>
                <a:lnTo>
                  <a:pt x="120" y="4124"/>
                </a:lnTo>
                <a:lnTo>
                  <a:pt x="143" y="4201"/>
                </a:lnTo>
                <a:lnTo>
                  <a:pt x="168" y="4277"/>
                </a:lnTo>
                <a:lnTo>
                  <a:pt x="195" y="4355"/>
                </a:lnTo>
                <a:lnTo>
                  <a:pt x="224" y="4430"/>
                </a:lnTo>
                <a:lnTo>
                  <a:pt x="254" y="4506"/>
                </a:lnTo>
                <a:lnTo>
                  <a:pt x="254" y="4506"/>
                </a:lnTo>
                <a:lnTo>
                  <a:pt x="285" y="4577"/>
                </a:lnTo>
                <a:lnTo>
                  <a:pt x="319" y="4648"/>
                </a:lnTo>
                <a:lnTo>
                  <a:pt x="354" y="4718"/>
                </a:lnTo>
                <a:lnTo>
                  <a:pt x="391" y="4787"/>
                </a:lnTo>
                <a:lnTo>
                  <a:pt x="428" y="4855"/>
                </a:lnTo>
                <a:lnTo>
                  <a:pt x="468" y="4922"/>
                </a:lnTo>
                <a:lnTo>
                  <a:pt x="509" y="4989"/>
                </a:lnTo>
                <a:lnTo>
                  <a:pt x="552" y="5054"/>
                </a:lnTo>
                <a:lnTo>
                  <a:pt x="596" y="5118"/>
                </a:lnTo>
                <a:lnTo>
                  <a:pt x="642" y="5181"/>
                </a:lnTo>
                <a:lnTo>
                  <a:pt x="689" y="5243"/>
                </a:lnTo>
                <a:lnTo>
                  <a:pt x="739" y="5303"/>
                </a:lnTo>
                <a:lnTo>
                  <a:pt x="790" y="5364"/>
                </a:lnTo>
                <a:lnTo>
                  <a:pt x="842" y="5422"/>
                </a:lnTo>
                <a:lnTo>
                  <a:pt x="895" y="5480"/>
                </a:lnTo>
                <a:lnTo>
                  <a:pt x="950" y="5536"/>
                </a:lnTo>
                <a:lnTo>
                  <a:pt x="950" y="5536"/>
                </a:lnTo>
                <a:lnTo>
                  <a:pt x="1006" y="5591"/>
                </a:lnTo>
                <a:lnTo>
                  <a:pt x="1064" y="5645"/>
                </a:lnTo>
                <a:lnTo>
                  <a:pt x="1123" y="5697"/>
                </a:lnTo>
                <a:lnTo>
                  <a:pt x="1183" y="5747"/>
                </a:lnTo>
                <a:lnTo>
                  <a:pt x="1243" y="5796"/>
                </a:lnTo>
                <a:lnTo>
                  <a:pt x="1305" y="5843"/>
                </a:lnTo>
                <a:lnTo>
                  <a:pt x="1369" y="5889"/>
                </a:lnTo>
                <a:lnTo>
                  <a:pt x="1433" y="5934"/>
                </a:lnTo>
                <a:lnTo>
                  <a:pt x="1498" y="5976"/>
                </a:lnTo>
                <a:lnTo>
                  <a:pt x="1564" y="6017"/>
                </a:lnTo>
                <a:lnTo>
                  <a:pt x="1632" y="6057"/>
                </a:lnTo>
                <a:lnTo>
                  <a:pt x="1700" y="6095"/>
                </a:lnTo>
                <a:lnTo>
                  <a:pt x="1768" y="6132"/>
                </a:lnTo>
                <a:lnTo>
                  <a:pt x="1839" y="6166"/>
                </a:lnTo>
                <a:lnTo>
                  <a:pt x="1910" y="6200"/>
                </a:lnTo>
                <a:lnTo>
                  <a:pt x="1981" y="6231"/>
                </a:lnTo>
                <a:lnTo>
                  <a:pt x="1981" y="6231"/>
                </a:lnTo>
                <a:lnTo>
                  <a:pt x="2058" y="6261"/>
                </a:lnTo>
                <a:lnTo>
                  <a:pt x="2133" y="6290"/>
                </a:lnTo>
                <a:lnTo>
                  <a:pt x="2210" y="6317"/>
                </a:lnTo>
                <a:lnTo>
                  <a:pt x="2286" y="6342"/>
                </a:lnTo>
                <a:lnTo>
                  <a:pt x="2364" y="6365"/>
                </a:lnTo>
                <a:lnTo>
                  <a:pt x="2442" y="6386"/>
                </a:lnTo>
                <a:lnTo>
                  <a:pt x="2521" y="6405"/>
                </a:lnTo>
                <a:lnTo>
                  <a:pt x="2599" y="6422"/>
                </a:lnTo>
                <a:lnTo>
                  <a:pt x="2679" y="6436"/>
                </a:lnTo>
                <a:lnTo>
                  <a:pt x="2759" y="6450"/>
                </a:lnTo>
                <a:lnTo>
                  <a:pt x="2839" y="6461"/>
                </a:lnTo>
                <a:lnTo>
                  <a:pt x="2919" y="6469"/>
                </a:lnTo>
                <a:lnTo>
                  <a:pt x="3000" y="6476"/>
                </a:lnTo>
                <a:lnTo>
                  <a:pt x="3082" y="6481"/>
                </a:lnTo>
                <a:lnTo>
                  <a:pt x="3163" y="6485"/>
                </a:lnTo>
                <a:lnTo>
                  <a:pt x="3245" y="6486"/>
                </a:lnTo>
                <a:lnTo>
                  <a:pt x="3245" y="6486"/>
                </a:lnTo>
                <a:lnTo>
                  <a:pt x="3245" y="6486"/>
                </a:lnTo>
                <a:lnTo>
                  <a:pt x="3245" y="6486"/>
                </a:lnTo>
                <a:lnTo>
                  <a:pt x="3245" y="6486"/>
                </a:lnTo>
                <a:lnTo>
                  <a:pt x="3245" y="6486"/>
                </a:lnTo>
                <a:lnTo>
                  <a:pt x="3245" y="6486"/>
                </a:lnTo>
                <a:lnTo>
                  <a:pt x="3245" y="6486"/>
                </a:lnTo>
                <a:lnTo>
                  <a:pt x="3328" y="6485"/>
                </a:lnTo>
                <a:lnTo>
                  <a:pt x="3410" y="6481"/>
                </a:lnTo>
                <a:lnTo>
                  <a:pt x="3491" y="6476"/>
                </a:lnTo>
                <a:lnTo>
                  <a:pt x="3572" y="6469"/>
                </a:lnTo>
                <a:lnTo>
                  <a:pt x="3652" y="6461"/>
                </a:lnTo>
                <a:lnTo>
                  <a:pt x="3733" y="6450"/>
                </a:lnTo>
                <a:lnTo>
                  <a:pt x="3813" y="6436"/>
                </a:lnTo>
                <a:lnTo>
                  <a:pt x="3891" y="6422"/>
                </a:lnTo>
                <a:lnTo>
                  <a:pt x="3970" y="6405"/>
                </a:lnTo>
                <a:lnTo>
                  <a:pt x="4049" y="6386"/>
                </a:lnTo>
                <a:lnTo>
                  <a:pt x="4127" y="6365"/>
                </a:lnTo>
                <a:lnTo>
                  <a:pt x="4205" y="6342"/>
                </a:lnTo>
                <a:lnTo>
                  <a:pt x="4281" y="6317"/>
                </a:lnTo>
                <a:lnTo>
                  <a:pt x="4358" y="6290"/>
                </a:lnTo>
                <a:lnTo>
                  <a:pt x="4433" y="6261"/>
                </a:lnTo>
                <a:lnTo>
                  <a:pt x="4509" y="6231"/>
                </a:lnTo>
                <a:lnTo>
                  <a:pt x="4509" y="6231"/>
                </a:lnTo>
                <a:lnTo>
                  <a:pt x="4581" y="6200"/>
                </a:lnTo>
                <a:lnTo>
                  <a:pt x="4652" y="6166"/>
                </a:lnTo>
                <a:lnTo>
                  <a:pt x="4722" y="6132"/>
                </a:lnTo>
                <a:lnTo>
                  <a:pt x="4791" y="6095"/>
                </a:lnTo>
                <a:lnTo>
                  <a:pt x="4859" y="6057"/>
                </a:lnTo>
                <a:lnTo>
                  <a:pt x="4927" y="6017"/>
                </a:lnTo>
                <a:lnTo>
                  <a:pt x="4993" y="5976"/>
                </a:lnTo>
                <a:lnTo>
                  <a:pt x="5057" y="5934"/>
                </a:lnTo>
                <a:lnTo>
                  <a:pt x="5122" y="5889"/>
                </a:lnTo>
                <a:lnTo>
                  <a:pt x="5186" y="5843"/>
                </a:lnTo>
                <a:lnTo>
                  <a:pt x="5247" y="5796"/>
                </a:lnTo>
                <a:lnTo>
                  <a:pt x="5308" y="5747"/>
                </a:lnTo>
                <a:lnTo>
                  <a:pt x="5368" y="5697"/>
                </a:lnTo>
                <a:lnTo>
                  <a:pt x="5426" y="5645"/>
                </a:lnTo>
                <a:lnTo>
                  <a:pt x="5484" y="5591"/>
                </a:lnTo>
                <a:lnTo>
                  <a:pt x="5541" y="5536"/>
                </a:lnTo>
                <a:lnTo>
                  <a:pt x="5541" y="5536"/>
                </a:lnTo>
                <a:lnTo>
                  <a:pt x="5596" y="5480"/>
                </a:lnTo>
                <a:lnTo>
                  <a:pt x="5649" y="5422"/>
                </a:lnTo>
                <a:lnTo>
                  <a:pt x="5702" y="5364"/>
                </a:lnTo>
                <a:lnTo>
                  <a:pt x="5752" y="5303"/>
                </a:lnTo>
                <a:lnTo>
                  <a:pt x="5801" y="5243"/>
                </a:lnTo>
                <a:lnTo>
                  <a:pt x="5848" y="5181"/>
                </a:lnTo>
                <a:lnTo>
                  <a:pt x="5894" y="5118"/>
                </a:lnTo>
                <a:lnTo>
                  <a:pt x="5939" y="5054"/>
                </a:lnTo>
                <a:lnTo>
                  <a:pt x="5982" y="4989"/>
                </a:lnTo>
                <a:lnTo>
                  <a:pt x="6023" y="4922"/>
                </a:lnTo>
                <a:lnTo>
                  <a:pt x="6063" y="4855"/>
                </a:lnTo>
                <a:lnTo>
                  <a:pt x="6100" y="4787"/>
                </a:lnTo>
                <a:lnTo>
                  <a:pt x="6136" y="4718"/>
                </a:lnTo>
                <a:lnTo>
                  <a:pt x="6171" y="4648"/>
                </a:lnTo>
                <a:lnTo>
                  <a:pt x="6205" y="4577"/>
                </a:lnTo>
                <a:lnTo>
                  <a:pt x="6237" y="4506"/>
                </a:lnTo>
                <a:lnTo>
                  <a:pt x="6237" y="4506"/>
                </a:lnTo>
                <a:lnTo>
                  <a:pt x="6267" y="4430"/>
                </a:lnTo>
                <a:lnTo>
                  <a:pt x="6296" y="4355"/>
                </a:lnTo>
                <a:lnTo>
                  <a:pt x="6323" y="4277"/>
                </a:lnTo>
                <a:lnTo>
                  <a:pt x="6348" y="4201"/>
                </a:lnTo>
                <a:lnTo>
                  <a:pt x="6371" y="4124"/>
                </a:lnTo>
                <a:lnTo>
                  <a:pt x="6392" y="4045"/>
                </a:lnTo>
                <a:lnTo>
                  <a:pt x="6411" y="3967"/>
                </a:lnTo>
                <a:lnTo>
                  <a:pt x="6428" y="3888"/>
                </a:lnTo>
                <a:lnTo>
                  <a:pt x="6442" y="3808"/>
                </a:lnTo>
                <a:lnTo>
                  <a:pt x="6456" y="3729"/>
                </a:lnTo>
                <a:lnTo>
                  <a:pt x="6467" y="3649"/>
                </a:lnTo>
                <a:lnTo>
                  <a:pt x="6475" y="3568"/>
                </a:lnTo>
                <a:lnTo>
                  <a:pt x="6482" y="3487"/>
                </a:lnTo>
                <a:lnTo>
                  <a:pt x="6487" y="3406"/>
                </a:lnTo>
                <a:lnTo>
                  <a:pt x="6491" y="3325"/>
                </a:lnTo>
                <a:lnTo>
                  <a:pt x="6492" y="3243"/>
                </a:lnTo>
                <a:lnTo>
                  <a:pt x="6492" y="3243"/>
                </a:lnTo>
                <a:lnTo>
                  <a:pt x="6491" y="3161"/>
                </a:lnTo>
                <a:lnTo>
                  <a:pt x="6487" y="3080"/>
                </a:lnTo>
                <a:lnTo>
                  <a:pt x="6482" y="2998"/>
                </a:lnTo>
                <a:lnTo>
                  <a:pt x="6475" y="2917"/>
                </a:lnTo>
                <a:lnTo>
                  <a:pt x="6467" y="2837"/>
                </a:lnTo>
                <a:lnTo>
                  <a:pt x="6456" y="2756"/>
                </a:lnTo>
                <a:lnTo>
                  <a:pt x="6442" y="2676"/>
                </a:lnTo>
                <a:lnTo>
                  <a:pt x="6428" y="2598"/>
                </a:lnTo>
                <a:lnTo>
                  <a:pt x="6411" y="2519"/>
                </a:lnTo>
                <a:lnTo>
                  <a:pt x="6392" y="2441"/>
                </a:lnTo>
                <a:lnTo>
                  <a:pt x="6371" y="2362"/>
                </a:lnTo>
                <a:lnTo>
                  <a:pt x="6348" y="2285"/>
                </a:lnTo>
                <a:lnTo>
                  <a:pt x="6323" y="2209"/>
                </a:lnTo>
                <a:lnTo>
                  <a:pt x="6296" y="2131"/>
                </a:lnTo>
                <a:lnTo>
                  <a:pt x="6267" y="2056"/>
                </a:lnTo>
                <a:lnTo>
                  <a:pt x="6237" y="1980"/>
                </a:lnTo>
                <a:lnTo>
                  <a:pt x="6237" y="1980"/>
                </a:lnTo>
                <a:close/>
                <a:moveTo>
                  <a:pt x="6268" y="3132"/>
                </a:moveTo>
                <a:lnTo>
                  <a:pt x="4923" y="3132"/>
                </a:lnTo>
                <a:lnTo>
                  <a:pt x="4923" y="3132"/>
                </a:lnTo>
                <a:lnTo>
                  <a:pt x="4921" y="3032"/>
                </a:lnTo>
                <a:lnTo>
                  <a:pt x="4916" y="2930"/>
                </a:lnTo>
                <a:lnTo>
                  <a:pt x="4911" y="2830"/>
                </a:lnTo>
                <a:lnTo>
                  <a:pt x="4904" y="2731"/>
                </a:lnTo>
                <a:lnTo>
                  <a:pt x="4894" y="2632"/>
                </a:lnTo>
                <a:lnTo>
                  <a:pt x="4884" y="2534"/>
                </a:lnTo>
                <a:lnTo>
                  <a:pt x="4872" y="2437"/>
                </a:lnTo>
                <a:lnTo>
                  <a:pt x="4859" y="2340"/>
                </a:lnTo>
                <a:lnTo>
                  <a:pt x="4845" y="2246"/>
                </a:lnTo>
                <a:lnTo>
                  <a:pt x="4829" y="2152"/>
                </a:lnTo>
                <a:lnTo>
                  <a:pt x="4811" y="2059"/>
                </a:lnTo>
                <a:lnTo>
                  <a:pt x="4791" y="1967"/>
                </a:lnTo>
                <a:lnTo>
                  <a:pt x="4771" y="1876"/>
                </a:lnTo>
                <a:lnTo>
                  <a:pt x="4749" y="1787"/>
                </a:lnTo>
                <a:lnTo>
                  <a:pt x="4725" y="1699"/>
                </a:lnTo>
                <a:lnTo>
                  <a:pt x="4701" y="1613"/>
                </a:lnTo>
                <a:lnTo>
                  <a:pt x="4701" y="1613"/>
                </a:lnTo>
                <a:lnTo>
                  <a:pt x="4760" y="1597"/>
                </a:lnTo>
                <a:lnTo>
                  <a:pt x="4818" y="1582"/>
                </a:lnTo>
                <a:lnTo>
                  <a:pt x="4876" y="1565"/>
                </a:lnTo>
                <a:lnTo>
                  <a:pt x="4933" y="1547"/>
                </a:lnTo>
                <a:lnTo>
                  <a:pt x="4990" y="1530"/>
                </a:lnTo>
                <a:lnTo>
                  <a:pt x="5045" y="1510"/>
                </a:lnTo>
                <a:lnTo>
                  <a:pt x="5100" y="1492"/>
                </a:lnTo>
                <a:lnTo>
                  <a:pt x="5154" y="1472"/>
                </a:lnTo>
                <a:lnTo>
                  <a:pt x="5207" y="1452"/>
                </a:lnTo>
                <a:lnTo>
                  <a:pt x="5259" y="1431"/>
                </a:lnTo>
                <a:lnTo>
                  <a:pt x="5310" y="1410"/>
                </a:lnTo>
                <a:lnTo>
                  <a:pt x="5361" y="1388"/>
                </a:lnTo>
                <a:lnTo>
                  <a:pt x="5412" y="1365"/>
                </a:lnTo>
                <a:lnTo>
                  <a:pt x="5460" y="1342"/>
                </a:lnTo>
                <a:lnTo>
                  <a:pt x="5509" y="1319"/>
                </a:lnTo>
                <a:lnTo>
                  <a:pt x="5556" y="1295"/>
                </a:lnTo>
                <a:lnTo>
                  <a:pt x="5556" y="1295"/>
                </a:lnTo>
                <a:lnTo>
                  <a:pt x="5596" y="1342"/>
                </a:lnTo>
                <a:lnTo>
                  <a:pt x="5633" y="1391"/>
                </a:lnTo>
                <a:lnTo>
                  <a:pt x="5671" y="1439"/>
                </a:lnTo>
                <a:lnTo>
                  <a:pt x="5707" y="1489"/>
                </a:lnTo>
                <a:lnTo>
                  <a:pt x="5742" y="1539"/>
                </a:lnTo>
                <a:lnTo>
                  <a:pt x="5777" y="1590"/>
                </a:lnTo>
                <a:lnTo>
                  <a:pt x="5810" y="1642"/>
                </a:lnTo>
                <a:lnTo>
                  <a:pt x="5842" y="1695"/>
                </a:lnTo>
                <a:lnTo>
                  <a:pt x="5874" y="1748"/>
                </a:lnTo>
                <a:lnTo>
                  <a:pt x="5904" y="1802"/>
                </a:lnTo>
                <a:lnTo>
                  <a:pt x="5933" y="1857"/>
                </a:lnTo>
                <a:lnTo>
                  <a:pt x="5961" y="1911"/>
                </a:lnTo>
                <a:lnTo>
                  <a:pt x="5988" y="1968"/>
                </a:lnTo>
                <a:lnTo>
                  <a:pt x="6013" y="2024"/>
                </a:lnTo>
                <a:lnTo>
                  <a:pt x="6038" y="2082"/>
                </a:lnTo>
                <a:lnTo>
                  <a:pt x="6061" y="2140"/>
                </a:lnTo>
                <a:lnTo>
                  <a:pt x="6083" y="2198"/>
                </a:lnTo>
                <a:lnTo>
                  <a:pt x="6105" y="2257"/>
                </a:lnTo>
                <a:lnTo>
                  <a:pt x="6124" y="2316"/>
                </a:lnTo>
                <a:lnTo>
                  <a:pt x="6144" y="2375"/>
                </a:lnTo>
                <a:lnTo>
                  <a:pt x="6161" y="2436"/>
                </a:lnTo>
                <a:lnTo>
                  <a:pt x="6178" y="2497"/>
                </a:lnTo>
                <a:lnTo>
                  <a:pt x="6192" y="2559"/>
                </a:lnTo>
                <a:lnTo>
                  <a:pt x="6205" y="2621"/>
                </a:lnTo>
                <a:lnTo>
                  <a:pt x="6219" y="2684"/>
                </a:lnTo>
                <a:lnTo>
                  <a:pt x="6230" y="2746"/>
                </a:lnTo>
                <a:lnTo>
                  <a:pt x="6239" y="2809"/>
                </a:lnTo>
                <a:lnTo>
                  <a:pt x="6248" y="2873"/>
                </a:lnTo>
                <a:lnTo>
                  <a:pt x="6255" y="2937"/>
                </a:lnTo>
                <a:lnTo>
                  <a:pt x="6261" y="3003"/>
                </a:lnTo>
                <a:lnTo>
                  <a:pt x="6265" y="3067"/>
                </a:lnTo>
                <a:lnTo>
                  <a:pt x="6268" y="3132"/>
                </a:lnTo>
                <a:lnTo>
                  <a:pt x="6268" y="3132"/>
                </a:lnTo>
                <a:close/>
                <a:moveTo>
                  <a:pt x="3848" y="1537"/>
                </a:moveTo>
                <a:lnTo>
                  <a:pt x="3848" y="1537"/>
                </a:lnTo>
                <a:lnTo>
                  <a:pt x="3842" y="1515"/>
                </a:lnTo>
                <a:lnTo>
                  <a:pt x="3836" y="1492"/>
                </a:lnTo>
                <a:lnTo>
                  <a:pt x="3828" y="1472"/>
                </a:lnTo>
                <a:lnTo>
                  <a:pt x="3820" y="1450"/>
                </a:lnTo>
                <a:lnTo>
                  <a:pt x="3811" y="1429"/>
                </a:lnTo>
                <a:lnTo>
                  <a:pt x="3802" y="1409"/>
                </a:lnTo>
                <a:lnTo>
                  <a:pt x="3792" y="1390"/>
                </a:lnTo>
                <a:lnTo>
                  <a:pt x="3781" y="1370"/>
                </a:lnTo>
                <a:lnTo>
                  <a:pt x="3770" y="1351"/>
                </a:lnTo>
                <a:lnTo>
                  <a:pt x="3758" y="1332"/>
                </a:lnTo>
                <a:lnTo>
                  <a:pt x="3745" y="1313"/>
                </a:lnTo>
                <a:lnTo>
                  <a:pt x="3732" y="1296"/>
                </a:lnTo>
                <a:lnTo>
                  <a:pt x="3717" y="1278"/>
                </a:lnTo>
                <a:lnTo>
                  <a:pt x="3703" y="1263"/>
                </a:lnTo>
                <a:lnTo>
                  <a:pt x="3688" y="1246"/>
                </a:lnTo>
                <a:lnTo>
                  <a:pt x="3672" y="1230"/>
                </a:lnTo>
                <a:lnTo>
                  <a:pt x="3655" y="1216"/>
                </a:lnTo>
                <a:lnTo>
                  <a:pt x="3639" y="1201"/>
                </a:lnTo>
                <a:lnTo>
                  <a:pt x="3622" y="1188"/>
                </a:lnTo>
                <a:lnTo>
                  <a:pt x="3603" y="1174"/>
                </a:lnTo>
                <a:lnTo>
                  <a:pt x="3585" y="1161"/>
                </a:lnTo>
                <a:lnTo>
                  <a:pt x="3566" y="1149"/>
                </a:lnTo>
                <a:lnTo>
                  <a:pt x="3547" y="1138"/>
                </a:lnTo>
                <a:lnTo>
                  <a:pt x="3527" y="1127"/>
                </a:lnTo>
                <a:lnTo>
                  <a:pt x="3507" y="1118"/>
                </a:lnTo>
                <a:lnTo>
                  <a:pt x="3486" y="1109"/>
                </a:lnTo>
                <a:lnTo>
                  <a:pt x="3466" y="1101"/>
                </a:lnTo>
                <a:lnTo>
                  <a:pt x="3445" y="1092"/>
                </a:lnTo>
                <a:lnTo>
                  <a:pt x="3423" y="1086"/>
                </a:lnTo>
                <a:lnTo>
                  <a:pt x="3401" y="1079"/>
                </a:lnTo>
                <a:lnTo>
                  <a:pt x="3378" y="1074"/>
                </a:lnTo>
                <a:lnTo>
                  <a:pt x="3355" y="1069"/>
                </a:lnTo>
                <a:lnTo>
                  <a:pt x="3355" y="231"/>
                </a:lnTo>
                <a:lnTo>
                  <a:pt x="3355" y="231"/>
                </a:lnTo>
                <a:lnTo>
                  <a:pt x="3387" y="236"/>
                </a:lnTo>
                <a:lnTo>
                  <a:pt x="3418" y="243"/>
                </a:lnTo>
                <a:lnTo>
                  <a:pt x="3450" y="251"/>
                </a:lnTo>
                <a:lnTo>
                  <a:pt x="3480" y="262"/>
                </a:lnTo>
                <a:lnTo>
                  <a:pt x="3512" y="273"/>
                </a:lnTo>
                <a:lnTo>
                  <a:pt x="3542" y="286"/>
                </a:lnTo>
                <a:lnTo>
                  <a:pt x="3572" y="300"/>
                </a:lnTo>
                <a:lnTo>
                  <a:pt x="3602" y="315"/>
                </a:lnTo>
                <a:lnTo>
                  <a:pt x="3632" y="332"/>
                </a:lnTo>
                <a:lnTo>
                  <a:pt x="3663" y="350"/>
                </a:lnTo>
                <a:lnTo>
                  <a:pt x="3692" y="370"/>
                </a:lnTo>
                <a:lnTo>
                  <a:pt x="3722" y="390"/>
                </a:lnTo>
                <a:lnTo>
                  <a:pt x="3751" y="413"/>
                </a:lnTo>
                <a:lnTo>
                  <a:pt x="3780" y="436"/>
                </a:lnTo>
                <a:lnTo>
                  <a:pt x="3809" y="462"/>
                </a:lnTo>
                <a:lnTo>
                  <a:pt x="3837" y="487"/>
                </a:lnTo>
                <a:lnTo>
                  <a:pt x="3866" y="515"/>
                </a:lnTo>
                <a:lnTo>
                  <a:pt x="3894" y="544"/>
                </a:lnTo>
                <a:lnTo>
                  <a:pt x="3922" y="574"/>
                </a:lnTo>
                <a:lnTo>
                  <a:pt x="3949" y="605"/>
                </a:lnTo>
                <a:lnTo>
                  <a:pt x="3976" y="638"/>
                </a:lnTo>
                <a:lnTo>
                  <a:pt x="4004" y="672"/>
                </a:lnTo>
                <a:lnTo>
                  <a:pt x="4030" y="707"/>
                </a:lnTo>
                <a:lnTo>
                  <a:pt x="4057" y="743"/>
                </a:lnTo>
                <a:lnTo>
                  <a:pt x="4082" y="781"/>
                </a:lnTo>
                <a:lnTo>
                  <a:pt x="4108" y="819"/>
                </a:lnTo>
                <a:lnTo>
                  <a:pt x="4133" y="859"/>
                </a:lnTo>
                <a:lnTo>
                  <a:pt x="4159" y="900"/>
                </a:lnTo>
                <a:lnTo>
                  <a:pt x="4183" y="942"/>
                </a:lnTo>
                <a:lnTo>
                  <a:pt x="4207" y="987"/>
                </a:lnTo>
                <a:lnTo>
                  <a:pt x="4231" y="1032"/>
                </a:lnTo>
                <a:lnTo>
                  <a:pt x="4255" y="1078"/>
                </a:lnTo>
                <a:lnTo>
                  <a:pt x="4255" y="1078"/>
                </a:lnTo>
                <a:lnTo>
                  <a:pt x="4277" y="1121"/>
                </a:lnTo>
                <a:lnTo>
                  <a:pt x="4298" y="1167"/>
                </a:lnTo>
                <a:lnTo>
                  <a:pt x="4318" y="1213"/>
                </a:lnTo>
                <a:lnTo>
                  <a:pt x="4339" y="1259"/>
                </a:lnTo>
                <a:lnTo>
                  <a:pt x="4358" y="1306"/>
                </a:lnTo>
                <a:lnTo>
                  <a:pt x="4378" y="1353"/>
                </a:lnTo>
                <a:lnTo>
                  <a:pt x="4415" y="1451"/>
                </a:lnTo>
                <a:lnTo>
                  <a:pt x="4415" y="1451"/>
                </a:lnTo>
                <a:lnTo>
                  <a:pt x="4346" y="1464"/>
                </a:lnTo>
                <a:lnTo>
                  <a:pt x="4276" y="1478"/>
                </a:lnTo>
                <a:lnTo>
                  <a:pt x="4206" y="1490"/>
                </a:lnTo>
                <a:lnTo>
                  <a:pt x="4136" y="1501"/>
                </a:lnTo>
                <a:lnTo>
                  <a:pt x="4064" y="1512"/>
                </a:lnTo>
                <a:lnTo>
                  <a:pt x="3993" y="1520"/>
                </a:lnTo>
                <a:lnTo>
                  <a:pt x="3920" y="1528"/>
                </a:lnTo>
                <a:lnTo>
                  <a:pt x="3848" y="1537"/>
                </a:lnTo>
                <a:lnTo>
                  <a:pt x="3848" y="1537"/>
                </a:lnTo>
                <a:close/>
                <a:moveTo>
                  <a:pt x="3245" y="2073"/>
                </a:moveTo>
                <a:lnTo>
                  <a:pt x="3245" y="2073"/>
                </a:lnTo>
                <a:lnTo>
                  <a:pt x="3225" y="2072"/>
                </a:lnTo>
                <a:lnTo>
                  <a:pt x="3205" y="2071"/>
                </a:lnTo>
                <a:lnTo>
                  <a:pt x="3185" y="2069"/>
                </a:lnTo>
                <a:lnTo>
                  <a:pt x="3166" y="2065"/>
                </a:lnTo>
                <a:lnTo>
                  <a:pt x="3146" y="2061"/>
                </a:lnTo>
                <a:lnTo>
                  <a:pt x="3128" y="2055"/>
                </a:lnTo>
                <a:lnTo>
                  <a:pt x="3110" y="2049"/>
                </a:lnTo>
                <a:lnTo>
                  <a:pt x="3092" y="2042"/>
                </a:lnTo>
                <a:lnTo>
                  <a:pt x="3074" y="2034"/>
                </a:lnTo>
                <a:lnTo>
                  <a:pt x="3057" y="2025"/>
                </a:lnTo>
                <a:lnTo>
                  <a:pt x="3040" y="2015"/>
                </a:lnTo>
                <a:lnTo>
                  <a:pt x="3024" y="2006"/>
                </a:lnTo>
                <a:lnTo>
                  <a:pt x="3008" y="1995"/>
                </a:lnTo>
                <a:lnTo>
                  <a:pt x="2994" y="1983"/>
                </a:lnTo>
                <a:lnTo>
                  <a:pt x="2979" y="1971"/>
                </a:lnTo>
                <a:lnTo>
                  <a:pt x="2965" y="1957"/>
                </a:lnTo>
                <a:lnTo>
                  <a:pt x="2953" y="1943"/>
                </a:lnTo>
                <a:lnTo>
                  <a:pt x="2939" y="1928"/>
                </a:lnTo>
                <a:lnTo>
                  <a:pt x="2927" y="1914"/>
                </a:lnTo>
                <a:lnTo>
                  <a:pt x="2916" y="1898"/>
                </a:lnTo>
                <a:lnTo>
                  <a:pt x="2907" y="1882"/>
                </a:lnTo>
                <a:lnTo>
                  <a:pt x="2897" y="1866"/>
                </a:lnTo>
                <a:lnTo>
                  <a:pt x="2889" y="1849"/>
                </a:lnTo>
                <a:lnTo>
                  <a:pt x="2880" y="1831"/>
                </a:lnTo>
                <a:lnTo>
                  <a:pt x="2873" y="1814"/>
                </a:lnTo>
                <a:lnTo>
                  <a:pt x="2867" y="1794"/>
                </a:lnTo>
                <a:lnTo>
                  <a:pt x="2862" y="1776"/>
                </a:lnTo>
                <a:lnTo>
                  <a:pt x="2857" y="1757"/>
                </a:lnTo>
                <a:lnTo>
                  <a:pt x="2853" y="1737"/>
                </a:lnTo>
                <a:lnTo>
                  <a:pt x="2851" y="1717"/>
                </a:lnTo>
                <a:lnTo>
                  <a:pt x="2850" y="1698"/>
                </a:lnTo>
                <a:lnTo>
                  <a:pt x="2849" y="1677"/>
                </a:lnTo>
                <a:lnTo>
                  <a:pt x="2849" y="1677"/>
                </a:lnTo>
                <a:lnTo>
                  <a:pt x="2850" y="1657"/>
                </a:lnTo>
                <a:lnTo>
                  <a:pt x="2851" y="1636"/>
                </a:lnTo>
                <a:lnTo>
                  <a:pt x="2853" y="1617"/>
                </a:lnTo>
                <a:lnTo>
                  <a:pt x="2857" y="1597"/>
                </a:lnTo>
                <a:lnTo>
                  <a:pt x="2862" y="1578"/>
                </a:lnTo>
                <a:lnTo>
                  <a:pt x="2867" y="1560"/>
                </a:lnTo>
                <a:lnTo>
                  <a:pt x="2873" y="1541"/>
                </a:lnTo>
                <a:lnTo>
                  <a:pt x="2880" y="1522"/>
                </a:lnTo>
                <a:lnTo>
                  <a:pt x="2889" y="1506"/>
                </a:lnTo>
                <a:lnTo>
                  <a:pt x="2897" y="1489"/>
                </a:lnTo>
                <a:lnTo>
                  <a:pt x="2907" y="1472"/>
                </a:lnTo>
                <a:lnTo>
                  <a:pt x="2916" y="1456"/>
                </a:lnTo>
                <a:lnTo>
                  <a:pt x="2927" y="1440"/>
                </a:lnTo>
                <a:lnTo>
                  <a:pt x="2939" y="1425"/>
                </a:lnTo>
                <a:lnTo>
                  <a:pt x="2953" y="1411"/>
                </a:lnTo>
                <a:lnTo>
                  <a:pt x="2965" y="1397"/>
                </a:lnTo>
                <a:lnTo>
                  <a:pt x="2979" y="1383"/>
                </a:lnTo>
                <a:lnTo>
                  <a:pt x="2994" y="1371"/>
                </a:lnTo>
                <a:lnTo>
                  <a:pt x="3008" y="1359"/>
                </a:lnTo>
                <a:lnTo>
                  <a:pt x="3024" y="1348"/>
                </a:lnTo>
                <a:lnTo>
                  <a:pt x="3040" y="1339"/>
                </a:lnTo>
                <a:lnTo>
                  <a:pt x="3057" y="1329"/>
                </a:lnTo>
                <a:lnTo>
                  <a:pt x="3074" y="1319"/>
                </a:lnTo>
                <a:lnTo>
                  <a:pt x="3092" y="1312"/>
                </a:lnTo>
                <a:lnTo>
                  <a:pt x="3110" y="1305"/>
                </a:lnTo>
                <a:lnTo>
                  <a:pt x="3128" y="1299"/>
                </a:lnTo>
                <a:lnTo>
                  <a:pt x="3146" y="1293"/>
                </a:lnTo>
                <a:lnTo>
                  <a:pt x="3166" y="1289"/>
                </a:lnTo>
                <a:lnTo>
                  <a:pt x="3185" y="1286"/>
                </a:lnTo>
                <a:lnTo>
                  <a:pt x="3205" y="1283"/>
                </a:lnTo>
                <a:lnTo>
                  <a:pt x="3225" y="1281"/>
                </a:lnTo>
                <a:lnTo>
                  <a:pt x="3245" y="1281"/>
                </a:lnTo>
                <a:lnTo>
                  <a:pt x="3245" y="1281"/>
                </a:lnTo>
                <a:lnTo>
                  <a:pt x="3266" y="1281"/>
                </a:lnTo>
                <a:lnTo>
                  <a:pt x="3287" y="1283"/>
                </a:lnTo>
                <a:lnTo>
                  <a:pt x="3306" y="1286"/>
                </a:lnTo>
                <a:lnTo>
                  <a:pt x="3325" y="1289"/>
                </a:lnTo>
                <a:lnTo>
                  <a:pt x="3345" y="1293"/>
                </a:lnTo>
                <a:lnTo>
                  <a:pt x="3364" y="1299"/>
                </a:lnTo>
                <a:lnTo>
                  <a:pt x="3382" y="1305"/>
                </a:lnTo>
                <a:lnTo>
                  <a:pt x="3400" y="1312"/>
                </a:lnTo>
                <a:lnTo>
                  <a:pt x="3417" y="1319"/>
                </a:lnTo>
                <a:lnTo>
                  <a:pt x="3434" y="1329"/>
                </a:lnTo>
                <a:lnTo>
                  <a:pt x="3451" y="1339"/>
                </a:lnTo>
                <a:lnTo>
                  <a:pt x="3467" y="1348"/>
                </a:lnTo>
                <a:lnTo>
                  <a:pt x="3482" y="1359"/>
                </a:lnTo>
                <a:lnTo>
                  <a:pt x="3498" y="1371"/>
                </a:lnTo>
                <a:lnTo>
                  <a:pt x="3513" y="1383"/>
                </a:lnTo>
                <a:lnTo>
                  <a:pt x="3526" y="1397"/>
                </a:lnTo>
                <a:lnTo>
                  <a:pt x="3539" y="1411"/>
                </a:lnTo>
                <a:lnTo>
                  <a:pt x="3551" y="1425"/>
                </a:lnTo>
                <a:lnTo>
                  <a:pt x="3564" y="1440"/>
                </a:lnTo>
                <a:lnTo>
                  <a:pt x="3574" y="1456"/>
                </a:lnTo>
                <a:lnTo>
                  <a:pt x="3585" y="1472"/>
                </a:lnTo>
                <a:lnTo>
                  <a:pt x="3595" y="1489"/>
                </a:lnTo>
                <a:lnTo>
                  <a:pt x="3603" y="1506"/>
                </a:lnTo>
                <a:lnTo>
                  <a:pt x="3611" y="1522"/>
                </a:lnTo>
                <a:lnTo>
                  <a:pt x="3618" y="1541"/>
                </a:lnTo>
                <a:lnTo>
                  <a:pt x="3624" y="1560"/>
                </a:lnTo>
                <a:lnTo>
                  <a:pt x="3630" y="1578"/>
                </a:lnTo>
                <a:lnTo>
                  <a:pt x="3634" y="1597"/>
                </a:lnTo>
                <a:lnTo>
                  <a:pt x="3637" y="1617"/>
                </a:lnTo>
                <a:lnTo>
                  <a:pt x="3640" y="1636"/>
                </a:lnTo>
                <a:lnTo>
                  <a:pt x="3642" y="1657"/>
                </a:lnTo>
                <a:lnTo>
                  <a:pt x="3642" y="1677"/>
                </a:lnTo>
                <a:lnTo>
                  <a:pt x="3642" y="1677"/>
                </a:lnTo>
                <a:lnTo>
                  <a:pt x="3642" y="1698"/>
                </a:lnTo>
                <a:lnTo>
                  <a:pt x="3640" y="1717"/>
                </a:lnTo>
                <a:lnTo>
                  <a:pt x="3637" y="1737"/>
                </a:lnTo>
                <a:lnTo>
                  <a:pt x="3634" y="1757"/>
                </a:lnTo>
                <a:lnTo>
                  <a:pt x="3630" y="1776"/>
                </a:lnTo>
                <a:lnTo>
                  <a:pt x="3624" y="1794"/>
                </a:lnTo>
                <a:lnTo>
                  <a:pt x="3618" y="1814"/>
                </a:lnTo>
                <a:lnTo>
                  <a:pt x="3611" y="1831"/>
                </a:lnTo>
                <a:lnTo>
                  <a:pt x="3603" y="1849"/>
                </a:lnTo>
                <a:lnTo>
                  <a:pt x="3595" y="1866"/>
                </a:lnTo>
                <a:lnTo>
                  <a:pt x="3585" y="1882"/>
                </a:lnTo>
                <a:lnTo>
                  <a:pt x="3574" y="1898"/>
                </a:lnTo>
                <a:lnTo>
                  <a:pt x="3564" y="1914"/>
                </a:lnTo>
                <a:lnTo>
                  <a:pt x="3551" y="1928"/>
                </a:lnTo>
                <a:lnTo>
                  <a:pt x="3539" y="1943"/>
                </a:lnTo>
                <a:lnTo>
                  <a:pt x="3526" y="1957"/>
                </a:lnTo>
                <a:lnTo>
                  <a:pt x="3513" y="1971"/>
                </a:lnTo>
                <a:lnTo>
                  <a:pt x="3498" y="1983"/>
                </a:lnTo>
                <a:lnTo>
                  <a:pt x="3482" y="1995"/>
                </a:lnTo>
                <a:lnTo>
                  <a:pt x="3467" y="2006"/>
                </a:lnTo>
                <a:lnTo>
                  <a:pt x="3451" y="2015"/>
                </a:lnTo>
                <a:lnTo>
                  <a:pt x="3434" y="2025"/>
                </a:lnTo>
                <a:lnTo>
                  <a:pt x="3417" y="2034"/>
                </a:lnTo>
                <a:lnTo>
                  <a:pt x="3400" y="2042"/>
                </a:lnTo>
                <a:lnTo>
                  <a:pt x="3382" y="2049"/>
                </a:lnTo>
                <a:lnTo>
                  <a:pt x="3364" y="2055"/>
                </a:lnTo>
                <a:lnTo>
                  <a:pt x="3345" y="2061"/>
                </a:lnTo>
                <a:lnTo>
                  <a:pt x="3325" y="2065"/>
                </a:lnTo>
                <a:lnTo>
                  <a:pt x="3306" y="2069"/>
                </a:lnTo>
                <a:lnTo>
                  <a:pt x="3287" y="2071"/>
                </a:lnTo>
                <a:lnTo>
                  <a:pt x="3266" y="2072"/>
                </a:lnTo>
                <a:lnTo>
                  <a:pt x="3245" y="2073"/>
                </a:lnTo>
                <a:lnTo>
                  <a:pt x="3245" y="2073"/>
                </a:lnTo>
                <a:close/>
                <a:moveTo>
                  <a:pt x="3135" y="231"/>
                </a:moveTo>
                <a:lnTo>
                  <a:pt x="3135" y="1069"/>
                </a:lnTo>
                <a:lnTo>
                  <a:pt x="3135" y="1069"/>
                </a:lnTo>
                <a:lnTo>
                  <a:pt x="3112" y="1074"/>
                </a:lnTo>
                <a:lnTo>
                  <a:pt x="3091" y="1080"/>
                </a:lnTo>
                <a:lnTo>
                  <a:pt x="3068" y="1086"/>
                </a:lnTo>
                <a:lnTo>
                  <a:pt x="3047" y="1092"/>
                </a:lnTo>
                <a:lnTo>
                  <a:pt x="3025" y="1101"/>
                </a:lnTo>
                <a:lnTo>
                  <a:pt x="3005" y="1109"/>
                </a:lnTo>
                <a:lnTo>
                  <a:pt x="2984" y="1118"/>
                </a:lnTo>
                <a:lnTo>
                  <a:pt x="2964" y="1127"/>
                </a:lnTo>
                <a:lnTo>
                  <a:pt x="2944" y="1138"/>
                </a:lnTo>
                <a:lnTo>
                  <a:pt x="2925" y="1150"/>
                </a:lnTo>
                <a:lnTo>
                  <a:pt x="2905" y="1161"/>
                </a:lnTo>
                <a:lnTo>
                  <a:pt x="2887" y="1174"/>
                </a:lnTo>
                <a:lnTo>
                  <a:pt x="2870" y="1188"/>
                </a:lnTo>
                <a:lnTo>
                  <a:pt x="2852" y="1201"/>
                </a:lnTo>
                <a:lnTo>
                  <a:pt x="2835" y="1216"/>
                </a:lnTo>
                <a:lnTo>
                  <a:pt x="2820" y="1231"/>
                </a:lnTo>
                <a:lnTo>
                  <a:pt x="2804" y="1246"/>
                </a:lnTo>
                <a:lnTo>
                  <a:pt x="2788" y="1263"/>
                </a:lnTo>
                <a:lnTo>
                  <a:pt x="2774" y="1280"/>
                </a:lnTo>
                <a:lnTo>
                  <a:pt x="2759" y="1296"/>
                </a:lnTo>
                <a:lnTo>
                  <a:pt x="2746" y="1313"/>
                </a:lnTo>
                <a:lnTo>
                  <a:pt x="2734" y="1332"/>
                </a:lnTo>
                <a:lnTo>
                  <a:pt x="2722" y="1351"/>
                </a:lnTo>
                <a:lnTo>
                  <a:pt x="2710" y="1370"/>
                </a:lnTo>
                <a:lnTo>
                  <a:pt x="2699" y="1390"/>
                </a:lnTo>
                <a:lnTo>
                  <a:pt x="2689" y="1409"/>
                </a:lnTo>
                <a:lnTo>
                  <a:pt x="2679" y="1429"/>
                </a:lnTo>
                <a:lnTo>
                  <a:pt x="2671" y="1450"/>
                </a:lnTo>
                <a:lnTo>
                  <a:pt x="2664" y="1472"/>
                </a:lnTo>
                <a:lnTo>
                  <a:pt x="2656" y="1493"/>
                </a:lnTo>
                <a:lnTo>
                  <a:pt x="2649" y="1515"/>
                </a:lnTo>
                <a:lnTo>
                  <a:pt x="2644" y="1537"/>
                </a:lnTo>
                <a:lnTo>
                  <a:pt x="2644" y="1537"/>
                </a:lnTo>
                <a:lnTo>
                  <a:pt x="2570" y="1528"/>
                </a:lnTo>
                <a:lnTo>
                  <a:pt x="2499" y="1520"/>
                </a:lnTo>
                <a:lnTo>
                  <a:pt x="2426" y="1512"/>
                </a:lnTo>
                <a:lnTo>
                  <a:pt x="2355" y="1501"/>
                </a:lnTo>
                <a:lnTo>
                  <a:pt x="2285" y="1490"/>
                </a:lnTo>
                <a:lnTo>
                  <a:pt x="2215" y="1478"/>
                </a:lnTo>
                <a:lnTo>
                  <a:pt x="2145" y="1464"/>
                </a:lnTo>
                <a:lnTo>
                  <a:pt x="2077" y="1451"/>
                </a:lnTo>
                <a:lnTo>
                  <a:pt x="2077" y="1451"/>
                </a:lnTo>
                <a:lnTo>
                  <a:pt x="2113" y="1353"/>
                </a:lnTo>
                <a:lnTo>
                  <a:pt x="2133" y="1306"/>
                </a:lnTo>
                <a:lnTo>
                  <a:pt x="2152" y="1259"/>
                </a:lnTo>
                <a:lnTo>
                  <a:pt x="2172" y="1213"/>
                </a:lnTo>
                <a:lnTo>
                  <a:pt x="2193" y="1167"/>
                </a:lnTo>
                <a:lnTo>
                  <a:pt x="2214" y="1121"/>
                </a:lnTo>
                <a:lnTo>
                  <a:pt x="2235" y="1078"/>
                </a:lnTo>
                <a:lnTo>
                  <a:pt x="2235" y="1078"/>
                </a:lnTo>
                <a:lnTo>
                  <a:pt x="2260" y="1032"/>
                </a:lnTo>
                <a:lnTo>
                  <a:pt x="2284" y="987"/>
                </a:lnTo>
                <a:lnTo>
                  <a:pt x="2308" y="944"/>
                </a:lnTo>
                <a:lnTo>
                  <a:pt x="2332" y="900"/>
                </a:lnTo>
                <a:lnTo>
                  <a:pt x="2358" y="859"/>
                </a:lnTo>
                <a:lnTo>
                  <a:pt x="2383" y="819"/>
                </a:lnTo>
                <a:lnTo>
                  <a:pt x="2408" y="781"/>
                </a:lnTo>
                <a:lnTo>
                  <a:pt x="2435" y="743"/>
                </a:lnTo>
                <a:lnTo>
                  <a:pt x="2460" y="707"/>
                </a:lnTo>
                <a:lnTo>
                  <a:pt x="2487" y="672"/>
                </a:lnTo>
                <a:lnTo>
                  <a:pt x="2515" y="638"/>
                </a:lnTo>
                <a:lnTo>
                  <a:pt x="2541" y="605"/>
                </a:lnTo>
                <a:lnTo>
                  <a:pt x="2569" y="574"/>
                </a:lnTo>
                <a:lnTo>
                  <a:pt x="2597" y="544"/>
                </a:lnTo>
                <a:lnTo>
                  <a:pt x="2625" y="515"/>
                </a:lnTo>
                <a:lnTo>
                  <a:pt x="2654" y="488"/>
                </a:lnTo>
                <a:lnTo>
                  <a:pt x="2682" y="462"/>
                </a:lnTo>
                <a:lnTo>
                  <a:pt x="2711" y="436"/>
                </a:lnTo>
                <a:lnTo>
                  <a:pt x="2740" y="413"/>
                </a:lnTo>
                <a:lnTo>
                  <a:pt x="2769" y="390"/>
                </a:lnTo>
                <a:lnTo>
                  <a:pt x="2799" y="370"/>
                </a:lnTo>
                <a:lnTo>
                  <a:pt x="2828" y="350"/>
                </a:lnTo>
                <a:lnTo>
                  <a:pt x="2858" y="332"/>
                </a:lnTo>
                <a:lnTo>
                  <a:pt x="2889" y="315"/>
                </a:lnTo>
                <a:lnTo>
                  <a:pt x="2919" y="300"/>
                </a:lnTo>
                <a:lnTo>
                  <a:pt x="2949" y="286"/>
                </a:lnTo>
                <a:lnTo>
                  <a:pt x="2979" y="273"/>
                </a:lnTo>
                <a:lnTo>
                  <a:pt x="3011" y="262"/>
                </a:lnTo>
                <a:lnTo>
                  <a:pt x="3041" y="251"/>
                </a:lnTo>
                <a:lnTo>
                  <a:pt x="3072" y="243"/>
                </a:lnTo>
                <a:lnTo>
                  <a:pt x="3104" y="236"/>
                </a:lnTo>
                <a:lnTo>
                  <a:pt x="3135" y="231"/>
                </a:lnTo>
                <a:lnTo>
                  <a:pt x="3135" y="231"/>
                </a:lnTo>
                <a:close/>
                <a:moveTo>
                  <a:pt x="2007" y="1663"/>
                </a:moveTo>
                <a:lnTo>
                  <a:pt x="2007" y="1663"/>
                </a:lnTo>
                <a:lnTo>
                  <a:pt x="2083" y="1678"/>
                </a:lnTo>
                <a:lnTo>
                  <a:pt x="2159" y="1693"/>
                </a:lnTo>
                <a:lnTo>
                  <a:pt x="2238" y="1706"/>
                </a:lnTo>
                <a:lnTo>
                  <a:pt x="2315" y="1719"/>
                </a:lnTo>
                <a:lnTo>
                  <a:pt x="2394" y="1730"/>
                </a:lnTo>
                <a:lnTo>
                  <a:pt x="2474" y="1741"/>
                </a:lnTo>
                <a:lnTo>
                  <a:pt x="2553" y="1750"/>
                </a:lnTo>
                <a:lnTo>
                  <a:pt x="2633" y="1758"/>
                </a:lnTo>
                <a:lnTo>
                  <a:pt x="2633" y="1758"/>
                </a:lnTo>
                <a:lnTo>
                  <a:pt x="2637" y="1783"/>
                </a:lnTo>
                <a:lnTo>
                  <a:pt x="2642" y="1808"/>
                </a:lnTo>
                <a:lnTo>
                  <a:pt x="2648" y="1832"/>
                </a:lnTo>
                <a:lnTo>
                  <a:pt x="2654" y="1855"/>
                </a:lnTo>
                <a:lnTo>
                  <a:pt x="2661" y="1879"/>
                </a:lnTo>
                <a:lnTo>
                  <a:pt x="2670" y="1902"/>
                </a:lnTo>
                <a:lnTo>
                  <a:pt x="2679" y="1924"/>
                </a:lnTo>
                <a:lnTo>
                  <a:pt x="2689" y="1945"/>
                </a:lnTo>
                <a:lnTo>
                  <a:pt x="2700" y="1967"/>
                </a:lnTo>
                <a:lnTo>
                  <a:pt x="2712" y="1989"/>
                </a:lnTo>
                <a:lnTo>
                  <a:pt x="2725" y="2009"/>
                </a:lnTo>
                <a:lnTo>
                  <a:pt x="2739" y="2029"/>
                </a:lnTo>
                <a:lnTo>
                  <a:pt x="2752" y="2048"/>
                </a:lnTo>
                <a:lnTo>
                  <a:pt x="2768" y="2067"/>
                </a:lnTo>
                <a:lnTo>
                  <a:pt x="2782" y="2085"/>
                </a:lnTo>
                <a:lnTo>
                  <a:pt x="2799" y="2102"/>
                </a:lnTo>
                <a:lnTo>
                  <a:pt x="2816" y="2121"/>
                </a:lnTo>
                <a:lnTo>
                  <a:pt x="2833" y="2136"/>
                </a:lnTo>
                <a:lnTo>
                  <a:pt x="2851" y="2152"/>
                </a:lnTo>
                <a:lnTo>
                  <a:pt x="2870" y="2166"/>
                </a:lnTo>
                <a:lnTo>
                  <a:pt x="2890" y="2181"/>
                </a:lnTo>
                <a:lnTo>
                  <a:pt x="2909" y="2194"/>
                </a:lnTo>
                <a:lnTo>
                  <a:pt x="2930" y="2208"/>
                </a:lnTo>
                <a:lnTo>
                  <a:pt x="2951" y="2220"/>
                </a:lnTo>
                <a:lnTo>
                  <a:pt x="2972" y="2230"/>
                </a:lnTo>
                <a:lnTo>
                  <a:pt x="2994" y="2241"/>
                </a:lnTo>
                <a:lnTo>
                  <a:pt x="3017" y="2250"/>
                </a:lnTo>
                <a:lnTo>
                  <a:pt x="3040" y="2259"/>
                </a:lnTo>
                <a:lnTo>
                  <a:pt x="3063" y="2267"/>
                </a:lnTo>
                <a:lnTo>
                  <a:pt x="3087" y="2274"/>
                </a:lnTo>
                <a:lnTo>
                  <a:pt x="3110" y="2279"/>
                </a:lnTo>
                <a:lnTo>
                  <a:pt x="3135" y="2284"/>
                </a:lnTo>
                <a:lnTo>
                  <a:pt x="3135" y="3132"/>
                </a:lnTo>
                <a:lnTo>
                  <a:pt x="2286" y="3132"/>
                </a:lnTo>
                <a:lnTo>
                  <a:pt x="2286" y="3132"/>
                </a:lnTo>
                <a:lnTo>
                  <a:pt x="2281" y="3110"/>
                </a:lnTo>
                <a:lnTo>
                  <a:pt x="2275" y="3087"/>
                </a:lnTo>
                <a:lnTo>
                  <a:pt x="2269" y="3065"/>
                </a:lnTo>
                <a:lnTo>
                  <a:pt x="2263" y="3044"/>
                </a:lnTo>
                <a:lnTo>
                  <a:pt x="2255" y="3023"/>
                </a:lnTo>
                <a:lnTo>
                  <a:pt x="2246" y="3003"/>
                </a:lnTo>
                <a:lnTo>
                  <a:pt x="2238" y="2982"/>
                </a:lnTo>
                <a:lnTo>
                  <a:pt x="2227" y="2961"/>
                </a:lnTo>
                <a:lnTo>
                  <a:pt x="2217" y="2942"/>
                </a:lnTo>
                <a:lnTo>
                  <a:pt x="2205" y="2923"/>
                </a:lnTo>
                <a:lnTo>
                  <a:pt x="2194" y="2903"/>
                </a:lnTo>
                <a:lnTo>
                  <a:pt x="2181" y="2885"/>
                </a:lnTo>
                <a:lnTo>
                  <a:pt x="2168" y="2867"/>
                </a:lnTo>
                <a:lnTo>
                  <a:pt x="2154" y="2850"/>
                </a:lnTo>
                <a:lnTo>
                  <a:pt x="2140" y="2833"/>
                </a:lnTo>
                <a:lnTo>
                  <a:pt x="2124" y="2816"/>
                </a:lnTo>
                <a:lnTo>
                  <a:pt x="2108" y="2801"/>
                </a:lnTo>
                <a:lnTo>
                  <a:pt x="2093" y="2786"/>
                </a:lnTo>
                <a:lnTo>
                  <a:pt x="2076" y="2772"/>
                </a:lnTo>
                <a:lnTo>
                  <a:pt x="2059" y="2757"/>
                </a:lnTo>
                <a:lnTo>
                  <a:pt x="2041" y="2744"/>
                </a:lnTo>
                <a:lnTo>
                  <a:pt x="2022" y="2731"/>
                </a:lnTo>
                <a:lnTo>
                  <a:pt x="2004" y="2719"/>
                </a:lnTo>
                <a:lnTo>
                  <a:pt x="1985" y="2708"/>
                </a:lnTo>
                <a:lnTo>
                  <a:pt x="1966" y="2697"/>
                </a:lnTo>
                <a:lnTo>
                  <a:pt x="1945" y="2687"/>
                </a:lnTo>
                <a:lnTo>
                  <a:pt x="1924" y="2678"/>
                </a:lnTo>
                <a:lnTo>
                  <a:pt x="1904" y="2669"/>
                </a:lnTo>
                <a:lnTo>
                  <a:pt x="1883" y="2661"/>
                </a:lnTo>
                <a:lnTo>
                  <a:pt x="1862" y="2653"/>
                </a:lnTo>
                <a:lnTo>
                  <a:pt x="1840" y="2647"/>
                </a:lnTo>
                <a:lnTo>
                  <a:pt x="1818" y="2641"/>
                </a:lnTo>
                <a:lnTo>
                  <a:pt x="1818" y="2641"/>
                </a:lnTo>
                <a:lnTo>
                  <a:pt x="1824" y="2577"/>
                </a:lnTo>
                <a:lnTo>
                  <a:pt x="1831" y="2512"/>
                </a:lnTo>
                <a:lnTo>
                  <a:pt x="1840" y="2448"/>
                </a:lnTo>
                <a:lnTo>
                  <a:pt x="1848" y="2385"/>
                </a:lnTo>
                <a:lnTo>
                  <a:pt x="1858" y="2321"/>
                </a:lnTo>
                <a:lnTo>
                  <a:pt x="1869" y="2259"/>
                </a:lnTo>
                <a:lnTo>
                  <a:pt x="1880" y="2197"/>
                </a:lnTo>
                <a:lnTo>
                  <a:pt x="1891" y="2135"/>
                </a:lnTo>
                <a:lnTo>
                  <a:pt x="1903" y="2073"/>
                </a:lnTo>
                <a:lnTo>
                  <a:pt x="1916" y="2013"/>
                </a:lnTo>
                <a:lnTo>
                  <a:pt x="1929" y="1954"/>
                </a:lnTo>
                <a:lnTo>
                  <a:pt x="1944" y="1895"/>
                </a:lnTo>
                <a:lnTo>
                  <a:pt x="1958" y="1835"/>
                </a:lnTo>
                <a:lnTo>
                  <a:pt x="1974" y="1777"/>
                </a:lnTo>
                <a:lnTo>
                  <a:pt x="1990" y="1719"/>
                </a:lnTo>
                <a:lnTo>
                  <a:pt x="2007" y="1663"/>
                </a:lnTo>
                <a:lnTo>
                  <a:pt x="2007" y="1663"/>
                </a:lnTo>
                <a:close/>
                <a:moveTo>
                  <a:pt x="1678" y="2847"/>
                </a:moveTo>
                <a:lnTo>
                  <a:pt x="1678" y="2847"/>
                </a:lnTo>
                <a:lnTo>
                  <a:pt x="1698" y="2847"/>
                </a:lnTo>
                <a:lnTo>
                  <a:pt x="1718" y="2849"/>
                </a:lnTo>
                <a:lnTo>
                  <a:pt x="1738" y="2852"/>
                </a:lnTo>
                <a:lnTo>
                  <a:pt x="1758" y="2855"/>
                </a:lnTo>
                <a:lnTo>
                  <a:pt x="1777" y="2859"/>
                </a:lnTo>
                <a:lnTo>
                  <a:pt x="1795" y="2865"/>
                </a:lnTo>
                <a:lnTo>
                  <a:pt x="1814" y="2871"/>
                </a:lnTo>
                <a:lnTo>
                  <a:pt x="1833" y="2878"/>
                </a:lnTo>
                <a:lnTo>
                  <a:pt x="1850" y="2885"/>
                </a:lnTo>
                <a:lnTo>
                  <a:pt x="1866" y="2895"/>
                </a:lnTo>
                <a:lnTo>
                  <a:pt x="1883" y="2905"/>
                </a:lnTo>
                <a:lnTo>
                  <a:pt x="1899" y="2914"/>
                </a:lnTo>
                <a:lnTo>
                  <a:pt x="1915" y="2925"/>
                </a:lnTo>
                <a:lnTo>
                  <a:pt x="1929" y="2937"/>
                </a:lnTo>
                <a:lnTo>
                  <a:pt x="1944" y="2949"/>
                </a:lnTo>
                <a:lnTo>
                  <a:pt x="1958" y="2963"/>
                </a:lnTo>
                <a:lnTo>
                  <a:pt x="1972" y="2977"/>
                </a:lnTo>
                <a:lnTo>
                  <a:pt x="1984" y="2990"/>
                </a:lnTo>
                <a:lnTo>
                  <a:pt x="1996" y="3006"/>
                </a:lnTo>
                <a:lnTo>
                  <a:pt x="2007" y="3022"/>
                </a:lnTo>
                <a:lnTo>
                  <a:pt x="2016" y="3038"/>
                </a:lnTo>
                <a:lnTo>
                  <a:pt x="2026" y="3055"/>
                </a:lnTo>
                <a:lnTo>
                  <a:pt x="2036" y="3071"/>
                </a:lnTo>
                <a:lnTo>
                  <a:pt x="2043" y="3088"/>
                </a:lnTo>
                <a:lnTo>
                  <a:pt x="2050" y="3106"/>
                </a:lnTo>
                <a:lnTo>
                  <a:pt x="2056" y="3126"/>
                </a:lnTo>
                <a:lnTo>
                  <a:pt x="2062" y="3144"/>
                </a:lnTo>
                <a:lnTo>
                  <a:pt x="2066" y="3163"/>
                </a:lnTo>
                <a:lnTo>
                  <a:pt x="2070" y="3183"/>
                </a:lnTo>
                <a:lnTo>
                  <a:pt x="2072" y="3202"/>
                </a:lnTo>
                <a:lnTo>
                  <a:pt x="2074" y="3222"/>
                </a:lnTo>
                <a:lnTo>
                  <a:pt x="2074" y="3243"/>
                </a:lnTo>
                <a:lnTo>
                  <a:pt x="2074" y="3243"/>
                </a:lnTo>
                <a:lnTo>
                  <a:pt x="2074" y="3264"/>
                </a:lnTo>
                <a:lnTo>
                  <a:pt x="2072" y="3283"/>
                </a:lnTo>
                <a:lnTo>
                  <a:pt x="2070" y="3303"/>
                </a:lnTo>
                <a:lnTo>
                  <a:pt x="2066" y="3323"/>
                </a:lnTo>
                <a:lnTo>
                  <a:pt x="2062" y="3342"/>
                </a:lnTo>
                <a:lnTo>
                  <a:pt x="2056" y="3360"/>
                </a:lnTo>
                <a:lnTo>
                  <a:pt x="2050" y="3380"/>
                </a:lnTo>
                <a:lnTo>
                  <a:pt x="2043" y="3396"/>
                </a:lnTo>
                <a:lnTo>
                  <a:pt x="2036" y="3415"/>
                </a:lnTo>
                <a:lnTo>
                  <a:pt x="2026" y="3431"/>
                </a:lnTo>
                <a:lnTo>
                  <a:pt x="2016" y="3448"/>
                </a:lnTo>
                <a:lnTo>
                  <a:pt x="2007" y="3464"/>
                </a:lnTo>
                <a:lnTo>
                  <a:pt x="1996" y="3480"/>
                </a:lnTo>
                <a:lnTo>
                  <a:pt x="1984" y="3494"/>
                </a:lnTo>
                <a:lnTo>
                  <a:pt x="1972" y="3509"/>
                </a:lnTo>
                <a:lnTo>
                  <a:pt x="1958" y="3523"/>
                </a:lnTo>
                <a:lnTo>
                  <a:pt x="1944" y="3537"/>
                </a:lnTo>
                <a:lnTo>
                  <a:pt x="1929" y="3549"/>
                </a:lnTo>
                <a:lnTo>
                  <a:pt x="1915" y="3561"/>
                </a:lnTo>
                <a:lnTo>
                  <a:pt x="1899" y="3572"/>
                </a:lnTo>
                <a:lnTo>
                  <a:pt x="1883" y="3581"/>
                </a:lnTo>
                <a:lnTo>
                  <a:pt x="1866" y="3591"/>
                </a:lnTo>
                <a:lnTo>
                  <a:pt x="1850" y="3601"/>
                </a:lnTo>
                <a:lnTo>
                  <a:pt x="1833" y="3608"/>
                </a:lnTo>
                <a:lnTo>
                  <a:pt x="1814" y="3615"/>
                </a:lnTo>
                <a:lnTo>
                  <a:pt x="1795" y="3621"/>
                </a:lnTo>
                <a:lnTo>
                  <a:pt x="1777" y="3627"/>
                </a:lnTo>
                <a:lnTo>
                  <a:pt x="1758" y="3631"/>
                </a:lnTo>
                <a:lnTo>
                  <a:pt x="1738" y="3634"/>
                </a:lnTo>
                <a:lnTo>
                  <a:pt x="1718" y="3637"/>
                </a:lnTo>
                <a:lnTo>
                  <a:pt x="1698" y="3639"/>
                </a:lnTo>
                <a:lnTo>
                  <a:pt x="1678" y="3639"/>
                </a:lnTo>
                <a:lnTo>
                  <a:pt x="1678" y="3639"/>
                </a:lnTo>
                <a:lnTo>
                  <a:pt x="1657" y="3639"/>
                </a:lnTo>
                <a:lnTo>
                  <a:pt x="1638" y="3637"/>
                </a:lnTo>
                <a:lnTo>
                  <a:pt x="1617" y="3634"/>
                </a:lnTo>
                <a:lnTo>
                  <a:pt x="1598" y="3631"/>
                </a:lnTo>
                <a:lnTo>
                  <a:pt x="1579" y="3627"/>
                </a:lnTo>
                <a:lnTo>
                  <a:pt x="1560" y="3621"/>
                </a:lnTo>
                <a:lnTo>
                  <a:pt x="1541" y="3615"/>
                </a:lnTo>
                <a:lnTo>
                  <a:pt x="1523" y="3608"/>
                </a:lnTo>
                <a:lnTo>
                  <a:pt x="1506" y="3601"/>
                </a:lnTo>
                <a:lnTo>
                  <a:pt x="1489" y="3591"/>
                </a:lnTo>
                <a:lnTo>
                  <a:pt x="1472" y="3581"/>
                </a:lnTo>
                <a:lnTo>
                  <a:pt x="1456" y="3572"/>
                </a:lnTo>
                <a:lnTo>
                  <a:pt x="1441" y="3561"/>
                </a:lnTo>
                <a:lnTo>
                  <a:pt x="1426" y="3549"/>
                </a:lnTo>
                <a:lnTo>
                  <a:pt x="1412" y="3537"/>
                </a:lnTo>
                <a:lnTo>
                  <a:pt x="1397" y="3523"/>
                </a:lnTo>
                <a:lnTo>
                  <a:pt x="1384" y="3509"/>
                </a:lnTo>
                <a:lnTo>
                  <a:pt x="1372" y="3494"/>
                </a:lnTo>
                <a:lnTo>
                  <a:pt x="1360" y="3480"/>
                </a:lnTo>
                <a:lnTo>
                  <a:pt x="1349" y="3464"/>
                </a:lnTo>
                <a:lnTo>
                  <a:pt x="1339" y="3448"/>
                </a:lnTo>
                <a:lnTo>
                  <a:pt x="1329" y="3431"/>
                </a:lnTo>
                <a:lnTo>
                  <a:pt x="1320" y="3415"/>
                </a:lnTo>
                <a:lnTo>
                  <a:pt x="1312" y="3396"/>
                </a:lnTo>
                <a:lnTo>
                  <a:pt x="1305" y="3380"/>
                </a:lnTo>
                <a:lnTo>
                  <a:pt x="1299" y="3360"/>
                </a:lnTo>
                <a:lnTo>
                  <a:pt x="1293" y="3342"/>
                </a:lnTo>
                <a:lnTo>
                  <a:pt x="1289" y="3323"/>
                </a:lnTo>
                <a:lnTo>
                  <a:pt x="1286" y="3303"/>
                </a:lnTo>
                <a:lnTo>
                  <a:pt x="1283" y="3283"/>
                </a:lnTo>
                <a:lnTo>
                  <a:pt x="1281" y="3264"/>
                </a:lnTo>
                <a:lnTo>
                  <a:pt x="1281" y="3243"/>
                </a:lnTo>
                <a:lnTo>
                  <a:pt x="1281" y="3243"/>
                </a:lnTo>
                <a:lnTo>
                  <a:pt x="1281" y="3222"/>
                </a:lnTo>
                <a:lnTo>
                  <a:pt x="1283" y="3202"/>
                </a:lnTo>
                <a:lnTo>
                  <a:pt x="1286" y="3183"/>
                </a:lnTo>
                <a:lnTo>
                  <a:pt x="1289" y="3163"/>
                </a:lnTo>
                <a:lnTo>
                  <a:pt x="1293" y="3144"/>
                </a:lnTo>
                <a:lnTo>
                  <a:pt x="1299" y="3126"/>
                </a:lnTo>
                <a:lnTo>
                  <a:pt x="1305" y="3106"/>
                </a:lnTo>
                <a:lnTo>
                  <a:pt x="1312" y="3088"/>
                </a:lnTo>
                <a:lnTo>
                  <a:pt x="1320" y="3071"/>
                </a:lnTo>
                <a:lnTo>
                  <a:pt x="1329" y="3055"/>
                </a:lnTo>
                <a:lnTo>
                  <a:pt x="1339" y="3038"/>
                </a:lnTo>
                <a:lnTo>
                  <a:pt x="1349" y="3022"/>
                </a:lnTo>
                <a:lnTo>
                  <a:pt x="1360" y="3006"/>
                </a:lnTo>
                <a:lnTo>
                  <a:pt x="1372" y="2990"/>
                </a:lnTo>
                <a:lnTo>
                  <a:pt x="1384" y="2977"/>
                </a:lnTo>
                <a:lnTo>
                  <a:pt x="1397" y="2963"/>
                </a:lnTo>
                <a:lnTo>
                  <a:pt x="1412" y="2949"/>
                </a:lnTo>
                <a:lnTo>
                  <a:pt x="1426" y="2937"/>
                </a:lnTo>
                <a:lnTo>
                  <a:pt x="1441" y="2925"/>
                </a:lnTo>
                <a:lnTo>
                  <a:pt x="1456" y="2914"/>
                </a:lnTo>
                <a:lnTo>
                  <a:pt x="1472" y="2905"/>
                </a:lnTo>
                <a:lnTo>
                  <a:pt x="1489" y="2895"/>
                </a:lnTo>
                <a:lnTo>
                  <a:pt x="1506" y="2885"/>
                </a:lnTo>
                <a:lnTo>
                  <a:pt x="1523" y="2878"/>
                </a:lnTo>
                <a:lnTo>
                  <a:pt x="1541" y="2871"/>
                </a:lnTo>
                <a:lnTo>
                  <a:pt x="1560" y="2865"/>
                </a:lnTo>
                <a:lnTo>
                  <a:pt x="1579" y="2859"/>
                </a:lnTo>
                <a:lnTo>
                  <a:pt x="1598" y="2855"/>
                </a:lnTo>
                <a:lnTo>
                  <a:pt x="1617" y="2852"/>
                </a:lnTo>
                <a:lnTo>
                  <a:pt x="1638" y="2849"/>
                </a:lnTo>
                <a:lnTo>
                  <a:pt x="1657" y="2847"/>
                </a:lnTo>
                <a:lnTo>
                  <a:pt x="1678" y="2847"/>
                </a:lnTo>
                <a:lnTo>
                  <a:pt x="1678" y="2847"/>
                </a:lnTo>
                <a:close/>
                <a:moveTo>
                  <a:pt x="2286" y="3353"/>
                </a:moveTo>
                <a:lnTo>
                  <a:pt x="3135" y="3353"/>
                </a:lnTo>
                <a:lnTo>
                  <a:pt x="3135" y="4699"/>
                </a:lnTo>
                <a:lnTo>
                  <a:pt x="3135" y="4699"/>
                </a:lnTo>
                <a:lnTo>
                  <a:pt x="3062" y="4701"/>
                </a:lnTo>
                <a:lnTo>
                  <a:pt x="2989" y="4704"/>
                </a:lnTo>
                <a:lnTo>
                  <a:pt x="2916" y="4707"/>
                </a:lnTo>
                <a:lnTo>
                  <a:pt x="2844" y="4711"/>
                </a:lnTo>
                <a:lnTo>
                  <a:pt x="2772" y="4716"/>
                </a:lnTo>
                <a:lnTo>
                  <a:pt x="2701" y="4722"/>
                </a:lnTo>
                <a:lnTo>
                  <a:pt x="2630" y="4728"/>
                </a:lnTo>
                <a:lnTo>
                  <a:pt x="2558" y="4735"/>
                </a:lnTo>
                <a:lnTo>
                  <a:pt x="2488" y="4744"/>
                </a:lnTo>
                <a:lnTo>
                  <a:pt x="2418" y="4752"/>
                </a:lnTo>
                <a:lnTo>
                  <a:pt x="2348" y="4762"/>
                </a:lnTo>
                <a:lnTo>
                  <a:pt x="2279" y="4773"/>
                </a:lnTo>
                <a:lnTo>
                  <a:pt x="2210" y="4785"/>
                </a:lnTo>
                <a:lnTo>
                  <a:pt x="2142" y="4797"/>
                </a:lnTo>
                <a:lnTo>
                  <a:pt x="2074" y="4809"/>
                </a:lnTo>
                <a:lnTo>
                  <a:pt x="2007" y="4823"/>
                </a:lnTo>
                <a:lnTo>
                  <a:pt x="2007" y="4823"/>
                </a:lnTo>
                <a:lnTo>
                  <a:pt x="1990" y="4767"/>
                </a:lnTo>
                <a:lnTo>
                  <a:pt x="1974" y="4709"/>
                </a:lnTo>
                <a:lnTo>
                  <a:pt x="1958" y="4651"/>
                </a:lnTo>
                <a:lnTo>
                  <a:pt x="1944" y="4591"/>
                </a:lnTo>
                <a:lnTo>
                  <a:pt x="1929" y="4532"/>
                </a:lnTo>
                <a:lnTo>
                  <a:pt x="1916" y="4473"/>
                </a:lnTo>
                <a:lnTo>
                  <a:pt x="1903" y="4413"/>
                </a:lnTo>
                <a:lnTo>
                  <a:pt x="1891" y="4351"/>
                </a:lnTo>
                <a:lnTo>
                  <a:pt x="1880" y="4289"/>
                </a:lnTo>
                <a:lnTo>
                  <a:pt x="1869" y="4227"/>
                </a:lnTo>
                <a:lnTo>
                  <a:pt x="1858" y="4165"/>
                </a:lnTo>
                <a:lnTo>
                  <a:pt x="1848" y="4101"/>
                </a:lnTo>
                <a:lnTo>
                  <a:pt x="1840" y="4038"/>
                </a:lnTo>
                <a:lnTo>
                  <a:pt x="1831" y="3974"/>
                </a:lnTo>
                <a:lnTo>
                  <a:pt x="1824" y="3909"/>
                </a:lnTo>
                <a:lnTo>
                  <a:pt x="1818" y="3845"/>
                </a:lnTo>
                <a:lnTo>
                  <a:pt x="1818" y="3845"/>
                </a:lnTo>
                <a:lnTo>
                  <a:pt x="1840" y="3839"/>
                </a:lnTo>
                <a:lnTo>
                  <a:pt x="1862" y="3833"/>
                </a:lnTo>
                <a:lnTo>
                  <a:pt x="1883" y="3825"/>
                </a:lnTo>
                <a:lnTo>
                  <a:pt x="1904" y="3817"/>
                </a:lnTo>
                <a:lnTo>
                  <a:pt x="1924" y="3808"/>
                </a:lnTo>
                <a:lnTo>
                  <a:pt x="1945" y="3799"/>
                </a:lnTo>
                <a:lnTo>
                  <a:pt x="1966" y="3789"/>
                </a:lnTo>
                <a:lnTo>
                  <a:pt x="1985" y="3778"/>
                </a:lnTo>
                <a:lnTo>
                  <a:pt x="2004" y="3767"/>
                </a:lnTo>
                <a:lnTo>
                  <a:pt x="2022" y="3755"/>
                </a:lnTo>
                <a:lnTo>
                  <a:pt x="2041" y="3742"/>
                </a:lnTo>
                <a:lnTo>
                  <a:pt x="2059" y="3729"/>
                </a:lnTo>
                <a:lnTo>
                  <a:pt x="2076" y="3714"/>
                </a:lnTo>
                <a:lnTo>
                  <a:pt x="2093" y="3700"/>
                </a:lnTo>
                <a:lnTo>
                  <a:pt x="2108" y="3685"/>
                </a:lnTo>
                <a:lnTo>
                  <a:pt x="2124" y="3670"/>
                </a:lnTo>
                <a:lnTo>
                  <a:pt x="2140" y="3653"/>
                </a:lnTo>
                <a:lnTo>
                  <a:pt x="2154" y="3636"/>
                </a:lnTo>
                <a:lnTo>
                  <a:pt x="2168" y="3619"/>
                </a:lnTo>
                <a:lnTo>
                  <a:pt x="2181" y="3601"/>
                </a:lnTo>
                <a:lnTo>
                  <a:pt x="2194" y="3583"/>
                </a:lnTo>
                <a:lnTo>
                  <a:pt x="2205" y="3563"/>
                </a:lnTo>
                <a:lnTo>
                  <a:pt x="2217" y="3544"/>
                </a:lnTo>
                <a:lnTo>
                  <a:pt x="2228" y="3525"/>
                </a:lnTo>
                <a:lnTo>
                  <a:pt x="2238" y="3504"/>
                </a:lnTo>
                <a:lnTo>
                  <a:pt x="2246" y="3483"/>
                </a:lnTo>
                <a:lnTo>
                  <a:pt x="2255" y="3463"/>
                </a:lnTo>
                <a:lnTo>
                  <a:pt x="2263" y="3441"/>
                </a:lnTo>
                <a:lnTo>
                  <a:pt x="2269" y="3421"/>
                </a:lnTo>
                <a:lnTo>
                  <a:pt x="2275" y="3398"/>
                </a:lnTo>
                <a:lnTo>
                  <a:pt x="2281" y="3376"/>
                </a:lnTo>
                <a:lnTo>
                  <a:pt x="2286" y="3353"/>
                </a:lnTo>
                <a:lnTo>
                  <a:pt x="2286" y="3353"/>
                </a:lnTo>
                <a:close/>
                <a:moveTo>
                  <a:pt x="3135" y="4920"/>
                </a:moveTo>
                <a:lnTo>
                  <a:pt x="3135" y="6255"/>
                </a:lnTo>
                <a:lnTo>
                  <a:pt x="3135" y="6255"/>
                </a:lnTo>
                <a:lnTo>
                  <a:pt x="3104" y="6250"/>
                </a:lnTo>
                <a:lnTo>
                  <a:pt x="3072" y="6243"/>
                </a:lnTo>
                <a:lnTo>
                  <a:pt x="3041" y="6235"/>
                </a:lnTo>
                <a:lnTo>
                  <a:pt x="3011" y="6224"/>
                </a:lnTo>
                <a:lnTo>
                  <a:pt x="2979" y="6213"/>
                </a:lnTo>
                <a:lnTo>
                  <a:pt x="2949" y="6200"/>
                </a:lnTo>
                <a:lnTo>
                  <a:pt x="2919" y="6186"/>
                </a:lnTo>
                <a:lnTo>
                  <a:pt x="2889" y="6171"/>
                </a:lnTo>
                <a:lnTo>
                  <a:pt x="2858" y="6154"/>
                </a:lnTo>
                <a:lnTo>
                  <a:pt x="2828" y="6136"/>
                </a:lnTo>
                <a:lnTo>
                  <a:pt x="2799" y="6116"/>
                </a:lnTo>
                <a:lnTo>
                  <a:pt x="2769" y="6095"/>
                </a:lnTo>
                <a:lnTo>
                  <a:pt x="2740" y="6073"/>
                </a:lnTo>
                <a:lnTo>
                  <a:pt x="2711" y="6050"/>
                </a:lnTo>
                <a:lnTo>
                  <a:pt x="2682" y="6024"/>
                </a:lnTo>
                <a:lnTo>
                  <a:pt x="2654" y="5998"/>
                </a:lnTo>
                <a:lnTo>
                  <a:pt x="2625" y="5971"/>
                </a:lnTo>
                <a:lnTo>
                  <a:pt x="2597" y="5942"/>
                </a:lnTo>
                <a:lnTo>
                  <a:pt x="2569" y="5912"/>
                </a:lnTo>
                <a:lnTo>
                  <a:pt x="2541" y="5881"/>
                </a:lnTo>
                <a:lnTo>
                  <a:pt x="2515" y="5848"/>
                </a:lnTo>
                <a:lnTo>
                  <a:pt x="2487" y="5814"/>
                </a:lnTo>
                <a:lnTo>
                  <a:pt x="2460" y="5779"/>
                </a:lnTo>
                <a:lnTo>
                  <a:pt x="2435" y="5743"/>
                </a:lnTo>
                <a:lnTo>
                  <a:pt x="2408" y="5705"/>
                </a:lnTo>
                <a:lnTo>
                  <a:pt x="2383" y="5667"/>
                </a:lnTo>
                <a:lnTo>
                  <a:pt x="2358" y="5627"/>
                </a:lnTo>
                <a:lnTo>
                  <a:pt x="2332" y="5586"/>
                </a:lnTo>
                <a:lnTo>
                  <a:pt x="2308" y="5542"/>
                </a:lnTo>
                <a:lnTo>
                  <a:pt x="2284" y="5499"/>
                </a:lnTo>
                <a:lnTo>
                  <a:pt x="2260" y="5454"/>
                </a:lnTo>
                <a:lnTo>
                  <a:pt x="2235" y="5408"/>
                </a:lnTo>
                <a:lnTo>
                  <a:pt x="2235" y="5408"/>
                </a:lnTo>
                <a:lnTo>
                  <a:pt x="2214" y="5364"/>
                </a:lnTo>
                <a:lnTo>
                  <a:pt x="2193" y="5319"/>
                </a:lnTo>
                <a:lnTo>
                  <a:pt x="2172" y="5273"/>
                </a:lnTo>
                <a:lnTo>
                  <a:pt x="2152" y="5227"/>
                </a:lnTo>
                <a:lnTo>
                  <a:pt x="2133" y="5180"/>
                </a:lnTo>
                <a:lnTo>
                  <a:pt x="2113" y="5133"/>
                </a:lnTo>
                <a:lnTo>
                  <a:pt x="2077" y="5035"/>
                </a:lnTo>
                <a:lnTo>
                  <a:pt x="2077" y="5035"/>
                </a:lnTo>
                <a:lnTo>
                  <a:pt x="2139" y="5023"/>
                </a:lnTo>
                <a:lnTo>
                  <a:pt x="2203" y="5011"/>
                </a:lnTo>
                <a:lnTo>
                  <a:pt x="2267" y="5000"/>
                </a:lnTo>
                <a:lnTo>
                  <a:pt x="2331" y="4989"/>
                </a:lnTo>
                <a:lnTo>
                  <a:pt x="2396" y="4979"/>
                </a:lnTo>
                <a:lnTo>
                  <a:pt x="2462" y="4971"/>
                </a:lnTo>
                <a:lnTo>
                  <a:pt x="2527" y="4962"/>
                </a:lnTo>
                <a:lnTo>
                  <a:pt x="2593" y="4954"/>
                </a:lnTo>
                <a:lnTo>
                  <a:pt x="2660" y="4948"/>
                </a:lnTo>
                <a:lnTo>
                  <a:pt x="2726" y="4942"/>
                </a:lnTo>
                <a:lnTo>
                  <a:pt x="2794" y="4936"/>
                </a:lnTo>
                <a:lnTo>
                  <a:pt x="2862" y="4931"/>
                </a:lnTo>
                <a:lnTo>
                  <a:pt x="2930" y="4927"/>
                </a:lnTo>
                <a:lnTo>
                  <a:pt x="2997" y="4925"/>
                </a:lnTo>
                <a:lnTo>
                  <a:pt x="3066" y="4922"/>
                </a:lnTo>
                <a:lnTo>
                  <a:pt x="3135" y="4920"/>
                </a:lnTo>
                <a:lnTo>
                  <a:pt x="3135" y="4920"/>
                </a:lnTo>
                <a:close/>
                <a:moveTo>
                  <a:pt x="3355" y="6255"/>
                </a:moveTo>
                <a:lnTo>
                  <a:pt x="3355" y="4920"/>
                </a:lnTo>
                <a:lnTo>
                  <a:pt x="3355" y="4920"/>
                </a:lnTo>
                <a:lnTo>
                  <a:pt x="3430" y="4922"/>
                </a:lnTo>
                <a:lnTo>
                  <a:pt x="3504" y="4925"/>
                </a:lnTo>
                <a:lnTo>
                  <a:pt x="3577" y="4929"/>
                </a:lnTo>
                <a:lnTo>
                  <a:pt x="3651" y="4933"/>
                </a:lnTo>
                <a:lnTo>
                  <a:pt x="3723" y="4938"/>
                </a:lnTo>
                <a:lnTo>
                  <a:pt x="3796" y="4944"/>
                </a:lnTo>
                <a:lnTo>
                  <a:pt x="3868" y="4951"/>
                </a:lnTo>
                <a:lnTo>
                  <a:pt x="3940" y="4959"/>
                </a:lnTo>
                <a:lnTo>
                  <a:pt x="3940" y="4959"/>
                </a:lnTo>
                <a:lnTo>
                  <a:pt x="3941" y="4999"/>
                </a:lnTo>
                <a:lnTo>
                  <a:pt x="3946" y="5038"/>
                </a:lnTo>
                <a:lnTo>
                  <a:pt x="3952" y="5077"/>
                </a:lnTo>
                <a:lnTo>
                  <a:pt x="3961" y="5115"/>
                </a:lnTo>
                <a:lnTo>
                  <a:pt x="3972" y="5151"/>
                </a:lnTo>
                <a:lnTo>
                  <a:pt x="3986" y="5187"/>
                </a:lnTo>
                <a:lnTo>
                  <a:pt x="4001" y="5221"/>
                </a:lnTo>
                <a:lnTo>
                  <a:pt x="4018" y="5255"/>
                </a:lnTo>
                <a:lnTo>
                  <a:pt x="4038" y="5287"/>
                </a:lnTo>
                <a:lnTo>
                  <a:pt x="4059" y="5318"/>
                </a:lnTo>
                <a:lnTo>
                  <a:pt x="4082" y="5348"/>
                </a:lnTo>
                <a:lnTo>
                  <a:pt x="4108" y="5376"/>
                </a:lnTo>
                <a:lnTo>
                  <a:pt x="4134" y="5402"/>
                </a:lnTo>
                <a:lnTo>
                  <a:pt x="4162" y="5426"/>
                </a:lnTo>
                <a:lnTo>
                  <a:pt x="4191" y="5449"/>
                </a:lnTo>
                <a:lnTo>
                  <a:pt x="4223" y="5471"/>
                </a:lnTo>
                <a:lnTo>
                  <a:pt x="4223" y="5471"/>
                </a:lnTo>
                <a:lnTo>
                  <a:pt x="4200" y="5513"/>
                </a:lnTo>
                <a:lnTo>
                  <a:pt x="4177" y="5556"/>
                </a:lnTo>
                <a:lnTo>
                  <a:pt x="4153" y="5596"/>
                </a:lnTo>
                <a:lnTo>
                  <a:pt x="4128" y="5634"/>
                </a:lnTo>
                <a:lnTo>
                  <a:pt x="4104" y="5673"/>
                </a:lnTo>
                <a:lnTo>
                  <a:pt x="4080" y="5710"/>
                </a:lnTo>
                <a:lnTo>
                  <a:pt x="4055" y="5745"/>
                </a:lnTo>
                <a:lnTo>
                  <a:pt x="4029" y="5780"/>
                </a:lnTo>
                <a:lnTo>
                  <a:pt x="4004" y="5814"/>
                </a:lnTo>
                <a:lnTo>
                  <a:pt x="3978" y="5847"/>
                </a:lnTo>
                <a:lnTo>
                  <a:pt x="3952" y="5878"/>
                </a:lnTo>
                <a:lnTo>
                  <a:pt x="3925" y="5907"/>
                </a:lnTo>
                <a:lnTo>
                  <a:pt x="3899" y="5936"/>
                </a:lnTo>
                <a:lnTo>
                  <a:pt x="3872" y="5964"/>
                </a:lnTo>
                <a:lnTo>
                  <a:pt x="3845" y="5991"/>
                </a:lnTo>
                <a:lnTo>
                  <a:pt x="3818" y="6016"/>
                </a:lnTo>
                <a:lnTo>
                  <a:pt x="3791" y="6040"/>
                </a:lnTo>
                <a:lnTo>
                  <a:pt x="3763" y="6064"/>
                </a:lnTo>
                <a:lnTo>
                  <a:pt x="3735" y="6086"/>
                </a:lnTo>
                <a:lnTo>
                  <a:pt x="3706" y="6107"/>
                </a:lnTo>
                <a:lnTo>
                  <a:pt x="3678" y="6126"/>
                </a:lnTo>
                <a:lnTo>
                  <a:pt x="3649" y="6144"/>
                </a:lnTo>
                <a:lnTo>
                  <a:pt x="3620" y="6161"/>
                </a:lnTo>
                <a:lnTo>
                  <a:pt x="3593" y="6175"/>
                </a:lnTo>
                <a:lnTo>
                  <a:pt x="3564" y="6190"/>
                </a:lnTo>
                <a:lnTo>
                  <a:pt x="3534" y="6203"/>
                </a:lnTo>
                <a:lnTo>
                  <a:pt x="3504" y="6215"/>
                </a:lnTo>
                <a:lnTo>
                  <a:pt x="3475" y="6226"/>
                </a:lnTo>
                <a:lnTo>
                  <a:pt x="3445" y="6236"/>
                </a:lnTo>
                <a:lnTo>
                  <a:pt x="3416" y="6243"/>
                </a:lnTo>
                <a:lnTo>
                  <a:pt x="3386" y="6250"/>
                </a:lnTo>
                <a:lnTo>
                  <a:pt x="3355" y="6255"/>
                </a:lnTo>
                <a:lnTo>
                  <a:pt x="3355" y="6255"/>
                </a:lnTo>
                <a:close/>
                <a:moveTo>
                  <a:pt x="4161" y="4953"/>
                </a:moveTo>
                <a:lnTo>
                  <a:pt x="4161" y="4953"/>
                </a:lnTo>
                <a:lnTo>
                  <a:pt x="4161" y="4932"/>
                </a:lnTo>
                <a:lnTo>
                  <a:pt x="4162" y="4912"/>
                </a:lnTo>
                <a:lnTo>
                  <a:pt x="4165" y="4892"/>
                </a:lnTo>
                <a:lnTo>
                  <a:pt x="4168" y="4873"/>
                </a:lnTo>
                <a:lnTo>
                  <a:pt x="4173" y="4854"/>
                </a:lnTo>
                <a:lnTo>
                  <a:pt x="4178" y="4834"/>
                </a:lnTo>
                <a:lnTo>
                  <a:pt x="4184" y="4816"/>
                </a:lnTo>
                <a:lnTo>
                  <a:pt x="4191" y="4798"/>
                </a:lnTo>
                <a:lnTo>
                  <a:pt x="4200" y="4781"/>
                </a:lnTo>
                <a:lnTo>
                  <a:pt x="4208" y="4763"/>
                </a:lnTo>
                <a:lnTo>
                  <a:pt x="4218" y="4747"/>
                </a:lnTo>
                <a:lnTo>
                  <a:pt x="4229" y="4730"/>
                </a:lnTo>
                <a:lnTo>
                  <a:pt x="4240" y="4715"/>
                </a:lnTo>
                <a:lnTo>
                  <a:pt x="4252" y="4700"/>
                </a:lnTo>
                <a:lnTo>
                  <a:pt x="4264" y="4686"/>
                </a:lnTo>
                <a:lnTo>
                  <a:pt x="4277" y="4672"/>
                </a:lnTo>
                <a:lnTo>
                  <a:pt x="4291" y="4659"/>
                </a:lnTo>
                <a:lnTo>
                  <a:pt x="4305" y="4647"/>
                </a:lnTo>
                <a:lnTo>
                  <a:pt x="4320" y="4635"/>
                </a:lnTo>
                <a:lnTo>
                  <a:pt x="4335" y="4624"/>
                </a:lnTo>
                <a:lnTo>
                  <a:pt x="4352" y="4613"/>
                </a:lnTo>
                <a:lnTo>
                  <a:pt x="4368" y="4604"/>
                </a:lnTo>
                <a:lnTo>
                  <a:pt x="4385" y="4595"/>
                </a:lnTo>
                <a:lnTo>
                  <a:pt x="4403" y="4587"/>
                </a:lnTo>
                <a:lnTo>
                  <a:pt x="4421" y="4581"/>
                </a:lnTo>
                <a:lnTo>
                  <a:pt x="4439" y="4573"/>
                </a:lnTo>
                <a:lnTo>
                  <a:pt x="4459" y="4568"/>
                </a:lnTo>
                <a:lnTo>
                  <a:pt x="4478" y="4564"/>
                </a:lnTo>
                <a:lnTo>
                  <a:pt x="4497" y="4560"/>
                </a:lnTo>
                <a:lnTo>
                  <a:pt x="4517" y="4558"/>
                </a:lnTo>
                <a:lnTo>
                  <a:pt x="4537" y="4556"/>
                </a:lnTo>
                <a:lnTo>
                  <a:pt x="4558" y="4556"/>
                </a:lnTo>
                <a:lnTo>
                  <a:pt x="4558" y="4556"/>
                </a:lnTo>
                <a:lnTo>
                  <a:pt x="4577" y="4556"/>
                </a:lnTo>
                <a:lnTo>
                  <a:pt x="4598" y="4558"/>
                </a:lnTo>
                <a:lnTo>
                  <a:pt x="4617" y="4560"/>
                </a:lnTo>
                <a:lnTo>
                  <a:pt x="4638" y="4564"/>
                </a:lnTo>
                <a:lnTo>
                  <a:pt x="4656" y="4568"/>
                </a:lnTo>
                <a:lnTo>
                  <a:pt x="4675" y="4573"/>
                </a:lnTo>
                <a:lnTo>
                  <a:pt x="4693" y="4581"/>
                </a:lnTo>
                <a:lnTo>
                  <a:pt x="4711" y="4587"/>
                </a:lnTo>
                <a:lnTo>
                  <a:pt x="4730" y="4595"/>
                </a:lnTo>
                <a:lnTo>
                  <a:pt x="4747" y="4604"/>
                </a:lnTo>
                <a:lnTo>
                  <a:pt x="4762" y="4613"/>
                </a:lnTo>
                <a:lnTo>
                  <a:pt x="4779" y="4624"/>
                </a:lnTo>
                <a:lnTo>
                  <a:pt x="4795" y="4635"/>
                </a:lnTo>
                <a:lnTo>
                  <a:pt x="4809" y="4647"/>
                </a:lnTo>
                <a:lnTo>
                  <a:pt x="4824" y="4659"/>
                </a:lnTo>
                <a:lnTo>
                  <a:pt x="4837" y="4672"/>
                </a:lnTo>
                <a:lnTo>
                  <a:pt x="4851" y="4686"/>
                </a:lnTo>
                <a:lnTo>
                  <a:pt x="4863" y="4700"/>
                </a:lnTo>
                <a:lnTo>
                  <a:pt x="4875" y="4715"/>
                </a:lnTo>
                <a:lnTo>
                  <a:pt x="4886" y="4730"/>
                </a:lnTo>
                <a:lnTo>
                  <a:pt x="4897" y="4747"/>
                </a:lnTo>
                <a:lnTo>
                  <a:pt x="4906" y="4763"/>
                </a:lnTo>
                <a:lnTo>
                  <a:pt x="4915" y="4781"/>
                </a:lnTo>
                <a:lnTo>
                  <a:pt x="4923" y="4798"/>
                </a:lnTo>
                <a:lnTo>
                  <a:pt x="4930" y="4816"/>
                </a:lnTo>
                <a:lnTo>
                  <a:pt x="4936" y="4834"/>
                </a:lnTo>
                <a:lnTo>
                  <a:pt x="4941" y="4854"/>
                </a:lnTo>
                <a:lnTo>
                  <a:pt x="4946" y="4873"/>
                </a:lnTo>
                <a:lnTo>
                  <a:pt x="4950" y="4892"/>
                </a:lnTo>
                <a:lnTo>
                  <a:pt x="4952" y="4912"/>
                </a:lnTo>
                <a:lnTo>
                  <a:pt x="4953" y="4932"/>
                </a:lnTo>
                <a:lnTo>
                  <a:pt x="4953" y="4953"/>
                </a:lnTo>
                <a:lnTo>
                  <a:pt x="4953" y="4953"/>
                </a:lnTo>
                <a:lnTo>
                  <a:pt x="4953" y="4972"/>
                </a:lnTo>
                <a:lnTo>
                  <a:pt x="4952" y="4993"/>
                </a:lnTo>
                <a:lnTo>
                  <a:pt x="4950" y="5012"/>
                </a:lnTo>
                <a:lnTo>
                  <a:pt x="4946" y="5032"/>
                </a:lnTo>
                <a:lnTo>
                  <a:pt x="4941" y="5051"/>
                </a:lnTo>
                <a:lnTo>
                  <a:pt x="4936" y="5070"/>
                </a:lnTo>
                <a:lnTo>
                  <a:pt x="4930" y="5088"/>
                </a:lnTo>
                <a:lnTo>
                  <a:pt x="4923" y="5106"/>
                </a:lnTo>
                <a:lnTo>
                  <a:pt x="4915" y="5124"/>
                </a:lnTo>
                <a:lnTo>
                  <a:pt x="4906" y="5141"/>
                </a:lnTo>
                <a:lnTo>
                  <a:pt x="4897" y="5158"/>
                </a:lnTo>
                <a:lnTo>
                  <a:pt x="4886" y="5174"/>
                </a:lnTo>
                <a:lnTo>
                  <a:pt x="4875" y="5190"/>
                </a:lnTo>
                <a:lnTo>
                  <a:pt x="4863" y="5204"/>
                </a:lnTo>
                <a:lnTo>
                  <a:pt x="4851" y="5219"/>
                </a:lnTo>
                <a:lnTo>
                  <a:pt x="4837" y="5232"/>
                </a:lnTo>
                <a:lnTo>
                  <a:pt x="4824" y="5245"/>
                </a:lnTo>
                <a:lnTo>
                  <a:pt x="4809" y="5258"/>
                </a:lnTo>
                <a:lnTo>
                  <a:pt x="4795" y="5269"/>
                </a:lnTo>
                <a:lnTo>
                  <a:pt x="4779" y="5281"/>
                </a:lnTo>
                <a:lnTo>
                  <a:pt x="4762" y="5291"/>
                </a:lnTo>
                <a:lnTo>
                  <a:pt x="4747" y="5301"/>
                </a:lnTo>
                <a:lnTo>
                  <a:pt x="4730" y="5309"/>
                </a:lnTo>
                <a:lnTo>
                  <a:pt x="4711" y="5318"/>
                </a:lnTo>
                <a:lnTo>
                  <a:pt x="4693" y="5325"/>
                </a:lnTo>
                <a:lnTo>
                  <a:pt x="4675" y="5331"/>
                </a:lnTo>
                <a:lnTo>
                  <a:pt x="4656" y="5336"/>
                </a:lnTo>
                <a:lnTo>
                  <a:pt x="4638" y="5341"/>
                </a:lnTo>
                <a:lnTo>
                  <a:pt x="4617" y="5344"/>
                </a:lnTo>
                <a:lnTo>
                  <a:pt x="4598" y="5347"/>
                </a:lnTo>
                <a:lnTo>
                  <a:pt x="4577" y="5348"/>
                </a:lnTo>
                <a:lnTo>
                  <a:pt x="4558" y="5349"/>
                </a:lnTo>
                <a:lnTo>
                  <a:pt x="4558" y="5349"/>
                </a:lnTo>
                <a:lnTo>
                  <a:pt x="4537" y="5348"/>
                </a:lnTo>
                <a:lnTo>
                  <a:pt x="4517" y="5347"/>
                </a:lnTo>
                <a:lnTo>
                  <a:pt x="4497" y="5344"/>
                </a:lnTo>
                <a:lnTo>
                  <a:pt x="4478" y="5341"/>
                </a:lnTo>
                <a:lnTo>
                  <a:pt x="4459" y="5336"/>
                </a:lnTo>
                <a:lnTo>
                  <a:pt x="4439" y="5331"/>
                </a:lnTo>
                <a:lnTo>
                  <a:pt x="4421" y="5325"/>
                </a:lnTo>
                <a:lnTo>
                  <a:pt x="4403" y="5318"/>
                </a:lnTo>
                <a:lnTo>
                  <a:pt x="4385" y="5309"/>
                </a:lnTo>
                <a:lnTo>
                  <a:pt x="4368" y="5301"/>
                </a:lnTo>
                <a:lnTo>
                  <a:pt x="4352" y="5291"/>
                </a:lnTo>
                <a:lnTo>
                  <a:pt x="4335" y="5281"/>
                </a:lnTo>
                <a:lnTo>
                  <a:pt x="4320" y="5269"/>
                </a:lnTo>
                <a:lnTo>
                  <a:pt x="4305" y="5258"/>
                </a:lnTo>
                <a:lnTo>
                  <a:pt x="4291" y="5245"/>
                </a:lnTo>
                <a:lnTo>
                  <a:pt x="4277" y="5232"/>
                </a:lnTo>
                <a:lnTo>
                  <a:pt x="4264" y="5219"/>
                </a:lnTo>
                <a:lnTo>
                  <a:pt x="4252" y="5204"/>
                </a:lnTo>
                <a:lnTo>
                  <a:pt x="4240" y="5190"/>
                </a:lnTo>
                <a:lnTo>
                  <a:pt x="4229" y="5174"/>
                </a:lnTo>
                <a:lnTo>
                  <a:pt x="4218" y="5158"/>
                </a:lnTo>
                <a:lnTo>
                  <a:pt x="4208" y="5141"/>
                </a:lnTo>
                <a:lnTo>
                  <a:pt x="4200" y="5124"/>
                </a:lnTo>
                <a:lnTo>
                  <a:pt x="4191" y="5106"/>
                </a:lnTo>
                <a:lnTo>
                  <a:pt x="4184" y="5088"/>
                </a:lnTo>
                <a:lnTo>
                  <a:pt x="4178" y="5070"/>
                </a:lnTo>
                <a:lnTo>
                  <a:pt x="4173" y="5051"/>
                </a:lnTo>
                <a:lnTo>
                  <a:pt x="4168" y="5032"/>
                </a:lnTo>
                <a:lnTo>
                  <a:pt x="4165" y="5012"/>
                </a:lnTo>
                <a:lnTo>
                  <a:pt x="4162" y="4993"/>
                </a:lnTo>
                <a:lnTo>
                  <a:pt x="4161" y="4972"/>
                </a:lnTo>
                <a:lnTo>
                  <a:pt x="4161" y="4953"/>
                </a:lnTo>
                <a:lnTo>
                  <a:pt x="4161" y="4953"/>
                </a:lnTo>
                <a:close/>
                <a:moveTo>
                  <a:pt x="4603" y="4336"/>
                </a:moveTo>
                <a:lnTo>
                  <a:pt x="4603" y="4336"/>
                </a:lnTo>
                <a:lnTo>
                  <a:pt x="4580" y="4335"/>
                </a:lnTo>
                <a:lnTo>
                  <a:pt x="4558" y="4335"/>
                </a:lnTo>
                <a:lnTo>
                  <a:pt x="4558" y="4335"/>
                </a:lnTo>
                <a:lnTo>
                  <a:pt x="4532" y="4335"/>
                </a:lnTo>
                <a:lnTo>
                  <a:pt x="4508" y="4336"/>
                </a:lnTo>
                <a:lnTo>
                  <a:pt x="4484" y="4339"/>
                </a:lnTo>
                <a:lnTo>
                  <a:pt x="4460" y="4343"/>
                </a:lnTo>
                <a:lnTo>
                  <a:pt x="4436" y="4347"/>
                </a:lnTo>
                <a:lnTo>
                  <a:pt x="4413" y="4352"/>
                </a:lnTo>
                <a:lnTo>
                  <a:pt x="4390" y="4358"/>
                </a:lnTo>
                <a:lnTo>
                  <a:pt x="4367" y="4365"/>
                </a:lnTo>
                <a:lnTo>
                  <a:pt x="4344" y="4373"/>
                </a:lnTo>
                <a:lnTo>
                  <a:pt x="4322" y="4381"/>
                </a:lnTo>
                <a:lnTo>
                  <a:pt x="4300" y="4391"/>
                </a:lnTo>
                <a:lnTo>
                  <a:pt x="4280" y="4401"/>
                </a:lnTo>
                <a:lnTo>
                  <a:pt x="4259" y="4411"/>
                </a:lnTo>
                <a:lnTo>
                  <a:pt x="4238" y="4423"/>
                </a:lnTo>
                <a:lnTo>
                  <a:pt x="4219" y="4436"/>
                </a:lnTo>
                <a:lnTo>
                  <a:pt x="4200" y="4449"/>
                </a:lnTo>
                <a:lnTo>
                  <a:pt x="4180" y="4463"/>
                </a:lnTo>
                <a:lnTo>
                  <a:pt x="4162" y="4478"/>
                </a:lnTo>
                <a:lnTo>
                  <a:pt x="4145" y="4492"/>
                </a:lnTo>
                <a:lnTo>
                  <a:pt x="4128" y="4508"/>
                </a:lnTo>
                <a:lnTo>
                  <a:pt x="4111" y="4525"/>
                </a:lnTo>
                <a:lnTo>
                  <a:pt x="4096" y="4542"/>
                </a:lnTo>
                <a:lnTo>
                  <a:pt x="4081" y="4559"/>
                </a:lnTo>
                <a:lnTo>
                  <a:pt x="4067" y="4577"/>
                </a:lnTo>
                <a:lnTo>
                  <a:pt x="4052" y="4596"/>
                </a:lnTo>
                <a:lnTo>
                  <a:pt x="4040" y="4616"/>
                </a:lnTo>
                <a:lnTo>
                  <a:pt x="4027" y="4635"/>
                </a:lnTo>
                <a:lnTo>
                  <a:pt x="4016" y="4655"/>
                </a:lnTo>
                <a:lnTo>
                  <a:pt x="4005" y="4676"/>
                </a:lnTo>
                <a:lnTo>
                  <a:pt x="3994" y="4697"/>
                </a:lnTo>
                <a:lnTo>
                  <a:pt x="3986" y="4718"/>
                </a:lnTo>
                <a:lnTo>
                  <a:pt x="3977" y="4740"/>
                </a:lnTo>
                <a:lnTo>
                  <a:pt x="3977" y="4740"/>
                </a:lnTo>
                <a:lnTo>
                  <a:pt x="3901" y="4732"/>
                </a:lnTo>
                <a:lnTo>
                  <a:pt x="3824" y="4724"/>
                </a:lnTo>
                <a:lnTo>
                  <a:pt x="3747" y="4718"/>
                </a:lnTo>
                <a:lnTo>
                  <a:pt x="3670" y="4712"/>
                </a:lnTo>
                <a:lnTo>
                  <a:pt x="3591" y="4707"/>
                </a:lnTo>
                <a:lnTo>
                  <a:pt x="3514" y="4704"/>
                </a:lnTo>
                <a:lnTo>
                  <a:pt x="3435" y="4701"/>
                </a:lnTo>
                <a:lnTo>
                  <a:pt x="3355" y="4699"/>
                </a:lnTo>
                <a:lnTo>
                  <a:pt x="3355" y="3353"/>
                </a:lnTo>
                <a:lnTo>
                  <a:pt x="4702" y="3353"/>
                </a:lnTo>
                <a:lnTo>
                  <a:pt x="4702" y="3353"/>
                </a:lnTo>
                <a:lnTo>
                  <a:pt x="4698" y="3481"/>
                </a:lnTo>
                <a:lnTo>
                  <a:pt x="4692" y="3608"/>
                </a:lnTo>
                <a:lnTo>
                  <a:pt x="4684" y="3732"/>
                </a:lnTo>
                <a:lnTo>
                  <a:pt x="4672" y="3857"/>
                </a:lnTo>
                <a:lnTo>
                  <a:pt x="4658" y="3979"/>
                </a:lnTo>
                <a:lnTo>
                  <a:pt x="4642" y="4100"/>
                </a:lnTo>
                <a:lnTo>
                  <a:pt x="4624" y="4219"/>
                </a:lnTo>
                <a:lnTo>
                  <a:pt x="4603" y="4336"/>
                </a:lnTo>
                <a:lnTo>
                  <a:pt x="4603" y="4336"/>
                </a:lnTo>
                <a:close/>
                <a:moveTo>
                  <a:pt x="3355" y="3132"/>
                </a:moveTo>
                <a:lnTo>
                  <a:pt x="3355" y="2285"/>
                </a:lnTo>
                <a:lnTo>
                  <a:pt x="3355" y="2285"/>
                </a:lnTo>
                <a:lnTo>
                  <a:pt x="3381" y="2279"/>
                </a:lnTo>
                <a:lnTo>
                  <a:pt x="3404" y="2274"/>
                </a:lnTo>
                <a:lnTo>
                  <a:pt x="3428" y="2267"/>
                </a:lnTo>
                <a:lnTo>
                  <a:pt x="3451" y="2259"/>
                </a:lnTo>
                <a:lnTo>
                  <a:pt x="3474" y="2250"/>
                </a:lnTo>
                <a:lnTo>
                  <a:pt x="3497" y="2241"/>
                </a:lnTo>
                <a:lnTo>
                  <a:pt x="3519" y="2230"/>
                </a:lnTo>
                <a:lnTo>
                  <a:pt x="3541" y="2220"/>
                </a:lnTo>
                <a:lnTo>
                  <a:pt x="3561" y="2208"/>
                </a:lnTo>
                <a:lnTo>
                  <a:pt x="3582" y="2194"/>
                </a:lnTo>
                <a:lnTo>
                  <a:pt x="3601" y="2181"/>
                </a:lnTo>
                <a:lnTo>
                  <a:pt x="3620" y="2168"/>
                </a:lnTo>
                <a:lnTo>
                  <a:pt x="3640" y="2152"/>
                </a:lnTo>
                <a:lnTo>
                  <a:pt x="3658" y="2136"/>
                </a:lnTo>
                <a:lnTo>
                  <a:pt x="3675" y="2121"/>
                </a:lnTo>
                <a:lnTo>
                  <a:pt x="3692" y="2104"/>
                </a:lnTo>
                <a:lnTo>
                  <a:pt x="3709" y="2085"/>
                </a:lnTo>
                <a:lnTo>
                  <a:pt x="3724" y="2067"/>
                </a:lnTo>
                <a:lnTo>
                  <a:pt x="3739" y="2048"/>
                </a:lnTo>
                <a:lnTo>
                  <a:pt x="3753" y="2029"/>
                </a:lnTo>
                <a:lnTo>
                  <a:pt x="3767" y="2009"/>
                </a:lnTo>
                <a:lnTo>
                  <a:pt x="3779" y="1989"/>
                </a:lnTo>
                <a:lnTo>
                  <a:pt x="3791" y="1967"/>
                </a:lnTo>
                <a:lnTo>
                  <a:pt x="3802" y="1945"/>
                </a:lnTo>
                <a:lnTo>
                  <a:pt x="3811" y="1924"/>
                </a:lnTo>
                <a:lnTo>
                  <a:pt x="3821" y="1902"/>
                </a:lnTo>
                <a:lnTo>
                  <a:pt x="3830" y="1879"/>
                </a:lnTo>
                <a:lnTo>
                  <a:pt x="3837" y="1855"/>
                </a:lnTo>
                <a:lnTo>
                  <a:pt x="3844" y="1832"/>
                </a:lnTo>
                <a:lnTo>
                  <a:pt x="3850" y="1808"/>
                </a:lnTo>
                <a:lnTo>
                  <a:pt x="3855" y="1783"/>
                </a:lnTo>
                <a:lnTo>
                  <a:pt x="3859" y="1758"/>
                </a:lnTo>
                <a:lnTo>
                  <a:pt x="3859" y="1758"/>
                </a:lnTo>
                <a:lnTo>
                  <a:pt x="3939" y="1750"/>
                </a:lnTo>
                <a:lnTo>
                  <a:pt x="4018" y="1741"/>
                </a:lnTo>
                <a:lnTo>
                  <a:pt x="4097" y="1730"/>
                </a:lnTo>
                <a:lnTo>
                  <a:pt x="4176" y="1719"/>
                </a:lnTo>
                <a:lnTo>
                  <a:pt x="4254" y="1706"/>
                </a:lnTo>
                <a:lnTo>
                  <a:pt x="4332" y="1693"/>
                </a:lnTo>
                <a:lnTo>
                  <a:pt x="4408" y="1678"/>
                </a:lnTo>
                <a:lnTo>
                  <a:pt x="4484" y="1663"/>
                </a:lnTo>
                <a:lnTo>
                  <a:pt x="4484" y="1663"/>
                </a:lnTo>
                <a:lnTo>
                  <a:pt x="4508" y="1746"/>
                </a:lnTo>
                <a:lnTo>
                  <a:pt x="4531" y="1831"/>
                </a:lnTo>
                <a:lnTo>
                  <a:pt x="4553" y="1918"/>
                </a:lnTo>
                <a:lnTo>
                  <a:pt x="4574" y="2005"/>
                </a:lnTo>
                <a:lnTo>
                  <a:pt x="4592" y="2093"/>
                </a:lnTo>
                <a:lnTo>
                  <a:pt x="4609" y="2182"/>
                </a:lnTo>
                <a:lnTo>
                  <a:pt x="4626" y="2274"/>
                </a:lnTo>
                <a:lnTo>
                  <a:pt x="4639" y="2366"/>
                </a:lnTo>
                <a:lnTo>
                  <a:pt x="4652" y="2459"/>
                </a:lnTo>
                <a:lnTo>
                  <a:pt x="4664" y="2552"/>
                </a:lnTo>
                <a:lnTo>
                  <a:pt x="4674" y="2647"/>
                </a:lnTo>
                <a:lnTo>
                  <a:pt x="4682" y="2743"/>
                </a:lnTo>
                <a:lnTo>
                  <a:pt x="4690" y="2839"/>
                </a:lnTo>
                <a:lnTo>
                  <a:pt x="4695" y="2936"/>
                </a:lnTo>
                <a:lnTo>
                  <a:pt x="4699" y="3034"/>
                </a:lnTo>
                <a:lnTo>
                  <a:pt x="4702" y="3132"/>
                </a:lnTo>
                <a:lnTo>
                  <a:pt x="3355" y="3132"/>
                </a:lnTo>
                <a:close/>
                <a:moveTo>
                  <a:pt x="5401" y="1125"/>
                </a:moveTo>
                <a:lnTo>
                  <a:pt x="5401" y="1125"/>
                </a:lnTo>
                <a:lnTo>
                  <a:pt x="5359" y="1147"/>
                </a:lnTo>
                <a:lnTo>
                  <a:pt x="5314" y="1167"/>
                </a:lnTo>
                <a:lnTo>
                  <a:pt x="5224" y="1206"/>
                </a:lnTo>
                <a:lnTo>
                  <a:pt x="5132" y="1243"/>
                </a:lnTo>
                <a:lnTo>
                  <a:pt x="5037" y="1280"/>
                </a:lnTo>
                <a:lnTo>
                  <a:pt x="4939" y="1312"/>
                </a:lnTo>
                <a:lnTo>
                  <a:pt x="4838" y="1345"/>
                </a:lnTo>
                <a:lnTo>
                  <a:pt x="4737" y="1374"/>
                </a:lnTo>
                <a:lnTo>
                  <a:pt x="4632" y="1402"/>
                </a:lnTo>
                <a:lnTo>
                  <a:pt x="4632" y="1402"/>
                </a:lnTo>
                <a:lnTo>
                  <a:pt x="4611" y="1346"/>
                </a:lnTo>
                <a:lnTo>
                  <a:pt x="4590" y="1292"/>
                </a:lnTo>
                <a:lnTo>
                  <a:pt x="4569" y="1237"/>
                </a:lnTo>
                <a:lnTo>
                  <a:pt x="4547" y="1184"/>
                </a:lnTo>
                <a:lnTo>
                  <a:pt x="4525" y="1131"/>
                </a:lnTo>
                <a:lnTo>
                  <a:pt x="4501" y="1080"/>
                </a:lnTo>
                <a:lnTo>
                  <a:pt x="4478" y="1028"/>
                </a:lnTo>
                <a:lnTo>
                  <a:pt x="4453" y="979"/>
                </a:lnTo>
                <a:lnTo>
                  <a:pt x="4453" y="979"/>
                </a:lnTo>
                <a:lnTo>
                  <a:pt x="4426" y="927"/>
                </a:lnTo>
                <a:lnTo>
                  <a:pt x="4399" y="876"/>
                </a:lnTo>
                <a:lnTo>
                  <a:pt x="4372" y="826"/>
                </a:lnTo>
                <a:lnTo>
                  <a:pt x="4344" y="779"/>
                </a:lnTo>
                <a:lnTo>
                  <a:pt x="4315" y="732"/>
                </a:lnTo>
                <a:lnTo>
                  <a:pt x="4286" y="688"/>
                </a:lnTo>
                <a:lnTo>
                  <a:pt x="4257" y="643"/>
                </a:lnTo>
                <a:lnTo>
                  <a:pt x="4226" y="601"/>
                </a:lnTo>
                <a:lnTo>
                  <a:pt x="4195" y="559"/>
                </a:lnTo>
                <a:lnTo>
                  <a:pt x="4165" y="520"/>
                </a:lnTo>
                <a:lnTo>
                  <a:pt x="4133" y="481"/>
                </a:lnTo>
                <a:lnTo>
                  <a:pt x="4101" y="443"/>
                </a:lnTo>
                <a:lnTo>
                  <a:pt x="4068" y="407"/>
                </a:lnTo>
                <a:lnTo>
                  <a:pt x="4035" y="373"/>
                </a:lnTo>
                <a:lnTo>
                  <a:pt x="4001" y="341"/>
                </a:lnTo>
                <a:lnTo>
                  <a:pt x="3968" y="308"/>
                </a:lnTo>
                <a:lnTo>
                  <a:pt x="3968" y="308"/>
                </a:lnTo>
                <a:lnTo>
                  <a:pt x="4020" y="321"/>
                </a:lnTo>
                <a:lnTo>
                  <a:pt x="4072" y="336"/>
                </a:lnTo>
                <a:lnTo>
                  <a:pt x="4122" y="350"/>
                </a:lnTo>
                <a:lnTo>
                  <a:pt x="4172" y="366"/>
                </a:lnTo>
                <a:lnTo>
                  <a:pt x="4223" y="383"/>
                </a:lnTo>
                <a:lnTo>
                  <a:pt x="4272" y="401"/>
                </a:lnTo>
                <a:lnTo>
                  <a:pt x="4322" y="419"/>
                </a:lnTo>
                <a:lnTo>
                  <a:pt x="4370" y="439"/>
                </a:lnTo>
                <a:lnTo>
                  <a:pt x="4420" y="458"/>
                </a:lnTo>
                <a:lnTo>
                  <a:pt x="4467" y="480"/>
                </a:lnTo>
                <a:lnTo>
                  <a:pt x="4515" y="500"/>
                </a:lnTo>
                <a:lnTo>
                  <a:pt x="4563" y="523"/>
                </a:lnTo>
                <a:lnTo>
                  <a:pt x="4609" y="546"/>
                </a:lnTo>
                <a:lnTo>
                  <a:pt x="4656" y="570"/>
                </a:lnTo>
                <a:lnTo>
                  <a:pt x="4702" y="596"/>
                </a:lnTo>
                <a:lnTo>
                  <a:pt x="4747" y="621"/>
                </a:lnTo>
                <a:lnTo>
                  <a:pt x="4791" y="646"/>
                </a:lnTo>
                <a:lnTo>
                  <a:pt x="4836" y="674"/>
                </a:lnTo>
                <a:lnTo>
                  <a:pt x="4880" y="702"/>
                </a:lnTo>
                <a:lnTo>
                  <a:pt x="4923" y="730"/>
                </a:lnTo>
                <a:lnTo>
                  <a:pt x="4967" y="759"/>
                </a:lnTo>
                <a:lnTo>
                  <a:pt x="5009" y="789"/>
                </a:lnTo>
                <a:lnTo>
                  <a:pt x="5050" y="820"/>
                </a:lnTo>
                <a:lnTo>
                  <a:pt x="5091" y="851"/>
                </a:lnTo>
                <a:lnTo>
                  <a:pt x="5132" y="883"/>
                </a:lnTo>
                <a:lnTo>
                  <a:pt x="5172" y="916"/>
                </a:lnTo>
                <a:lnTo>
                  <a:pt x="5212" y="950"/>
                </a:lnTo>
                <a:lnTo>
                  <a:pt x="5251" y="984"/>
                </a:lnTo>
                <a:lnTo>
                  <a:pt x="5290" y="1017"/>
                </a:lnTo>
                <a:lnTo>
                  <a:pt x="5327" y="1054"/>
                </a:lnTo>
                <a:lnTo>
                  <a:pt x="5365" y="1089"/>
                </a:lnTo>
                <a:lnTo>
                  <a:pt x="5401" y="1125"/>
                </a:lnTo>
                <a:lnTo>
                  <a:pt x="5401" y="1125"/>
                </a:lnTo>
                <a:close/>
                <a:moveTo>
                  <a:pt x="2523" y="308"/>
                </a:moveTo>
                <a:lnTo>
                  <a:pt x="2523" y="308"/>
                </a:lnTo>
                <a:lnTo>
                  <a:pt x="2489" y="340"/>
                </a:lnTo>
                <a:lnTo>
                  <a:pt x="2456" y="373"/>
                </a:lnTo>
                <a:lnTo>
                  <a:pt x="2423" y="407"/>
                </a:lnTo>
                <a:lnTo>
                  <a:pt x="2390" y="443"/>
                </a:lnTo>
                <a:lnTo>
                  <a:pt x="2359" y="481"/>
                </a:lnTo>
                <a:lnTo>
                  <a:pt x="2326" y="520"/>
                </a:lnTo>
                <a:lnTo>
                  <a:pt x="2296" y="559"/>
                </a:lnTo>
                <a:lnTo>
                  <a:pt x="2264" y="601"/>
                </a:lnTo>
                <a:lnTo>
                  <a:pt x="2235" y="643"/>
                </a:lnTo>
                <a:lnTo>
                  <a:pt x="2205" y="688"/>
                </a:lnTo>
                <a:lnTo>
                  <a:pt x="2176" y="732"/>
                </a:lnTo>
                <a:lnTo>
                  <a:pt x="2147" y="779"/>
                </a:lnTo>
                <a:lnTo>
                  <a:pt x="2119" y="826"/>
                </a:lnTo>
                <a:lnTo>
                  <a:pt x="2091" y="876"/>
                </a:lnTo>
                <a:lnTo>
                  <a:pt x="2065" y="927"/>
                </a:lnTo>
                <a:lnTo>
                  <a:pt x="2038" y="979"/>
                </a:lnTo>
                <a:lnTo>
                  <a:pt x="2038" y="979"/>
                </a:lnTo>
                <a:lnTo>
                  <a:pt x="2014" y="1028"/>
                </a:lnTo>
                <a:lnTo>
                  <a:pt x="1990" y="1080"/>
                </a:lnTo>
                <a:lnTo>
                  <a:pt x="1967" y="1131"/>
                </a:lnTo>
                <a:lnTo>
                  <a:pt x="1944" y="1184"/>
                </a:lnTo>
                <a:lnTo>
                  <a:pt x="1922" y="1237"/>
                </a:lnTo>
                <a:lnTo>
                  <a:pt x="1900" y="1292"/>
                </a:lnTo>
                <a:lnTo>
                  <a:pt x="1880" y="1346"/>
                </a:lnTo>
                <a:lnTo>
                  <a:pt x="1859" y="1402"/>
                </a:lnTo>
                <a:lnTo>
                  <a:pt x="1859" y="1402"/>
                </a:lnTo>
                <a:lnTo>
                  <a:pt x="1755" y="1374"/>
                </a:lnTo>
                <a:lnTo>
                  <a:pt x="1652" y="1345"/>
                </a:lnTo>
                <a:lnTo>
                  <a:pt x="1552" y="1312"/>
                </a:lnTo>
                <a:lnTo>
                  <a:pt x="1454" y="1278"/>
                </a:lnTo>
                <a:lnTo>
                  <a:pt x="1358" y="1243"/>
                </a:lnTo>
                <a:lnTo>
                  <a:pt x="1266" y="1206"/>
                </a:lnTo>
                <a:lnTo>
                  <a:pt x="1177" y="1166"/>
                </a:lnTo>
                <a:lnTo>
                  <a:pt x="1132" y="1147"/>
                </a:lnTo>
                <a:lnTo>
                  <a:pt x="1090" y="1125"/>
                </a:lnTo>
                <a:lnTo>
                  <a:pt x="1090" y="1125"/>
                </a:lnTo>
                <a:lnTo>
                  <a:pt x="1126" y="1089"/>
                </a:lnTo>
                <a:lnTo>
                  <a:pt x="1164" y="1052"/>
                </a:lnTo>
                <a:lnTo>
                  <a:pt x="1201" y="1017"/>
                </a:lnTo>
                <a:lnTo>
                  <a:pt x="1240" y="984"/>
                </a:lnTo>
                <a:lnTo>
                  <a:pt x="1279" y="948"/>
                </a:lnTo>
                <a:lnTo>
                  <a:pt x="1318" y="916"/>
                </a:lnTo>
                <a:lnTo>
                  <a:pt x="1358" y="883"/>
                </a:lnTo>
                <a:lnTo>
                  <a:pt x="1400" y="851"/>
                </a:lnTo>
                <a:lnTo>
                  <a:pt x="1441" y="819"/>
                </a:lnTo>
                <a:lnTo>
                  <a:pt x="1482" y="789"/>
                </a:lnTo>
                <a:lnTo>
                  <a:pt x="1524" y="759"/>
                </a:lnTo>
                <a:lnTo>
                  <a:pt x="1568" y="730"/>
                </a:lnTo>
                <a:lnTo>
                  <a:pt x="1611" y="702"/>
                </a:lnTo>
                <a:lnTo>
                  <a:pt x="1655" y="674"/>
                </a:lnTo>
                <a:lnTo>
                  <a:pt x="1700" y="646"/>
                </a:lnTo>
                <a:lnTo>
                  <a:pt x="1744" y="621"/>
                </a:lnTo>
                <a:lnTo>
                  <a:pt x="1789" y="594"/>
                </a:lnTo>
                <a:lnTo>
                  <a:pt x="1835" y="570"/>
                </a:lnTo>
                <a:lnTo>
                  <a:pt x="1882" y="546"/>
                </a:lnTo>
                <a:lnTo>
                  <a:pt x="1928" y="523"/>
                </a:lnTo>
                <a:lnTo>
                  <a:pt x="1975" y="500"/>
                </a:lnTo>
                <a:lnTo>
                  <a:pt x="2024" y="478"/>
                </a:lnTo>
                <a:lnTo>
                  <a:pt x="2072" y="458"/>
                </a:lnTo>
                <a:lnTo>
                  <a:pt x="2120" y="439"/>
                </a:lnTo>
                <a:lnTo>
                  <a:pt x="2169" y="419"/>
                </a:lnTo>
                <a:lnTo>
                  <a:pt x="2218" y="401"/>
                </a:lnTo>
                <a:lnTo>
                  <a:pt x="2268" y="383"/>
                </a:lnTo>
                <a:lnTo>
                  <a:pt x="2319" y="366"/>
                </a:lnTo>
                <a:lnTo>
                  <a:pt x="2370" y="350"/>
                </a:lnTo>
                <a:lnTo>
                  <a:pt x="2420" y="336"/>
                </a:lnTo>
                <a:lnTo>
                  <a:pt x="2471" y="321"/>
                </a:lnTo>
                <a:lnTo>
                  <a:pt x="2523" y="308"/>
                </a:lnTo>
                <a:lnTo>
                  <a:pt x="2523" y="308"/>
                </a:lnTo>
                <a:close/>
                <a:moveTo>
                  <a:pt x="935" y="1295"/>
                </a:moveTo>
                <a:lnTo>
                  <a:pt x="935" y="1295"/>
                </a:lnTo>
                <a:lnTo>
                  <a:pt x="982" y="1319"/>
                </a:lnTo>
                <a:lnTo>
                  <a:pt x="1031" y="1342"/>
                </a:lnTo>
                <a:lnTo>
                  <a:pt x="1079" y="1365"/>
                </a:lnTo>
                <a:lnTo>
                  <a:pt x="1130" y="1388"/>
                </a:lnTo>
                <a:lnTo>
                  <a:pt x="1181" y="1410"/>
                </a:lnTo>
                <a:lnTo>
                  <a:pt x="1231" y="1431"/>
                </a:lnTo>
                <a:lnTo>
                  <a:pt x="1283" y="1452"/>
                </a:lnTo>
                <a:lnTo>
                  <a:pt x="1337" y="1472"/>
                </a:lnTo>
                <a:lnTo>
                  <a:pt x="1391" y="1491"/>
                </a:lnTo>
                <a:lnTo>
                  <a:pt x="1445" y="1510"/>
                </a:lnTo>
                <a:lnTo>
                  <a:pt x="1501" y="1530"/>
                </a:lnTo>
                <a:lnTo>
                  <a:pt x="1558" y="1547"/>
                </a:lnTo>
                <a:lnTo>
                  <a:pt x="1615" y="1565"/>
                </a:lnTo>
                <a:lnTo>
                  <a:pt x="1673" y="1580"/>
                </a:lnTo>
                <a:lnTo>
                  <a:pt x="1731" y="1597"/>
                </a:lnTo>
                <a:lnTo>
                  <a:pt x="1790" y="1613"/>
                </a:lnTo>
                <a:lnTo>
                  <a:pt x="1790" y="1613"/>
                </a:lnTo>
                <a:lnTo>
                  <a:pt x="1773" y="1672"/>
                </a:lnTo>
                <a:lnTo>
                  <a:pt x="1756" y="1731"/>
                </a:lnTo>
                <a:lnTo>
                  <a:pt x="1741" y="1793"/>
                </a:lnTo>
                <a:lnTo>
                  <a:pt x="1726" y="1853"/>
                </a:lnTo>
                <a:lnTo>
                  <a:pt x="1712" y="1916"/>
                </a:lnTo>
                <a:lnTo>
                  <a:pt x="1697" y="1978"/>
                </a:lnTo>
                <a:lnTo>
                  <a:pt x="1684" y="2041"/>
                </a:lnTo>
                <a:lnTo>
                  <a:pt x="1672" y="2105"/>
                </a:lnTo>
                <a:lnTo>
                  <a:pt x="1660" y="2169"/>
                </a:lnTo>
                <a:lnTo>
                  <a:pt x="1649" y="2234"/>
                </a:lnTo>
                <a:lnTo>
                  <a:pt x="1638" y="2298"/>
                </a:lnTo>
                <a:lnTo>
                  <a:pt x="1628" y="2365"/>
                </a:lnTo>
                <a:lnTo>
                  <a:pt x="1620" y="2430"/>
                </a:lnTo>
                <a:lnTo>
                  <a:pt x="1611" y="2496"/>
                </a:lnTo>
                <a:lnTo>
                  <a:pt x="1603" y="2564"/>
                </a:lnTo>
                <a:lnTo>
                  <a:pt x="1597" y="2632"/>
                </a:lnTo>
                <a:lnTo>
                  <a:pt x="1597" y="2632"/>
                </a:lnTo>
                <a:lnTo>
                  <a:pt x="1571" y="2635"/>
                </a:lnTo>
                <a:lnTo>
                  <a:pt x="1547" y="2640"/>
                </a:lnTo>
                <a:lnTo>
                  <a:pt x="1523" y="2645"/>
                </a:lnTo>
                <a:lnTo>
                  <a:pt x="1500" y="2652"/>
                </a:lnTo>
                <a:lnTo>
                  <a:pt x="1476" y="2659"/>
                </a:lnTo>
                <a:lnTo>
                  <a:pt x="1453" y="2668"/>
                </a:lnTo>
                <a:lnTo>
                  <a:pt x="1431" y="2678"/>
                </a:lnTo>
                <a:lnTo>
                  <a:pt x="1409" y="2687"/>
                </a:lnTo>
                <a:lnTo>
                  <a:pt x="1387" y="2698"/>
                </a:lnTo>
                <a:lnTo>
                  <a:pt x="1366" y="2710"/>
                </a:lnTo>
                <a:lnTo>
                  <a:pt x="1345" y="2722"/>
                </a:lnTo>
                <a:lnTo>
                  <a:pt x="1326" y="2737"/>
                </a:lnTo>
                <a:lnTo>
                  <a:pt x="1306" y="2750"/>
                </a:lnTo>
                <a:lnTo>
                  <a:pt x="1287" y="2765"/>
                </a:lnTo>
                <a:lnTo>
                  <a:pt x="1269" y="2780"/>
                </a:lnTo>
                <a:lnTo>
                  <a:pt x="1251" y="2797"/>
                </a:lnTo>
                <a:lnTo>
                  <a:pt x="1234" y="2814"/>
                </a:lnTo>
                <a:lnTo>
                  <a:pt x="1218" y="2831"/>
                </a:lnTo>
                <a:lnTo>
                  <a:pt x="1202" y="2849"/>
                </a:lnTo>
                <a:lnTo>
                  <a:pt x="1187" y="2868"/>
                </a:lnTo>
                <a:lnTo>
                  <a:pt x="1173" y="2888"/>
                </a:lnTo>
                <a:lnTo>
                  <a:pt x="1159" y="2907"/>
                </a:lnTo>
                <a:lnTo>
                  <a:pt x="1147" y="2928"/>
                </a:lnTo>
                <a:lnTo>
                  <a:pt x="1135" y="2948"/>
                </a:lnTo>
                <a:lnTo>
                  <a:pt x="1124" y="2970"/>
                </a:lnTo>
                <a:lnTo>
                  <a:pt x="1113" y="2992"/>
                </a:lnTo>
                <a:lnTo>
                  <a:pt x="1103" y="3015"/>
                </a:lnTo>
                <a:lnTo>
                  <a:pt x="1095" y="3038"/>
                </a:lnTo>
                <a:lnTo>
                  <a:pt x="1087" y="3061"/>
                </a:lnTo>
                <a:lnTo>
                  <a:pt x="1080" y="3084"/>
                </a:lnTo>
                <a:lnTo>
                  <a:pt x="1074" y="3108"/>
                </a:lnTo>
                <a:lnTo>
                  <a:pt x="1069" y="3132"/>
                </a:lnTo>
                <a:lnTo>
                  <a:pt x="223" y="3132"/>
                </a:lnTo>
                <a:lnTo>
                  <a:pt x="223" y="3132"/>
                </a:lnTo>
                <a:lnTo>
                  <a:pt x="226" y="3067"/>
                </a:lnTo>
                <a:lnTo>
                  <a:pt x="230" y="3003"/>
                </a:lnTo>
                <a:lnTo>
                  <a:pt x="236" y="2937"/>
                </a:lnTo>
                <a:lnTo>
                  <a:pt x="243" y="2873"/>
                </a:lnTo>
                <a:lnTo>
                  <a:pt x="252" y="2809"/>
                </a:lnTo>
                <a:lnTo>
                  <a:pt x="261" y="2746"/>
                </a:lnTo>
                <a:lnTo>
                  <a:pt x="272" y="2684"/>
                </a:lnTo>
                <a:lnTo>
                  <a:pt x="285" y="2621"/>
                </a:lnTo>
                <a:lnTo>
                  <a:pt x="299" y="2559"/>
                </a:lnTo>
                <a:lnTo>
                  <a:pt x="313" y="2497"/>
                </a:lnTo>
                <a:lnTo>
                  <a:pt x="330" y="2436"/>
                </a:lnTo>
                <a:lnTo>
                  <a:pt x="347" y="2375"/>
                </a:lnTo>
                <a:lnTo>
                  <a:pt x="367" y="2316"/>
                </a:lnTo>
                <a:lnTo>
                  <a:pt x="386" y="2256"/>
                </a:lnTo>
                <a:lnTo>
                  <a:pt x="408" y="2198"/>
                </a:lnTo>
                <a:lnTo>
                  <a:pt x="429" y="2139"/>
                </a:lnTo>
                <a:lnTo>
                  <a:pt x="454" y="2082"/>
                </a:lnTo>
                <a:lnTo>
                  <a:pt x="478" y="2024"/>
                </a:lnTo>
                <a:lnTo>
                  <a:pt x="503" y="1968"/>
                </a:lnTo>
                <a:lnTo>
                  <a:pt x="530" y="1911"/>
                </a:lnTo>
                <a:lnTo>
                  <a:pt x="559" y="1856"/>
                </a:lnTo>
                <a:lnTo>
                  <a:pt x="588" y="1802"/>
                </a:lnTo>
                <a:lnTo>
                  <a:pt x="617" y="1748"/>
                </a:lnTo>
                <a:lnTo>
                  <a:pt x="648" y="1695"/>
                </a:lnTo>
                <a:lnTo>
                  <a:pt x="681" y="1642"/>
                </a:lnTo>
                <a:lnTo>
                  <a:pt x="714" y="1590"/>
                </a:lnTo>
                <a:lnTo>
                  <a:pt x="749" y="1539"/>
                </a:lnTo>
                <a:lnTo>
                  <a:pt x="784" y="1489"/>
                </a:lnTo>
                <a:lnTo>
                  <a:pt x="820" y="1439"/>
                </a:lnTo>
                <a:lnTo>
                  <a:pt x="858" y="1391"/>
                </a:lnTo>
                <a:lnTo>
                  <a:pt x="896" y="1342"/>
                </a:lnTo>
                <a:lnTo>
                  <a:pt x="935" y="1295"/>
                </a:lnTo>
                <a:lnTo>
                  <a:pt x="935" y="1295"/>
                </a:lnTo>
                <a:close/>
                <a:moveTo>
                  <a:pt x="223" y="3353"/>
                </a:moveTo>
                <a:lnTo>
                  <a:pt x="1069" y="3353"/>
                </a:lnTo>
                <a:lnTo>
                  <a:pt x="1069" y="3353"/>
                </a:lnTo>
                <a:lnTo>
                  <a:pt x="1074" y="3378"/>
                </a:lnTo>
                <a:lnTo>
                  <a:pt x="1080" y="3401"/>
                </a:lnTo>
                <a:lnTo>
                  <a:pt x="1087" y="3425"/>
                </a:lnTo>
                <a:lnTo>
                  <a:pt x="1095" y="3448"/>
                </a:lnTo>
                <a:lnTo>
                  <a:pt x="1103" y="3471"/>
                </a:lnTo>
                <a:lnTo>
                  <a:pt x="1113" y="3494"/>
                </a:lnTo>
                <a:lnTo>
                  <a:pt x="1124" y="3516"/>
                </a:lnTo>
                <a:lnTo>
                  <a:pt x="1135" y="3538"/>
                </a:lnTo>
                <a:lnTo>
                  <a:pt x="1147" y="3558"/>
                </a:lnTo>
                <a:lnTo>
                  <a:pt x="1159" y="3579"/>
                </a:lnTo>
                <a:lnTo>
                  <a:pt x="1173" y="3598"/>
                </a:lnTo>
                <a:lnTo>
                  <a:pt x="1187" y="3618"/>
                </a:lnTo>
                <a:lnTo>
                  <a:pt x="1202" y="3637"/>
                </a:lnTo>
                <a:lnTo>
                  <a:pt x="1218" y="3655"/>
                </a:lnTo>
                <a:lnTo>
                  <a:pt x="1234" y="3672"/>
                </a:lnTo>
                <a:lnTo>
                  <a:pt x="1251" y="3689"/>
                </a:lnTo>
                <a:lnTo>
                  <a:pt x="1269" y="3706"/>
                </a:lnTo>
                <a:lnTo>
                  <a:pt x="1287" y="3721"/>
                </a:lnTo>
                <a:lnTo>
                  <a:pt x="1306" y="3736"/>
                </a:lnTo>
                <a:lnTo>
                  <a:pt x="1326" y="3749"/>
                </a:lnTo>
                <a:lnTo>
                  <a:pt x="1345" y="3764"/>
                </a:lnTo>
                <a:lnTo>
                  <a:pt x="1366" y="3776"/>
                </a:lnTo>
                <a:lnTo>
                  <a:pt x="1387" y="3788"/>
                </a:lnTo>
                <a:lnTo>
                  <a:pt x="1409" y="3799"/>
                </a:lnTo>
                <a:lnTo>
                  <a:pt x="1431" y="3808"/>
                </a:lnTo>
                <a:lnTo>
                  <a:pt x="1453" y="3818"/>
                </a:lnTo>
                <a:lnTo>
                  <a:pt x="1476" y="3827"/>
                </a:lnTo>
                <a:lnTo>
                  <a:pt x="1500" y="3834"/>
                </a:lnTo>
                <a:lnTo>
                  <a:pt x="1523" y="3841"/>
                </a:lnTo>
                <a:lnTo>
                  <a:pt x="1547" y="3846"/>
                </a:lnTo>
                <a:lnTo>
                  <a:pt x="1571" y="3851"/>
                </a:lnTo>
                <a:lnTo>
                  <a:pt x="1597" y="3854"/>
                </a:lnTo>
                <a:lnTo>
                  <a:pt x="1597" y="3854"/>
                </a:lnTo>
                <a:lnTo>
                  <a:pt x="1604" y="3922"/>
                </a:lnTo>
                <a:lnTo>
                  <a:pt x="1611" y="3990"/>
                </a:lnTo>
                <a:lnTo>
                  <a:pt x="1620" y="4056"/>
                </a:lnTo>
                <a:lnTo>
                  <a:pt x="1628" y="4121"/>
                </a:lnTo>
                <a:lnTo>
                  <a:pt x="1638" y="4188"/>
                </a:lnTo>
                <a:lnTo>
                  <a:pt x="1649" y="4252"/>
                </a:lnTo>
                <a:lnTo>
                  <a:pt x="1660" y="4317"/>
                </a:lnTo>
                <a:lnTo>
                  <a:pt x="1672" y="4381"/>
                </a:lnTo>
                <a:lnTo>
                  <a:pt x="1684" y="4445"/>
                </a:lnTo>
                <a:lnTo>
                  <a:pt x="1697" y="4508"/>
                </a:lnTo>
                <a:lnTo>
                  <a:pt x="1712" y="4570"/>
                </a:lnTo>
                <a:lnTo>
                  <a:pt x="1726" y="4633"/>
                </a:lnTo>
                <a:lnTo>
                  <a:pt x="1741" y="4693"/>
                </a:lnTo>
                <a:lnTo>
                  <a:pt x="1756" y="4755"/>
                </a:lnTo>
                <a:lnTo>
                  <a:pt x="1773" y="4814"/>
                </a:lnTo>
                <a:lnTo>
                  <a:pt x="1790" y="4873"/>
                </a:lnTo>
                <a:lnTo>
                  <a:pt x="1790" y="4873"/>
                </a:lnTo>
                <a:lnTo>
                  <a:pt x="1731" y="4889"/>
                </a:lnTo>
                <a:lnTo>
                  <a:pt x="1673" y="4904"/>
                </a:lnTo>
                <a:lnTo>
                  <a:pt x="1615" y="4921"/>
                </a:lnTo>
                <a:lnTo>
                  <a:pt x="1558" y="4939"/>
                </a:lnTo>
                <a:lnTo>
                  <a:pt x="1501" y="4956"/>
                </a:lnTo>
                <a:lnTo>
                  <a:pt x="1445" y="4976"/>
                </a:lnTo>
                <a:lnTo>
                  <a:pt x="1391" y="4994"/>
                </a:lnTo>
                <a:lnTo>
                  <a:pt x="1337" y="5014"/>
                </a:lnTo>
                <a:lnTo>
                  <a:pt x="1285" y="5034"/>
                </a:lnTo>
                <a:lnTo>
                  <a:pt x="1231" y="5055"/>
                </a:lnTo>
                <a:lnTo>
                  <a:pt x="1181" y="5076"/>
                </a:lnTo>
                <a:lnTo>
                  <a:pt x="1130" y="5098"/>
                </a:lnTo>
                <a:lnTo>
                  <a:pt x="1079" y="5121"/>
                </a:lnTo>
                <a:lnTo>
                  <a:pt x="1031" y="5144"/>
                </a:lnTo>
                <a:lnTo>
                  <a:pt x="982" y="5167"/>
                </a:lnTo>
                <a:lnTo>
                  <a:pt x="935" y="5191"/>
                </a:lnTo>
                <a:lnTo>
                  <a:pt x="935" y="5191"/>
                </a:lnTo>
                <a:lnTo>
                  <a:pt x="896" y="5144"/>
                </a:lnTo>
                <a:lnTo>
                  <a:pt x="858" y="5095"/>
                </a:lnTo>
                <a:lnTo>
                  <a:pt x="820" y="5047"/>
                </a:lnTo>
                <a:lnTo>
                  <a:pt x="784" y="4997"/>
                </a:lnTo>
                <a:lnTo>
                  <a:pt x="749" y="4947"/>
                </a:lnTo>
                <a:lnTo>
                  <a:pt x="714" y="4896"/>
                </a:lnTo>
                <a:lnTo>
                  <a:pt x="681" y="4844"/>
                </a:lnTo>
                <a:lnTo>
                  <a:pt x="648" y="4791"/>
                </a:lnTo>
                <a:lnTo>
                  <a:pt x="617" y="4738"/>
                </a:lnTo>
                <a:lnTo>
                  <a:pt x="588" y="4684"/>
                </a:lnTo>
                <a:lnTo>
                  <a:pt x="558" y="4629"/>
                </a:lnTo>
                <a:lnTo>
                  <a:pt x="530" y="4575"/>
                </a:lnTo>
                <a:lnTo>
                  <a:pt x="503" y="4518"/>
                </a:lnTo>
                <a:lnTo>
                  <a:pt x="478" y="4462"/>
                </a:lnTo>
                <a:lnTo>
                  <a:pt x="454" y="4404"/>
                </a:lnTo>
                <a:lnTo>
                  <a:pt x="429" y="4346"/>
                </a:lnTo>
                <a:lnTo>
                  <a:pt x="408" y="4288"/>
                </a:lnTo>
                <a:lnTo>
                  <a:pt x="386" y="4229"/>
                </a:lnTo>
                <a:lnTo>
                  <a:pt x="367" y="4170"/>
                </a:lnTo>
                <a:lnTo>
                  <a:pt x="347" y="4111"/>
                </a:lnTo>
                <a:lnTo>
                  <a:pt x="330" y="4049"/>
                </a:lnTo>
                <a:lnTo>
                  <a:pt x="313" y="3989"/>
                </a:lnTo>
                <a:lnTo>
                  <a:pt x="299" y="3927"/>
                </a:lnTo>
                <a:lnTo>
                  <a:pt x="285" y="3865"/>
                </a:lnTo>
                <a:lnTo>
                  <a:pt x="272" y="3802"/>
                </a:lnTo>
                <a:lnTo>
                  <a:pt x="261" y="3740"/>
                </a:lnTo>
                <a:lnTo>
                  <a:pt x="252" y="3677"/>
                </a:lnTo>
                <a:lnTo>
                  <a:pt x="243" y="3613"/>
                </a:lnTo>
                <a:lnTo>
                  <a:pt x="236" y="3549"/>
                </a:lnTo>
                <a:lnTo>
                  <a:pt x="230" y="3483"/>
                </a:lnTo>
                <a:lnTo>
                  <a:pt x="226" y="3418"/>
                </a:lnTo>
                <a:lnTo>
                  <a:pt x="223" y="3353"/>
                </a:lnTo>
                <a:lnTo>
                  <a:pt x="223" y="3353"/>
                </a:lnTo>
                <a:close/>
                <a:moveTo>
                  <a:pt x="1090" y="5361"/>
                </a:moveTo>
                <a:lnTo>
                  <a:pt x="1090" y="5361"/>
                </a:lnTo>
                <a:lnTo>
                  <a:pt x="1132" y="5339"/>
                </a:lnTo>
                <a:lnTo>
                  <a:pt x="1177" y="5319"/>
                </a:lnTo>
                <a:lnTo>
                  <a:pt x="1266" y="5280"/>
                </a:lnTo>
                <a:lnTo>
                  <a:pt x="1358" y="5243"/>
                </a:lnTo>
                <a:lnTo>
                  <a:pt x="1454" y="5206"/>
                </a:lnTo>
                <a:lnTo>
                  <a:pt x="1552" y="5174"/>
                </a:lnTo>
                <a:lnTo>
                  <a:pt x="1652" y="5141"/>
                </a:lnTo>
                <a:lnTo>
                  <a:pt x="1755" y="5112"/>
                </a:lnTo>
                <a:lnTo>
                  <a:pt x="1859" y="5084"/>
                </a:lnTo>
                <a:lnTo>
                  <a:pt x="1859" y="5084"/>
                </a:lnTo>
                <a:lnTo>
                  <a:pt x="1880" y="5140"/>
                </a:lnTo>
                <a:lnTo>
                  <a:pt x="1900" y="5194"/>
                </a:lnTo>
                <a:lnTo>
                  <a:pt x="1922" y="5249"/>
                </a:lnTo>
                <a:lnTo>
                  <a:pt x="1944" y="5302"/>
                </a:lnTo>
                <a:lnTo>
                  <a:pt x="1967" y="5355"/>
                </a:lnTo>
                <a:lnTo>
                  <a:pt x="1990" y="5406"/>
                </a:lnTo>
                <a:lnTo>
                  <a:pt x="2014" y="5457"/>
                </a:lnTo>
                <a:lnTo>
                  <a:pt x="2038" y="5507"/>
                </a:lnTo>
                <a:lnTo>
                  <a:pt x="2038" y="5507"/>
                </a:lnTo>
                <a:lnTo>
                  <a:pt x="2065" y="5559"/>
                </a:lnTo>
                <a:lnTo>
                  <a:pt x="2091" y="5610"/>
                </a:lnTo>
                <a:lnTo>
                  <a:pt x="2119" y="5658"/>
                </a:lnTo>
                <a:lnTo>
                  <a:pt x="2147" y="5707"/>
                </a:lnTo>
                <a:lnTo>
                  <a:pt x="2176" y="5754"/>
                </a:lnTo>
                <a:lnTo>
                  <a:pt x="2205" y="5798"/>
                </a:lnTo>
                <a:lnTo>
                  <a:pt x="2235" y="5843"/>
                </a:lnTo>
                <a:lnTo>
                  <a:pt x="2264" y="5885"/>
                </a:lnTo>
                <a:lnTo>
                  <a:pt x="2296" y="5927"/>
                </a:lnTo>
                <a:lnTo>
                  <a:pt x="2326" y="5966"/>
                </a:lnTo>
                <a:lnTo>
                  <a:pt x="2359" y="6005"/>
                </a:lnTo>
                <a:lnTo>
                  <a:pt x="2390" y="6043"/>
                </a:lnTo>
                <a:lnTo>
                  <a:pt x="2423" y="6079"/>
                </a:lnTo>
                <a:lnTo>
                  <a:pt x="2456" y="6113"/>
                </a:lnTo>
                <a:lnTo>
                  <a:pt x="2489" y="6146"/>
                </a:lnTo>
                <a:lnTo>
                  <a:pt x="2523" y="6178"/>
                </a:lnTo>
                <a:lnTo>
                  <a:pt x="2523" y="6178"/>
                </a:lnTo>
                <a:lnTo>
                  <a:pt x="2471" y="6165"/>
                </a:lnTo>
                <a:lnTo>
                  <a:pt x="2420" y="6150"/>
                </a:lnTo>
                <a:lnTo>
                  <a:pt x="2370" y="6136"/>
                </a:lnTo>
                <a:lnTo>
                  <a:pt x="2319" y="6120"/>
                </a:lnTo>
                <a:lnTo>
                  <a:pt x="2268" y="6103"/>
                </a:lnTo>
                <a:lnTo>
                  <a:pt x="2218" y="6085"/>
                </a:lnTo>
                <a:lnTo>
                  <a:pt x="2169" y="6067"/>
                </a:lnTo>
                <a:lnTo>
                  <a:pt x="2120" y="6047"/>
                </a:lnTo>
                <a:lnTo>
                  <a:pt x="2072" y="6028"/>
                </a:lnTo>
                <a:lnTo>
                  <a:pt x="2024" y="6008"/>
                </a:lnTo>
                <a:lnTo>
                  <a:pt x="1975" y="5986"/>
                </a:lnTo>
                <a:lnTo>
                  <a:pt x="1928" y="5963"/>
                </a:lnTo>
                <a:lnTo>
                  <a:pt x="1882" y="5940"/>
                </a:lnTo>
                <a:lnTo>
                  <a:pt x="1835" y="5916"/>
                </a:lnTo>
                <a:lnTo>
                  <a:pt x="1789" y="5892"/>
                </a:lnTo>
                <a:lnTo>
                  <a:pt x="1744" y="5865"/>
                </a:lnTo>
                <a:lnTo>
                  <a:pt x="1700" y="5840"/>
                </a:lnTo>
                <a:lnTo>
                  <a:pt x="1655" y="5812"/>
                </a:lnTo>
                <a:lnTo>
                  <a:pt x="1611" y="5784"/>
                </a:lnTo>
                <a:lnTo>
                  <a:pt x="1568" y="5756"/>
                </a:lnTo>
                <a:lnTo>
                  <a:pt x="1524" y="5727"/>
                </a:lnTo>
                <a:lnTo>
                  <a:pt x="1482" y="5697"/>
                </a:lnTo>
                <a:lnTo>
                  <a:pt x="1441" y="5667"/>
                </a:lnTo>
                <a:lnTo>
                  <a:pt x="1400" y="5635"/>
                </a:lnTo>
                <a:lnTo>
                  <a:pt x="1358" y="5603"/>
                </a:lnTo>
                <a:lnTo>
                  <a:pt x="1318" y="5570"/>
                </a:lnTo>
                <a:lnTo>
                  <a:pt x="1279" y="5538"/>
                </a:lnTo>
                <a:lnTo>
                  <a:pt x="1240" y="5502"/>
                </a:lnTo>
                <a:lnTo>
                  <a:pt x="1201" y="5469"/>
                </a:lnTo>
                <a:lnTo>
                  <a:pt x="1164" y="5434"/>
                </a:lnTo>
                <a:lnTo>
                  <a:pt x="1126" y="5397"/>
                </a:lnTo>
                <a:lnTo>
                  <a:pt x="1090" y="5361"/>
                </a:lnTo>
                <a:lnTo>
                  <a:pt x="1090" y="5361"/>
                </a:lnTo>
                <a:close/>
                <a:moveTo>
                  <a:pt x="3968" y="6178"/>
                </a:moveTo>
                <a:lnTo>
                  <a:pt x="3968" y="6178"/>
                </a:lnTo>
                <a:lnTo>
                  <a:pt x="4000" y="6148"/>
                </a:lnTo>
                <a:lnTo>
                  <a:pt x="4032" y="6116"/>
                </a:lnTo>
                <a:lnTo>
                  <a:pt x="4062" y="6085"/>
                </a:lnTo>
                <a:lnTo>
                  <a:pt x="4093" y="6051"/>
                </a:lnTo>
                <a:lnTo>
                  <a:pt x="4124" y="6016"/>
                </a:lnTo>
                <a:lnTo>
                  <a:pt x="4154" y="5981"/>
                </a:lnTo>
                <a:lnTo>
                  <a:pt x="4183" y="5943"/>
                </a:lnTo>
                <a:lnTo>
                  <a:pt x="4212" y="5905"/>
                </a:lnTo>
                <a:lnTo>
                  <a:pt x="4240" y="5866"/>
                </a:lnTo>
                <a:lnTo>
                  <a:pt x="4269" y="5825"/>
                </a:lnTo>
                <a:lnTo>
                  <a:pt x="4297" y="5783"/>
                </a:lnTo>
                <a:lnTo>
                  <a:pt x="4323" y="5740"/>
                </a:lnTo>
                <a:lnTo>
                  <a:pt x="4350" y="5696"/>
                </a:lnTo>
                <a:lnTo>
                  <a:pt x="4376" y="5650"/>
                </a:lnTo>
                <a:lnTo>
                  <a:pt x="4403" y="5604"/>
                </a:lnTo>
                <a:lnTo>
                  <a:pt x="4428" y="5556"/>
                </a:lnTo>
                <a:lnTo>
                  <a:pt x="4428" y="5556"/>
                </a:lnTo>
                <a:lnTo>
                  <a:pt x="4460" y="5562"/>
                </a:lnTo>
                <a:lnTo>
                  <a:pt x="4491" y="5567"/>
                </a:lnTo>
                <a:lnTo>
                  <a:pt x="4524" y="5569"/>
                </a:lnTo>
                <a:lnTo>
                  <a:pt x="4558" y="5570"/>
                </a:lnTo>
                <a:lnTo>
                  <a:pt x="4558" y="5570"/>
                </a:lnTo>
                <a:lnTo>
                  <a:pt x="4580" y="5569"/>
                </a:lnTo>
                <a:lnTo>
                  <a:pt x="4601" y="5568"/>
                </a:lnTo>
                <a:lnTo>
                  <a:pt x="4623" y="5567"/>
                </a:lnTo>
                <a:lnTo>
                  <a:pt x="4645" y="5563"/>
                </a:lnTo>
                <a:lnTo>
                  <a:pt x="4667" y="5559"/>
                </a:lnTo>
                <a:lnTo>
                  <a:pt x="4688" y="5556"/>
                </a:lnTo>
                <a:lnTo>
                  <a:pt x="4709" y="5551"/>
                </a:lnTo>
                <a:lnTo>
                  <a:pt x="4730" y="5545"/>
                </a:lnTo>
                <a:lnTo>
                  <a:pt x="4750" y="5539"/>
                </a:lnTo>
                <a:lnTo>
                  <a:pt x="4771" y="5531"/>
                </a:lnTo>
                <a:lnTo>
                  <a:pt x="4790" y="5524"/>
                </a:lnTo>
                <a:lnTo>
                  <a:pt x="4809" y="5516"/>
                </a:lnTo>
                <a:lnTo>
                  <a:pt x="4847" y="5498"/>
                </a:lnTo>
                <a:lnTo>
                  <a:pt x="4883" y="5476"/>
                </a:lnTo>
                <a:lnTo>
                  <a:pt x="4918" y="5453"/>
                </a:lnTo>
                <a:lnTo>
                  <a:pt x="4951" y="5428"/>
                </a:lnTo>
                <a:lnTo>
                  <a:pt x="4982" y="5400"/>
                </a:lnTo>
                <a:lnTo>
                  <a:pt x="5011" y="5370"/>
                </a:lnTo>
                <a:lnTo>
                  <a:pt x="5039" y="5338"/>
                </a:lnTo>
                <a:lnTo>
                  <a:pt x="5065" y="5304"/>
                </a:lnTo>
                <a:lnTo>
                  <a:pt x="5086" y="5269"/>
                </a:lnTo>
                <a:lnTo>
                  <a:pt x="5107" y="5233"/>
                </a:lnTo>
                <a:lnTo>
                  <a:pt x="5107" y="5233"/>
                </a:lnTo>
                <a:lnTo>
                  <a:pt x="5183" y="5263"/>
                </a:lnTo>
                <a:lnTo>
                  <a:pt x="5258" y="5295"/>
                </a:lnTo>
                <a:lnTo>
                  <a:pt x="5331" y="5327"/>
                </a:lnTo>
                <a:lnTo>
                  <a:pt x="5401" y="5361"/>
                </a:lnTo>
                <a:lnTo>
                  <a:pt x="5401" y="5361"/>
                </a:lnTo>
                <a:lnTo>
                  <a:pt x="5365" y="5397"/>
                </a:lnTo>
                <a:lnTo>
                  <a:pt x="5327" y="5434"/>
                </a:lnTo>
                <a:lnTo>
                  <a:pt x="5290" y="5469"/>
                </a:lnTo>
                <a:lnTo>
                  <a:pt x="5251" y="5502"/>
                </a:lnTo>
                <a:lnTo>
                  <a:pt x="5212" y="5538"/>
                </a:lnTo>
                <a:lnTo>
                  <a:pt x="5172" y="5570"/>
                </a:lnTo>
                <a:lnTo>
                  <a:pt x="5132" y="5603"/>
                </a:lnTo>
                <a:lnTo>
                  <a:pt x="5091" y="5635"/>
                </a:lnTo>
                <a:lnTo>
                  <a:pt x="5050" y="5666"/>
                </a:lnTo>
                <a:lnTo>
                  <a:pt x="5009" y="5697"/>
                </a:lnTo>
                <a:lnTo>
                  <a:pt x="4967" y="5727"/>
                </a:lnTo>
                <a:lnTo>
                  <a:pt x="4923" y="5756"/>
                </a:lnTo>
                <a:lnTo>
                  <a:pt x="4880" y="5784"/>
                </a:lnTo>
                <a:lnTo>
                  <a:pt x="4836" y="5812"/>
                </a:lnTo>
                <a:lnTo>
                  <a:pt x="4791" y="5840"/>
                </a:lnTo>
                <a:lnTo>
                  <a:pt x="4747" y="5865"/>
                </a:lnTo>
                <a:lnTo>
                  <a:pt x="4702" y="5890"/>
                </a:lnTo>
                <a:lnTo>
                  <a:pt x="4656" y="5916"/>
                </a:lnTo>
                <a:lnTo>
                  <a:pt x="4609" y="5940"/>
                </a:lnTo>
                <a:lnTo>
                  <a:pt x="4563" y="5963"/>
                </a:lnTo>
                <a:lnTo>
                  <a:pt x="4515" y="5986"/>
                </a:lnTo>
                <a:lnTo>
                  <a:pt x="4467" y="6006"/>
                </a:lnTo>
                <a:lnTo>
                  <a:pt x="4419" y="6028"/>
                </a:lnTo>
                <a:lnTo>
                  <a:pt x="4370" y="6047"/>
                </a:lnTo>
                <a:lnTo>
                  <a:pt x="4322" y="6067"/>
                </a:lnTo>
                <a:lnTo>
                  <a:pt x="4272" y="6085"/>
                </a:lnTo>
                <a:lnTo>
                  <a:pt x="4223" y="6103"/>
                </a:lnTo>
                <a:lnTo>
                  <a:pt x="4172" y="6120"/>
                </a:lnTo>
                <a:lnTo>
                  <a:pt x="4122" y="6136"/>
                </a:lnTo>
                <a:lnTo>
                  <a:pt x="4072" y="6150"/>
                </a:lnTo>
                <a:lnTo>
                  <a:pt x="4020" y="6165"/>
                </a:lnTo>
                <a:lnTo>
                  <a:pt x="3968" y="6178"/>
                </a:lnTo>
                <a:lnTo>
                  <a:pt x="3968" y="6178"/>
                </a:lnTo>
                <a:close/>
                <a:moveTo>
                  <a:pt x="5556" y="5191"/>
                </a:moveTo>
                <a:lnTo>
                  <a:pt x="5556" y="5191"/>
                </a:lnTo>
                <a:lnTo>
                  <a:pt x="5511" y="5168"/>
                </a:lnTo>
                <a:lnTo>
                  <a:pt x="5464" y="5146"/>
                </a:lnTo>
                <a:lnTo>
                  <a:pt x="5418" y="5123"/>
                </a:lnTo>
                <a:lnTo>
                  <a:pt x="5369" y="5101"/>
                </a:lnTo>
                <a:lnTo>
                  <a:pt x="5321" y="5081"/>
                </a:lnTo>
                <a:lnTo>
                  <a:pt x="5271" y="5060"/>
                </a:lnTo>
                <a:lnTo>
                  <a:pt x="5222" y="5040"/>
                </a:lnTo>
                <a:lnTo>
                  <a:pt x="5171" y="5020"/>
                </a:lnTo>
                <a:lnTo>
                  <a:pt x="5171" y="5020"/>
                </a:lnTo>
                <a:lnTo>
                  <a:pt x="5175" y="4987"/>
                </a:lnTo>
                <a:lnTo>
                  <a:pt x="5175" y="4953"/>
                </a:lnTo>
                <a:lnTo>
                  <a:pt x="5175" y="4953"/>
                </a:lnTo>
                <a:lnTo>
                  <a:pt x="5175" y="4929"/>
                </a:lnTo>
                <a:lnTo>
                  <a:pt x="5174" y="4906"/>
                </a:lnTo>
                <a:lnTo>
                  <a:pt x="5171" y="4884"/>
                </a:lnTo>
                <a:lnTo>
                  <a:pt x="5169" y="4861"/>
                </a:lnTo>
                <a:lnTo>
                  <a:pt x="5165" y="4839"/>
                </a:lnTo>
                <a:lnTo>
                  <a:pt x="5160" y="4817"/>
                </a:lnTo>
                <a:lnTo>
                  <a:pt x="5155" y="4796"/>
                </a:lnTo>
                <a:lnTo>
                  <a:pt x="5149" y="4774"/>
                </a:lnTo>
                <a:lnTo>
                  <a:pt x="5142" y="4753"/>
                </a:lnTo>
                <a:lnTo>
                  <a:pt x="5135" y="4733"/>
                </a:lnTo>
                <a:lnTo>
                  <a:pt x="5126" y="4712"/>
                </a:lnTo>
                <a:lnTo>
                  <a:pt x="5118" y="4692"/>
                </a:lnTo>
                <a:lnTo>
                  <a:pt x="5108" y="4672"/>
                </a:lnTo>
                <a:lnTo>
                  <a:pt x="5097" y="4653"/>
                </a:lnTo>
                <a:lnTo>
                  <a:pt x="5086" y="4635"/>
                </a:lnTo>
                <a:lnTo>
                  <a:pt x="5076" y="4617"/>
                </a:lnTo>
                <a:lnTo>
                  <a:pt x="5063" y="4599"/>
                </a:lnTo>
                <a:lnTo>
                  <a:pt x="5050" y="4581"/>
                </a:lnTo>
                <a:lnTo>
                  <a:pt x="5037" y="4564"/>
                </a:lnTo>
                <a:lnTo>
                  <a:pt x="5024" y="4547"/>
                </a:lnTo>
                <a:lnTo>
                  <a:pt x="5009" y="4531"/>
                </a:lnTo>
                <a:lnTo>
                  <a:pt x="4993" y="4515"/>
                </a:lnTo>
                <a:lnTo>
                  <a:pt x="4979" y="4501"/>
                </a:lnTo>
                <a:lnTo>
                  <a:pt x="4962" y="4486"/>
                </a:lnTo>
                <a:lnTo>
                  <a:pt x="4946" y="4473"/>
                </a:lnTo>
                <a:lnTo>
                  <a:pt x="4929" y="4460"/>
                </a:lnTo>
                <a:lnTo>
                  <a:pt x="4911" y="4446"/>
                </a:lnTo>
                <a:lnTo>
                  <a:pt x="4893" y="4434"/>
                </a:lnTo>
                <a:lnTo>
                  <a:pt x="4875" y="4423"/>
                </a:lnTo>
                <a:lnTo>
                  <a:pt x="4855" y="4413"/>
                </a:lnTo>
                <a:lnTo>
                  <a:pt x="4837" y="4402"/>
                </a:lnTo>
                <a:lnTo>
                  <a:pt x="4817" y="4392"/>
                </a:lnTo>
                <a:lnTo>
                  <a:pt x="4817" y="4392"/>
                </a:lnTo>
                <a:lnTo>
                  <a:pt x="4840" y="4268"/>
                </a:lnTo>
                <a:lnTo>
                  <a:pt x="4859" y="4142"/>
                </a:lnTo>
                <a:lnTo>
                  <a:pt x="4877" y="4014"/>
                </a:lnTo>
                <a:lnTo>
                  <a:pt x="4892" y="3885"/>
                </a:lnTo>
                <a:lnTo>
                  <a:pt x="4904" y="3754"/>
                </a:lnTo>
                <a:lnTo>
                  <a:pt x="4912" y="3621"/>
                </a:lnTo>
                <a:lnTo>
                  <a:pt x="4920" y="3488"/>
                </a:lnTo>
                <a:lnTo>
                  <a:pt x="4923" y="3353"/>
                </a:lnTo>
                <a:lnTo>
                  <a:pt x="6268" y="3353"/>
                </a:lnTo>
                <a:lnTo>
                  <a:pt x="6268" y="3353"/>
                </a:lnTo>
                <a:lnTo>
                  <a:pt x="6265" y="3418"/>
                </a:lnTo>
                <a:lnTo>
                  <a:pt x="6261" y="3483"/>
                </a:lnTo>
                <a:lnTo>
                  <a:pt x="6255" y="3549"/>
                </a:lnTo>
                <a:lnTo>
                  <a:pt x="6248" y="3613"/>
                </a:lnTo>
                <a:lnTo>
                  <a:pt x="6239" y="3677"/>
                </a:lnTo>
                <a:lnTo>
                  <a:pt x="6230" y="3740"/>
                </a:lnTo>
                <a:lnTo>
                  <a:pt x="6219" y="3802"/>
                </a:lnTo>
                <a:lnTo>
                  <a:pt x="6205" y="3865"/>
                </a:lnTo>
                <a:lnTo>
                  <a:pt x="6192" y="3927"/>
                </a:lnTo>
                <a:lnTo>
                  <a:pt x="6178" y="3989"/>
                </a:lnTo>
                <a:lnTo>
                  <a:pt x="6161" y="4049"/>
                </a:lnTo>
                <a:lnTo>
                  <a:pt x="6144" y="4111"/>
                </a:lnTo>
                <a:lnTo>
                  <a:pt x="6124" y="4170"/>
                </a:lnTo>
                <a:lnTo>
                  <a:pt x="6105" y="4229"/>
                </a:lnTo>
                <a:lnTo>
                  <a:pt x="6083" y="4288"/>
                </a:lnTo>
                <a:lnTo>
                  <a:pt x="6061" y="4346"/>
                </a:lnTo>
                <a:lnTo>
                  <a:pt x="6038" y="4404"/>
                </a:lnTo>
                <a:lnTo>
                  <a:pt x="6013" y="4462"/>
                </a:lnTo>
                <a:lnTo>
                  <a:pt x="5988" y="4518"/>
                </a:lnTo>
                <a:lnTo>
                  <a:pt x="5961" y="4575"/>
                </a:lnTo>
                <a:lnTo>
                  <a:pt x="5933" y="4629"/>
                </a:lnTo>
                <a:lnTo>
                  <a:pt x="5904" y="4684"/>
                </a:lnTo>
                <a:lnTo>
                  <a:pt x="5874" y="4738"/>
                </a:lnTo>
                <a:lnTo>
                  <a:pt x="5842" y="4791"/>
                </a:lnTo>
                <a:lnTo>
                  <a:pt x="5810" y="4844"/>
                </a:lnTo>
                <a:lnTo>
                  <a:pt x="5777" y="4896"/>
                </a:lnTo>
                <a:lnTo>
                  <a:pt x="5742" y="4947"/>
                </a:lnTo>
                <a:lnTo>
                  <a:pt x="5707" y="4997"/>
                </a:lnTo>
                <a:lnTo>
                  <a:pt x="5671" y="5047"/>
                </a:lnTo>
                <a:lnTo>
                  <a:pt x="5633" y="5095"/>
                </a:lnTo>
                <a:lnTo>
                  <a:pt x="5594" y="5144"/>
                </a:lnTo>
                <a:lnTo>
                  <a:pt x="5556" y="5191"/>
                </a:lnTo>
                <a:lnTo>
                  <a:pt x="5556" y="5191"/>
                </a:lnTo>
                <a:close/>
              </a:path>
            </a:pathLst>
          </a:custGeom>
          <a:solidFill>
            <a:schemeClr val="tx1"/>
          </a:solidFill>
          <a:ln>
            <a:noFill/>
          </a:ln>
        </p:spPr>
        <p:txBody>
          <a:bodyPr vert="horz" wrap="square" lIns="121807" tIns="60904" rIns="121807" bIns="60904" numCol="1" anchor="t" anchorCtr="0" compatLnSpc="1">
            <a:prstTxWarp prst="textNoShape">
              <a:avLst/>
            </a:prstTxWarp>
          </a:bodyPr>
          <a:lstStyle/>
          <a:p>
            <a:pPr defTabSz="913798">
              <a:defRPr/>
            </a:pPr>
            <a:endParaRPr lang="en-US" sz="1798">
              <a:solidFill>
                <a:srgbClr val="000000"/>
              </a:solidFill>
              <a:latin typeface="Calibri"/>
            </a:endParaRPr>
          </a:p>
        </p:txBody>
      </p:sp>
      <p:sp>
        <p:nvSpPr>
          <p:cNvPr id="30" name="Freeform 839">
            <a:extLst>
              <a:ext uri="{FF2B5EF4-FFF2-40B4-BE49-F238E27FC236}">
                <a16:creationId xmlns:a16="http://schemas.microsoft.com/office/drawing/2014/main" id="{147C564E-5F7E-4C37-A810-9A90D75F6CA2}"/>
              </a:ext>
              <a:ext uri="{C183D7F6-B498-43B3-948B-1728B52AA6E4}">
                <adec:decorative xmlns:adec="http://schemas.microsoft.com/office/drawing/2017/decorative" val="1"/>
              </a:ext>
            </a:extLst>
          </p:cNvPr>
          <p:cNvSpPr>
            <a:spLocks noChangeAspect="1" noEditPoints="1"/>
          </p:cNvSpPr>
          <p:nvPr/>
        </p:nvSpPr>
        <p:spPr bwMode="auto">
          <a:xfrm>
            <a:off x="10774171" y="5146883"/>
            <a:ext cx="549149" cy="548640"/>
          </a:xfrm>
          <a:custGeom>
            <a:avLst/>
            <a:gdLst>
              <a:gd name="T0" fmla="*/ 6112 w 6492"/>
              <a:gd name="T1" fmla="*/ 5580 h 6486"/>
              <a:gd name="T2" fmla="*/ 5246 w 6492"/>
              <a:gd name="T3" fmla="*/ 5737 h 6486"/>
              <a:gd name="T4" fmla="*/ 5128 w 6492"/>
              <a:gd name="T5" fmla="*/ 4843 h 6486"/>
              <a:gd name="T6" fmla="*/ 5314 w 6492"/>
              <a:gd name="T7" fmla="*/ 4767 h 6486"/>
              <a:gd name="T8" fmla="*/ 5783 w 6492"/>
              <a:gd name="T9" fmla="*/ 4850 h 6486"/>
              <a:gd name="T10" fmla="*/ 6247 w 6492"/>
              <a:gd name="T11" fmla="*/ 3392 h 6486"/>
              <a:gd name="T12" fmla="*/ 5954 w 6492"/>
              <a:gd name="T13" fmla="*/ 1942 h 6486"/>
              <a:gd name="T14" fmla="*/ 4985 w 6492"/>
              <a:gd name="T15" fmla="*/ 795 h 6486"/>
              <a:gd name="T16" fmla="*/ 3552 w 6492"/>
              <a:gd name="T17" fmla="*/ 257 h 6486"/>
              <a:gd name="T18" fmla="*/ 2067 w 6492"/>
              <a:gd name="T19" fmla="*/ 481 h 6486"/>
              <a:gd name="T20" fmla="*/ 1899 w 6492"/>
              <a:gd name="T21" fmla="*/ 382 h 6486"/>
              <a:gd name="T22" fmla="*/ 2515 w 6492"/>
              <a:gd name="T23" fmla="*/ 82 h 6486"/>
              <a:gd name="T24" fmla="*/ 4127 w 6492"/>
              <a:gd name="T25" fmla="*/ 120 h 6486"/>
              <a:gd name="T26" fmla="*/ 5485 w 6492"/>
              <a:gd name="T27" fmla="*/ 895 h 6486"/>
              <a:gd name="T28" fmla="*/ 6297 w 6492"/>
              <a:gd name="T29" fmla="*/ 2131 h 6486"/>
              <a:gd name="T30" fmla="*/ 6449 w 6492"/>
              <a:gd name="T31" fmla="*/ 3777 h 6486"/>
              <a:gd name="T32" fmla="*/ 4425 w 6492"/>
              <a:gd name="T33" fmla="*/ 6005 h 6486"/>
              <a:gd name="T34" fmla="*/ 3016 w 6492"/>
              <a:gd name="T35" fmla="*/ 6237 h 6486"/>
              <a:gd name="T36" fmla="*/ 1568 w 6492"/>
              <a:gd name="T37" fmla="*/ 5732 h 6486"/>
              <a:gd name="T38" fmla="*/ 570 w 6492"/>
              <a:gd name="T39" fmla="*/ 4609 h 6486"/>
              <a:gd name="T40" fmla="*/ 242 w 6492"/>
              <a:gd name="T41" fmla="*/ 3168 h 6486"/>
              <a:gd name="T42" fmla="*/ 670 w 6492"/>
              <a:gd name="T43" fmla="*/ 1699 h 6486"/>
              <a:gd name="T44" fmla="*/ 1168 w 6492"/>
              <a:gd name="T45" fmla="*/ 1712 h 6486"/>
              <a:gd name="T46" fmla="*/ 1360 w 6492"/>
              <a:gd name="T47" fmla="*/ 1655 h 6486"/>
              <a:gd name="T48" fmla="*/ 1246 w 6492"/>
              <a:gd name="T49" fmla="*/ 749 h 6486"/>
              <a:gd name="T50" fmla="*/ 377 w 6492"/>
              <a:gd name="T51" fmla="*/ 894 h 6486"/>
              <a:gd name="T52" fmla="*/ 666 w 6492"/>
              <a:gd name="T53" fmla="*/ 1276 h 6486"/>
              <a:gd name="T54" fmla="*/ 19 w 6492"/>
              <a:gd name="T55" fmla="*/ 2885 h 6486"/>
              <a:gd name="T56" fmla="*/ 254 w 6492"/>
              <a:gd name="T57" fmla="*/ 4506 h 6486"/>
              <a:gd name="T58" fmla="*/ 1124 w 6492"/>
              <a:gd name="T59" fmla="*/ 5697 h 6486"/>
              <a:gd name="T60" fmla="*/ 2521 w 6492"/>
              <a:gd name="T61" fmla="*/ 6405 h 6486"/>
              <a:gd name="T62" fmla="*/ 4135 w 6492"/>
              <a:gd name="T63" fmla="*/ 6363 h 6486"/>
              <a:gd name="T64" fmla="*/ 4588 w 6492"/>
              <a:gd name="T65" fmla="*/ 6080 h 6486"/>
              <a:gd name="T66" fmla="*/ 5367 w 6492"/>
              <a:gd name="T67" fmla="*/ 3492 h 6486"/>
              <a:gd name="T68" fmla="*/ 4947 w 6492"/>
              <a:gd name="T69" fmla="*/ 4237 h 6486"/>
              <a:gd name="T70" fmla="*/ 1505 w 6492"/>
              <a:gd name="T71" fmla="*/ 4314 h 6486"/>
              <a:gd name="T72" fmla="*/ 1132 w 6492"/>
              <a:gd name="T73" fmla="*/ 3837 h 6486"/>
              <a:gd name="T74" fmla="*/ 1290 w 6492"/>
              <a:gd name="T75" fmla="*/ 3323 h 6486"/>
              <a:gd name="T76" fmla="*/ 1625 w 6492"/>
              <a:gd name="T77" fmla="*/ 2994 h 6486"/>
              <a:gd name="T78" fmla="*/ 1985 w 6492"/>
              <a:gd name="T79" fmla="*/ 2356 h 6486"/>
              <a:gd name="T80" fmla="*/ 2706 w 6492"/>
              <a:gd name="T81" fmla="*/ 2329 h 6486"/>
              <a:gd name="T82" fmla="*/ 3201 w 6492"/>
              <a:gd name="T83" fmla="*/ 1765 h 6486"/>
              <a:gd name="T84" fmla="*/ 4176 w 6492"/>
              <a:gd name="T85" fmla="*/ 1708 h 6486"/>
              <a:gd name="T86" fmla="*/ 4840 w 6492"/>
              <a:gd name="T87" fmla="*/ 2496 h 6486"/>
              <a:gd name="T88" fmla="*/ 5231 w 6492"/>
              <a:gd name="T89" fmla="*/ 3026 h 6486"/>
              <a:gd name="T90" fmla="*/ 5123 w 6492"/>
              <a:gd name="T91" fmla="*/ 3443 h 6486"/>
              <a:gd name="T92" fmla="*/ 4896 w 6492"/>
              <a:gd name="T93" fmla="*/ 3007 h 6486"/>
              <a:gd name="T94" fmla="*/ 4631 w 6492"/>
              <a:gd name="T95" fmla="*/ 2829 h 6486"/>
              <a:gd name="T96" fmla="*/ 4498 w 6492"/>
              <a:gd name="T97" fmla="*/ 2288 h 6486"/>
              <a:gd name="T98" fmla="*/ 3746 w 6492"/>
              <a:gd name="T99" fmla="*/ 1865 h 6486"/>
              <a:gd name="T100" fmla="*/ 3093 w 6492"/>
              <a:gd name="T101" fmla="*/ 2154 h 6486"/>
              <a:gd name="T102" fmla="*/ 2811 w 6492"/>
              <a:gd name="T103" fmla="*/ 2632 h 6486"/>
              <a:gd name="T104" fmla="*/ 2479 w 6492"/>
              <a:gd name="T105" fmla="*/ 2501 h 6486"/>
              <a:gd name="T106" fmla="*/ 2032 w 6492"/>
              <a:gd name="T107" fmla="*/ 2620 h 6486"/>
              <a:gd name="T108" fmla="*/ 1873 w 6492"/>
              <a:gd name="T109" fmla="*/ 3071 h 6486"/>
              <a:gd name="T110" fmla="*/ 1828 w 6492"/>
              <a:gd name="T111" fmla="*/ 3360 h 6486"/>
              <a:gd name="T112" fmla="*/ 1465 w 6492"/>
              <a:gd name="T113" fmla="*/ 3488 h 6486"/>
              <a:gd name="T114" fmla="*/ 1378 w 6492"/>
              <a:gd name="T115" fmla="*/ 3837 h 6486"/>
              <a:gd name="T116" fmla="*/ 1633 w 6492"/>
              <a:gd name="T117" fmla="*/ 4104 h 6486"/>
              <a:gd name="T118" fmla="*/ 4873 w 6492"/>
              <a:gd name="T119" fmla="*/ 3997 h 6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92" h="6486">
                <a:moveTo>
                  <a:pt x="5826" y="5210"/>
                </a:moveTo>
                <a:lnTo>
                  <a:pt x="5826" y="5210"/>
                </a:lnTo>
                <a:lnTo>
                  <a:pt x="5767" y="5285"/>
                </a:lnTo>
                <a:lnTo>
                  <a:pt x="5707" y="5357"/>
                </a:lnTo>
                <a:lnTo>
                  <a:pt x="5644" y="5427"/>
                </a:lnTo>
                <a:lnTo>
                  <a:pt x="5580" y="5496"/>
                </a:lnTo>
                <a:lnTo>
                  <a:pt x="5996" y="5496"/>
                </a:lnTo>
                <a:lnTo>
                  <a:pt x="5996" y="5496"/>
                </a:lnTo>
                <a:lnTo>
                  <a:pt x="6008" y="5497"/>
                </a:lnTo>
                <a:lnTo>
                  <a:pt x="6021" y="5498"/>
                </a:lnTo>
                <a:lnTo>
                  <a:pt x="6033" y="5502"/>
                </a:lnTo>
                <a:lnTo>
                  <a:pt x="6043" y="5505"/>
                </a:lnTo>
                <a:lnTo>
                  <a:pt x="6054" y="5510"/>
                </a:lnTo>
                <a:lnTo>
                  <a:pt x="6064" y="5516"/>
                </a:lnTo>
                <a:lnTo>
                  <a:pt x="6074" y="5523"/>
                </a:lnTo>
                <a:lnTo>
                  <a:pt x="6082" y="5531"/>
                </a:lnTo>
                <a:lnTo>
                  <a:pt x="6089" y="5539"/>
                </a:lnTo>
                <a:lnTo>
                  <a:pt x="6096" y="5549"/>
                </a:lnTo>
                <a:lnTo>
                  <a:pt x="6103" y="5558"/>
                </a:lnTo>
                <a:lnTo>
                  <a:pt x="6107" y="5569"/>
                </a:lnTo>
                <a:lnTo>
                  <a:pt x="6112" y="5580"/>
                </a:lnTo>
                <a:lnTo>
                  <a:pt x="6115" y="5592"/>
                </a:lnTo>
                <a:lnTo>
                  <a:pt x="6117" y="5604"/>
                </a:lnTo>
                <a:lnTo>
                  <a:pt x="6117" y="5616"/>
                </a:lnTo>
                <a:lnTo>
                  <a:pt x="6117" y="5616"/>
                </a:lnTo>
                <a:lnTo>
                  <a:pt x="6117" y="5628"/>
                </a:lnTo>
                <a:lnTo>
                  <a:pt x="6115" y="5640"/>
                </a:lnTo>
                <a:lnTo>
                  <a:pt x="6112" y="5652"/>
                </a:lnTo>
                <a:lnTo>
                  <a:pt x="6107" y="5663"/>
                </a:lnTo>
                <a:lnTo>
                  <a:pt x="6103" y="5674"/>
                </a:lnTo>
                <a:lnTo>
                  <a:pt x="6096" y="5684"/>
                </a:lnTo>
                <a:lnTo>
                  <a:pt x="6089" y="5693"/>
                </a:lnTo>
                <a:lnTo>
                  <a:pt x="6082" y="5702"/>
                </a:lnTo>
                <a:lnTo>
                  <a:pt x="6074" y="5709"/>
                </a:lnTo>
                <a:lnTo>
                  <a:pt x="6064" y="5716"/>
                </a:lnTo>
                <a:lnTo>
                  <a:pt x="6054" y="5722"/>
                </a:lnTo>
                <a:lnTo>
                  <a:pt x="6043" y="5727"/>
                </a:lnTo>
                <a:lnTo>
                  <a:pt x="6033" y="5732"/>
                </a:lnTo>
                <a:lnTo>
                  <a:pt x="6021" y="5734"/>
                </a:lnTo>
                <a:lnTo>
                  <a:pt x="6008" y="5737"/>
                </a:lnTo>
                <a:lnTo>
                  <a:pt x="5996" y="5737"/>
                </a:lnTo>
                <a:lnTo>
                  <a:pt x="5246" y="5737"/>
                </a:lnTo>
                <a:lnTo>
                  <a:pt x="5246" y="5737"/>
                </a:lnTo>
                <a:lnTo>
                  <a:pt x="5234" y="5737"/>
                </a:lnTo>
                <a:lnTo>
                  <a:pt x="5222" y="5734"/>
                </a:lnTo>
                <a:lnTo>
                  <a:pt x="5210" y="5732"/>
                </a:lnTo>
                <a:lnTo>
                  <a:pt x="5199" y="5727"/>
                </a:lnTo>
                <a:lnTo>
                  <a:pt x="5189" y="5722"/>
                </a:lnTo>
                <a:lnTo>
                  <a:pt x="5179" y="5716"/>
                </a:lnTo>
                <a:lnTo>
                  <a:pt x="5169" y="5709"/>
                </a:lnTo>
                <a:lnTo>
                  <a:pt x="5161" y="5702"/>
                </a:lnTo>
                <a:lnTo>
                  <a:pt x="5154" y="5693"/>
                </a:lnTo>
                <a:lnTo>
                  <a:pt x="5146" y="5684"/>
                </a:lnTo>
                <a:lnTo>
                  <a:pt x="5140" y="5674"/>
                </a:lnTo>
                <a:lnTo>
                  <a:pt x="5135" y="5663"/>
                </a:lnTo>
                <a:lnTo>
                  <a:pt x="5132" y="5652"/>
                </a:lnTo>
                <a:lnTo>
                  <a:pt x="5128" y="5640"/>
                </a:lnTo>
                <a:lnTo>
                  <a:pt x="5127" y="5628"/>
                </a:lnTo>
                <a:lnTo>
                  <a:pt x="5126" y="5616"/>
                </a:lnTo>
                <a:lnTo>
                  <a:pt x="5126" y="4867"/>
                </a:lnTo>
                <a:lnTo>
                  <a:pt x="5126" y="4867"/>
                </a:lnTo>
                <a:lnTo>
                  <a:pt x="5127" y="4855"/>
                </a:lnTo>
                <a:lnTo>
                  <a:pt x="5128" y="4843"/>
                </a:lnTo>
                <a:lnTo>
                  <a:pt x="5132" y="4831"/>
                </a:lnTo>
                <a:lnTo>
                  <a:pt x="5135" y="4820"/>
                </a:lnTo>
                <a:lnTo>
                  <a:pt x="5140" y="4809"/>
                </a:lnTo>
                <a:lnTo>
                  <a:pt x="5146" y="4799"/>
                </a:lnTo>
                <a:lnTo>
                  <a:pt x="5154" y="4790"/>
                </a:lnTo>
                <a:lnTo>
                  <a:pt x="5161" y="4781"/>
                </a:lnTo>
                <a:lnTo>
                  <a:pt x="5169" y="4774"/>
                </a:lnTo>
                <a:lnTo>
                  <a:pt x="5179" y="4767"/>
                </a:lnTo>
                <a:lnTo>
                  <a:pt x="5189" y="4761"/>
                </a:lnTo>
                <a:lnTo>
                  <a:pt x="5199" y="4756"/>
                </a:lnTo>
                <a:lnTo>
                  <a:pt x="5210" y="4751"/>
                </a:lnTo>
                <a:lnTo>
                  <a:pt x="5222" y="4749"/>
                </a:lnTo>
                <a:lnTo>
                  <a:pt x="5234" y="4746"/>
                </a:lnTo>
                <a:lnTo>
                  <a:pt x="5246" y="4746"/>
                </a:lnTo>
                <a:lnTo>
                  <a:pt x="5246" y="4746"/>
                </a:lnTo>
                <a:lnTo>
                  <a:pt x="5258" y="4746"/>
                </a:lnTo>
                <a:lnTo>
                  <a:pt x="5271" y="4749"/>
                </a:lnTo>
                <a:lnTo>
                  <a:pt x="5283" y="4751"/>
                </a:lnTo>
                <a:lnTo>
                  <a:pt x="5293" y="4756"/>
                </a:lnTo>
                <a:lnTo>
                  <a:pt x="5304" y="4761"/>
                </a:lnTo>
                <a:lnTo>
                  <a:pt x="5314" y="4767"/>
                </a:lnTo>
                <a:lnTo>
                  <a:pt x="5324" y="4774"/>
                </a:lnTo>
                <a:lnTo>
                  <a:pt x="5332" y="4781"/>
                </a:lnTo>
                <a:lnTo>
                  <a:pt x="5339" y="4790"/>
                </a:lnTo>
                <a:lnTo>
                  <a:pt x="5346" y="4799"/>
                </a:lnTo>
                <a:lnTo>
                  <a:pt x="5353" y="4809"/>
                </a:lnTo>
                <a:lnTo>
                  <a:pt x="5357" y="4820"/>
                </a:lnTo>
                <a:lnTo>
                  <a:pt x="5362" y="4831"/>
                </a:lnTo>
                <a:lnTo>
                  <a:pt x="5365" y="4843"/>
                </a:lnTo>
                <a:lnTo>
                  <a:pt x="5366" y="4855"/>
                </a:lnTo>
                <a:lnTo>
                  <a:pt x="5367" y="4867"/>
                </a:lnTo>
                <a:lnTo>
                  <a:pt x="5367" y="5368"/>
                </a:lnTo>
                <a:lnTo>
                  <a:pt x="5367" y="5368"/>
                </a:lnTo>
                <a:lnTo>
                  <a:pt x="5419" y="5315"/>
                </a:lnTo>
                <a:lnTo>
                  <a:pt x="5469" y="5261"/>
                </a:lnTo>
                <a:lnTo>
                  <a:pt x="5519" y="5205"/>
                </a:lnTo>
                <a:lnTo>
                  <a:pt x="5567" y="5149"/>
                </a:lnTo>
                <a:lnTo>
                  <a:pt x="5613" y="5091"/>
                </a:lnTo>
                <a:lnTo>
                  <a:pt x="5658" y="5032"/>
                </a:lnTo>
                <a:lnTo>
                  <a:pt x="5701" y="4973"/>
                </a:lnTo>
                <a:lnTo>
                  <a:pt x="5743" y="4911"/>
                </a:lnTo>
                <a:lnTo>
                  <a:pt x="5783" y="4850"/>
                </a:lnTo>
                <a:lnTo>
                  <a:pt x="5822" y="4787"/>
                </a:lnTo>
                <a:lnTo>
                  <a:pt x="5859" y="4725"/>
                </a:lnTo>
                <a:lnTo>
                  <a:pt x="5895" y="4661"/>
                </a:lnTo>
                <a:lnTo>
                  <a:pt x="5929" y="4596"/>
                </a:lnTo>
                <a:lnTo>
                  <a:pt x="5961" y="4530"/>
                </a:lnTo>
                <a:lnTo>
                  <a:pt x="5992" y="4463"/>
                </a:lnTo>
                <a:lnTo>
                  <a:pt x="6021" y="4396"/>
                </a:lnTo>
                <a:lnTo>
                  <a:pt x="6048" y="4327"/>
                </a:lnTo>
                <a:lnTo>
                  <a:pt x="6074" y="4259"/>
                </a:lnTo>
                <a:lnTo>
                  <a:pt x="6098" y="4190"/>
                </a:lnTo>
                <a:lnTo>
                  <a:pt x="6121" y="4120"/>
                </a:lnTo>
                <a:lnTo>
                  <a:pt x="6141" y="4049"/>
                </a:lnTo>
                <a:lnTo>
                  <a:pt x="6159" y="3978"/>
                </a:lnTo>
                <a:lnTo>
                  <a:pt x="6177" y="3907"/>
                </a:lnTo>
                <a:lnTo>
                  <a:pt x="6192" y="3834"/>
                </a:lnTo>
                <a:lnTo>
                  <a:pt x="6206" y="3761"/>
                </a:lnTo>
                <a:lnTo>
                  <a:pt x="6218" y="3689"/>
                </a:lnTo>
                <a:lnTo>
                  <a:pt x="6228" y="3615"/>
                </a:lnTo>
                <a:lnTo>
                  <a:pt x="6236" y="3542"/>
                </a:lnTo>
                <a:lnTo>
                  <a:pt x="6242" y="3467"/>
                </a:lnTo>
                <a:lnTo>
                  <a:pt x="6247" y="3392"/>
                </a:lnTo>
                <a:lnTo>
                  <a:pt x="6250" y="3318"/>
                </a:lnTo>
                <a:lnTo>
                  <a:pt x="6251" y="3243"/>
                </a:lnTo>
                <a:lnTo>
                  <a:pt x="6251" y="3243"/>
                </a:lnTo>
                <a:lnTo>
                  <a:pt x="6250" y="3166"/>
                </a:lnTo>
                <a:lnTo>
                  <a:pt x="6247" y="3089"/>
                </a:lnTo>
                <a:lnTo>
                  <a:pt x="6242" y="3013"/>
                </a:lnTo>
                <a:lnTo>
                  <a:pt x="6235" y="2937"/>
                </a:lnTo>
                <a:lnTo>
                  <a:pt x="6227" y="2861"/>
                </a:lnTo>
                <a:lnTo>
                  <a:pt x="6216" y="2786"/>
                </a:lnTo>
                <a:lnTo>
                  <a:pt x="6204" y="2712"/>
                </a:lnTo>
                <a:lnTo>
                  <a:pt x="6189" y="2638"/>
                </a:lnTo>
                <a:lnTo>
                  <a:pt x="6174" y="2566"/>
                </a:lnTo>
                <a:lnTo>
                  <a:pt x="6157" y="2494"/>
                </a:lnTo>
                <a:lnTo>
                  <a:pt x="6136" y="2423"/>
                </a:lnTo>
                <a:lnTo>
                  <a:pt x="6116" y="2352"/>
                </a:lnTo>
                <a:lnTo>
                  <a:pt x="6093" y="2282"/>
                </a:lnTo>
                <a:lnTo>
                  <a:pt x="6069" y="2212"/>
                </a:lnTo>
                <a:lnTo>
                  <a:pt x="6042" y="2143"/>
                </a:lnTo>
                <a:lnTo>
                  <a:pt x="6015" y="2076"/>
                </a:lnTo>
                <a:lnTo>
                  <a:pt x="5986" y="2008"/>
                </a:lnTo>
                <a:lnTo>
                  <a:pt x="5954" y="1942"/>
                </a:lnTo>
                <a:lnTo>
                  <a:pt x="5922" y="1877"/>
                </a:lnTo>
                <a:lnTo>
                  <a:pt x="5888" y="1813"/>
                </a:lnTo>
                <a:lnTo>
                  <a:pt x="5853" y="1749"/>
                </a:lnTo>
                <a:lnTo>
                  <a:pt x="5816" y="1688"/>
                </a:lnTo>
                <a:lnTo>
                  <a:pt x="5777" y="1626"/>
                </a:lnTo>
                <a:lnTo>
                  <a:pt x="5737" y="1566"/>
                </a:lnTo>
                <a:lnTo>
                  <a:pt x="5696" y="1506"/>
                </a:lnTo>
                <a:lnTo>
                  <a:pt x="5653" y="1448"/>
                </a:lnTo>
                <a:lnTo>
                  <a:pt x="5609" y="1390"/>
                </a:lnTo>
                <a:lnTo>
                  <a:pt x="5564" y="1335"/>
                </a:lnTo>
                <a:lnTo>
                  <a:pt x="5518" y="1279"/>
                </a:lnTo>
                <a:lnTo>
                  <a:pt x="5469" y="1225"/>
                </a:lnTo>
                <a:lnTo>
                  <a:pt x="5420" y="1172"/>
                </a:lnTo>
                <a:lnTo>
                  <a:pt x="5369" y="1122"/>
                </a:lnTo>
                <a:lnTo>
                  <a:pt x="5319" y="1071"/>
                </a:lnTo>
                <a:lnTo>
                  <a:pt x="5266" y="1022"/>
                </a:lnTo>
                <a:lnTo>
                  <a:pt x="5211" y="973"/>
                </a:lnTo>
                <a:lnTo>
                  <a:pt x="5156" y="928"/>
                </a:lnTo>
                <a:lnTo>
                  <a:pt x="5101" y="882"/>
                </a:lnTo>
                <a:lnTo>
                  <a:pt x="5043" y="838"/>
                </a:lnTo>
                <a:lnTo>
                  <a:pt x="4985" y="795"/>
                </a:lnTo>
                <a:lnTo>
                  <a:pt x="4924" y="754"/>
                </a:lnTo>
                <a:lnTo>
                  <a:pt x="4864" y="714"/>
                </a:lnTo>
                <a:lnTo>
                  <a:pt x="4803" y="676"/>
                </a:lnTo>
                <a:lnTo>
                  <a:pt x="4741" y="638"/>
                </a:lnTo>
                <a:lnTo>
                  <a:pt x="4677" y="604"/>
                </a:lnTo>
                <a:lnTo>
                  <a:pt x="4613" y="570"/>
                </a:lnTo>
                <a:lnTo>
                  <a:pt x="4548" y="537"/>
                </a:lnTo>
                <a:lnTo>
                  <a:pt x="4482" y="506"/>
                </a:lnTo>
                <a:lnTo>
                  <a:pt x="4414" y="477"/>
                </a:lnTo>
                <a:lnTo>
                  <a:pt x="4347" y="449"/>
                </a:lnTo>
                <a:lnTo>
                  <a:pt x="4278" y="423"/>
                </a:lnTo>
                <a:lnTo>
                  <a:pt x="4208" y="399"/>
                </a:lnTo>
                <a:lnTo>
                  <a:pt x="4138" y="376"/>
                </a:lnTo>
                <a:lnTo>
                  <a:pt x="4067" y="355"/>
                </a:lnTo>
                <a:lnTo>
                  <a:pt x="3996" y="335"/>
                </a:lnTo>
                <a:lnTo>
                  <a:pt x="3924" y="318"/>
                </a:lnTo>
                <a:lnTo>
                  <a:pt x="3851" y="302"/>
                </a:lnTo>
                <a:lnTo>
                  <a:pt x="3778" y="288"/>
                </a:lnTo>
                <a:lnTo>
                  <a:pt x="3703" y="276"/>
                </a:lnTo>
                <a:lnTo>
                  <a:pt x="3628" y="265"/>
                </a:lnTo>
                <a:lnTo>
                  <a:pt x="3552" y="257"/>
                </a:lnTo>
                <a:lnTo>
                  <a:pt x="3476" y="249"/>
                </a:lnTo>
                <a:lnTo>
                  <a:pt x="3400" y="245"/>
                </a:lnTo>
                <a:lnTo>
                  <a:pt x="3323" y="242"/>
                </a:lnTo>
                <a:lnTo>
                  <a:pt x="3246" y="241"/>
                </a:lnTo>
                <a:lnTo>
                  <a:pt x="3246" y="241"/>
                </a:lnTo>
                <a:lnTo>
                  <a:pt x="3170" y="242"/>
                </a:lnTo>
                <a:lnTo>
                  <a:pt x="3093" y="245"/>
                </a:lnTo>
                <a:lnTo>
                  <a:pt x="3017" y="249"/>
                </a:lnTo>
                <a:lnTo>
                  <a:pt x="2942" y="255"/>
                </a:lnTo>
                <a:lnTo>
                  <a:pt x="2866" y="264"/>
                </a:lnTo>
                <a:lnTo>
                  <a:pt x="2791" y="275"/>
                </a:lnTo>
                <a:lnTo>
                  <a:pt x="2717" y="287"/>
                </a:lnTo>
                <a:lnTo>
                  <a:pt x="2643" y="301"/>
                </a:lnTo>
                <a:lnTo>
                  <a:pt x="2570" y="317"/>
                </a:lnTo>
                <a:lnTo>
                  <a:pt x="2496" y="335"/>
                </a:lnTo>
                <a:lnTo>
                  <a:pt x="2424" y="354"/>
                </a:lnTo>
                <a:lnTo>
                  <a:pt x="2351" y="376"/>
                </a:lnTo>
                <a:lnTo>
                  <a:pt x="2279" y="400"/>
                </a:lnTo>
                <a:lnTo>
                  <a:pt x="2208" y="425"/>
                </a:lnTo>
                <a:lnTo>
                  <a:pt x="2137" y="452"/>
                </a:lnTo>
                <a:lnTo>
                  <a:pt x="2067" y="481"/>
                </a:lnTo>
                <a:lnTo>
                  <a:pt x="2067" y="481"/>
                </a:lnTo>
                <a:lnTo>
                  <a:pt x="2056" y="485"/>
                </a:lnTo>
                <a:lnTo>
                  <a:pt x="2044" y="488"/>
                </a:lnTo>
                <a:lnTo>
                  <a:pt x="2032" y="490"/>
                </a:lnTo>
                <a:lnTo>
                  <a:pt x="2020" y="490"/>
                </a:lnTo>
                <a:lnTo>
                  <a:pt x="2009" y="490"/>
                </a:lnTo>
                <a:lnTo>
                  <a:pt x="1997" y="488"/>
                </a:lnTo>
                <a:lnTo>
                  <a:pt x="1986" y="485"/>
                </a:lnTo>
                <a:lnTo>
                  <a:pt x="1975" y="482"/>
                </a:lnTo>
                <a:lnTo>
                  <a:pt x="1964" y="477"/>
                </a:lnTo>
                <a:lnTo>
                  <a:pt x="1955" y="471"/>
                </a:lnTo>
                <a:lnTo>
                  <a:pt x="1945" y="465"/>
                </a:lnTo>
                <a:lnTo>
                  <a:pt x="1935" y="457"/>
                </a:lnTo>
                <a:lnTo>
                  <a:pt x="1928" y="448"/>
                </a:lnTo>
                <a:lnTo>
                  <a:pt x="1921" y="439"/>
                </a:lnTo>
                <a:lnTo>
                  <a:pt x="1914" y="429"/>
                </a:lnTo>
                <a:lnTo>
                  <a:pt x="1909" y="417"/>
                </a:lnTo>
                <a:lnTo>
                  <a:pt x="1909" y="417"/>
                </a:lnTo>
                <a:lnTo>
                  <a:pt x="1904" y="406"/>
                </a:lnTo>
                <a:lnTo>
                  <a:pt x="1902" y="394"/>
                </a:lnTo>
                <a:lnTo>
                  <a:pt x="1899" y="382"/>
                </a:lnTo>
                <a:lnTo>
                  <a:pt x="1899" y="371"/>
                </a:lnTo>
                <a:lnTo>
                  <a:pt x="1899" y="359"/>
                </a:lnTo>
                <a:lnTo>
                  <a:pt x="1902" y="347"/>
                </a:lnTo>
                <a:lnTo>
                  <a:pt x="1904" y="336"/>
                </a:lnTo>
                <a:lnTo>
                  <a:pt x="1908" y="325"/>
                </a:lnTo>
                <a:lnTo>
                  <a:pt x="1912" y="314"/>
                </a:lnTo>
                <a:lnTo>
                  <a:pt x="1918" y="305"/>
                </a:lnTo>
                <a:lnTo>
                  <a:pt x="1926" y="295"/>
                </a:lnTo>
                <a:lnTo>
                  <a:pt x="1933" y="287"/>
                </a:lnTo>
                <a:lnTo>
                  <a:pt x="1941" y="278"/>
                </a:lnTo>
                <a:lnTo>
                  <a:pt x="1951" y="271"/>
                </a:lnTo>
                <a:lnTo>
                  <a:pt x="1961" y="265"/>
                </a:lnTo>
                <a:lnTo>
                  <a:pt x="1973" y="259"/>
                </a:lnTo>
                <a:lnTo>
                  <a:pt x="1973" y="259"/>
                </a:lnTo>
                <a:lnTo>
                  <a:pt x="2049" y="228"/>
                </a:lnTo>
                <a:lnTo>
                  <a:pt x="2125" y="199"/>
                </a:lnTo>
                <a:lnTo>
                  <a:pt x="2202" y="171"/>
                </a:lnTo>
                <a:lnTo>
                  <a:pt x="2279" y="146"/>
                </a:lnTo>
                <a:lnTo>
                  <a:pt x="2357" y="123"/>
                </a:lnTo>
                <a:lnTo>
                  <a:pt x="2436" y="101"/>
                </a:lnTo>
                <a:lnTo>
                  <a:pt x="2515" y="82"/>
                </a:lnTo>
                <a:lnTo>
                  <a:pt x="2595" y="65"/>
                </a:lnTo>
                <a:lnTo>
                  <a:pt x="2674" y="49"/>
                </a:lnTo>
                <a:lnTo>
                  <a:pt x="2755" y="36"/>
                </a:lnTo>
                <a:lnTo>
                  <a:pt x="2836" y="25"/>
                </a:lnTo>
                <a:lnTo>
                  <a:pt x="2917" y="16"/>
                </a:lnTo>
                <a:lnTo>
                  <a:pt x="2999" y="8"/>
                </a:lnTo>
                <a:lnTo>
                  <a:pt x="3081" y="4"/>
                </a:lnTo>
                <a:lnTo>
                  <a:pt x="3163" y="1"/>
                </a:lnTo>
                <a:lnTo>
                  <a:pt x="3246" y="0"/>
                </a:lnTo>
                <a:lnTo>
                  <a:pt x="3246" y="0"/>
                </a:lnTo>
                <a:lnTo>
                  <a:pt x="3328" y="1"/>
                </a:lnTo>
                <a:lnTo>
                  <a:pt x="3410" y="4"/>
                </a:lnTo>
                <a:lnTo>
                  <a:pt x="3491" y="8"/>
                </a:lnTo>
                <a:lnTo>
                  <a:pt x="3572" y="16"/>
                </a:lnTo>
                <a:lnTo>
                  <a:pt x="3652" y="25"/>
                </a:lnTo>
                <a:lnTo>
                  <a:pt x="3733" y="36"/>
                </a:lnTo>
                <a:lnTo>
                  <a:pt x="3813" y="49"/>
                </a:lnTo>
                <a:lnTo>
                  <a:pt x="3892" y="64"/>
                </a:lnTo>
                <a:lnTo>
                  <a:pt x="3971" y="81"/>
                </a:lnTo>
                <a:lnTo>
                  <a:pt x="4049" y="100"/>
                </a:lnTo>
                <a:lnTo>
                  <a:pt x="4127" y="120"/>
                </a:lnTo>
                <a:lnTo>
                  <a:pt x="4205" y="143"/>
                </a:lnTo>
                <a:lnTo>
                  <a:pt x="4282" y="169"/>
                </a:lnTo>
                <a:lnTo>
                  <a:pt x="4359" y="195"/>
                </a:lnTo>
                <a:lnTo>
                  <a:pt x="4434" y="224"/>
                </a:lnTo>
                <a:lnTo>
                  <a:pt x="4510" y="254"/>
                </a:lnTo>
                <a:lnTo>
                  <a:pt x="4510" y="254"/>
                </a:lnTo>
                <a:lnTo>
                  <a:pt x="4582" y="287"/>
                </a:lnTo>
                <a:lnTo>
                  <a:pt x="4653" y="319"/>
                </a:lnTo>
                <a:lnTo>
                  <a:pt x="4723" y="354"/>
                </a:lnTo>
                <a:lnTo>
                  <a:pt x="4792" y="390"/>
                </a:lnTo>
                <a:lnTo>
                  <a:pt x="4861" y="429"/>
                </a:lnTo>
                <a:lnTo>
                  <a:pt x="4927" y="467"/>
                </a:lnTo>
                <a:lnTo>
                  <a:pt x="4993" y="510"/>
                </a:lnTo>
                <a:lnTo>
                  <a:pt x="5058" y="552"/>
                </a:lnTo>
                <a:lnTo>
                  <a:pt x="5123" y="596"/>
                </a:lnTo>
                <a:lnTo>
                  <a:pt x="5186" y="642"/>
                </a:lnTo>
                <a:lnTo>
                  <a:pt x="5248" y="689"/>
                </a:lnTo>
                <a:lnTo>
                  <a:pt x="5309" y="738"/>
                </a:lnTo>
                <a:lnTo>
                  <a:pt x="5368" y="789"/>
                </a:lnTo>
                <a:lnTo>
                  <a:pt x="5427" y="841"/>
                </a:lnTo>
                <a:lnTo>
                  <a:pt x="5485" y="895"/>
                </a:lnTo>
                <a:lnTo>
                  <a:pt x="5542" y="949"/>
                </a:lnTo>
                <a:lnTo>
                  <a:pt x="5542" y="949"/>
                </a:lnTo>
                <a:lnTo>
                  <a:pt x="5596" y="1006"/>
                </a:lnTo>
                <a:lnTo>
                  <a:pt x="5650" y="1064"/>
                </a:lnTo>
                <a:lnTo>
                  <a:pt x="5702" y="1123"/>
                </a:lnTo>
                <a:lnTo>
                  <a:pt x="5753" y="1182"/>
                </a:lnTo>
                <a:lnTo>
                  <a:pt x="5802" y="1243"/>
                </a:lnTo>
                <a:lnTo>
                  <a:pt x="5849" y="1305"/>
                </a:lnTo>
                <a:lnTo>
                  <a:pt x="5895" y="1367"/>
                </a:lnTo>
                <a:lnTo>
                  <a:pt x="5940" y="1432"/>
                </a:lnTo>
                <a:lnTo>
                  <a:pt x="5982" y="1497"/>
                </a:lnTo>
                <a:lnTo>
                  <a:pt x="6024" y="1564"/>
                </a:lnTo>
                <a:lnTo>
                  <a:pt x="6063" y="1630"/>
                </a:lnTo>
                <a:lnTo>
                  <a:pt x="6101" y="1699"/>
                </a:lnTo>
                <a:lnTo>
                  <a:pt x="6137" y="1767"/>
                </a:lnTo>
                <a:lnTo>
                  <a:pt x="6172" y="1837"/>
                </a:lnTo>
                <a:lnTo>
                  <a:pt x="6205" y="1908"/>
                </a:lnTo>
                <a:lnTo>
                  <a:pt x="6238" y="1980"/>
                </a:lnTo>
                <a:lnTo>
                  <a:pt x="6238" y="1980"/>
                </a:lnTo>
                <a:lnTo>
                  <a:pt x="6268" y="2056"/>
                </a:lnTo>
                <a:lnTo>
                  <a:pt x="6297" y="2131"/>
                </a:lnTo>
                <a:lnTo>
                  <a:pt x="6323" y="2208"/>
                </a:lnTo>
                <a:lnTo>
                  <a:pt x="6349" y="2285"/>
                </a:lnTo>
                <a:lnTo>
                  <a:pt x="6371" y="2362"/>
                </a:lnTo>
                <a:lnTo>
                  <a:pt x="6392" y="2441"/>
                </a:lnTo>
                <a:lnTo>
                  <a:pt x="6411" y="2519"/>
                </a:lnTo>
                <a:lnTo>
                  <a:pt x="6428" y="2597"/>
                </a:lnTo>
                <a:lnTo>
                  <a:pt x="6443" y="2677"/>
                </a:lnTo>
                <a:lnTo>
                  <a:pt x="6456" y="2756"/>
                </a:lnTo>
                <a:lnTo>
                  <a:pt x="6467" y="2837"/>
                </a:lnTo>
                <a:lnTo>
                  <a:pt x="6476" y="2918"/>
                </a:lnTo>
                <a:lnTo>
                  <a:pt x="6484" y="2998"/>
                </a:lnTo>
                <a:lnTo>
                  <a:pt x="6488" y="3079"/>
                </a:lnTo>
                <a:lnTo>
                  <a:pt x="6491" y="3161"/>
                </a:lnTo>
                <a:lnTo>
                  <a:pt x="6492" y="3243"/>
                </a:lnTo>
                <a:lnTo>
                  <a:pt x="6492" y="3243"/>
                </a:lnTo>
                <a:lnTo>
                  <a:pt x="6491" y="3333"/>
                </a:lnTo>
                <a:lnTo>
                  <a:pt x="6487" y="3422"/>
                </a:lnTo>
                <a:lnTo>
                  <a:pt x="6481" y="3513"/>
                </a:lnTo>
                <a:lnTo>
                  <a:pt x="6473" y="3601"/>
                </a:lnTo>
                <a:lnTo>
                  <a:pt x="6462" y="3690"/>
                </a:lnTo>
                <a:lnTo>
                  <a:pt x="6449" y="3777"/>
                </a:lnTo>
                <a:lnTo>
                  <a:pt x="6433" y="3865"/>
                </a:lnTo>
                <a:lnTo>
                  <a:pt x="6415" y="3951"/>
                </a:lnTo>
                <a:lnTo>
                  <a:pt x="6394" y="4037"/>
                </a:lnTo>
                <a:lnTo>
                  <a:pt x="6371" y="4122"/>
                </a:lnTo>
                <a:lnTo>
                  <a:pt x="6346" y="4208"/>
                </a:lnTo>
                <a:lnTo>
                  <a:pt x="6318" y="4292"/>
                </a:lnTo>
                <a:lnTo>
                  <a:pt x="6288" y="4375"/>
                </a:lnTo>
                <a:lnTo>
                  <a:pt x="6256" y="4459"/>
                </a:lnTo>
                <a:lnTo>
                  <a:pt x="6222" y="4540"/>
                </a:lnTo>
                <a:lnTo>
                  <a:pt x="6185" y="4622"/>
                </a:lnTo>
                <a:lnTo>
                  <a:pt x="6185" y="4622"/>
                </a:lnTo>
                <a:lnTo>
                  <a:pt x="6147" y="4699"/>
                </a:lnTo>
                <a:lnTo>
                  <a:pt x="6106" y="4777"/>
                </a:lnTo>
                <a:lnTo>
                  <a:pt x="6065" y="4851"/>
                </a:lnTo>
                <a:lnTo>
                  <a:pt x="6021" y="4926"/>
                </a:lnTo>
                <a:lnTo>
                  <a:pt x="5975" y="4999"/>
                </a:lnTo>
                <a:lnTo>
                  <a:pt x="5928" y="5071"/>
                </a:lnTo>
                <a:lnTo>
                  <a:pt x="5877" y="5142"/>
                </a:lnTo>
                <a:lnTo>
                  <a:pt x="5826" y="5210"/>
                </a:lnTo>
                <a:lnTo>
                  <a:pt x="5826" y="5210"/>
                </a:lnTo>
                <a:close/>
                <a:moveTo>
                  <a:pt x="4425" y="6005"/>
                </a:moveTo>
                <a:lnTo>
                  <a:pt x="4425" y="6005"/>
                </a:lnTo>
                <a:lnTo>
                  <a:pt x="4355" y="6034"/>
                </a:lnTo>
                <a:lnTo>
                  <a:pt x="4284" y="6061"/>
                </a:lnTo>
                <a:lnTo>
                  <a:pt x="4213" y="6086"/>
                </a:lnTo>
                <a:lnTo>
                  <a:pt x="4141" y="6110"/>
                </a:lnTo>
                <a:lnTo>
                  <a:pt x="4068" y="6132"/>
                </a:lnTo>
                <a:lnTo>
                  <a:pt x="3996" y="6151"/>
                </a:lnTo>
                <a:lnTo>
                  <a:pt x="3922" y="6169"/>
                </a:lnTo>
                <a:lnTo>
                  <a:pt x="3849" y="6185"/>
                </a:lnTo>
                <a:lnTo>
                  <a:pt x="3775" y="6199"/>
                </a:lnTo>
                <a:lnTo>
                  <a:pt x="3701" y="6211"/>
                </a:lnTo>
                <a:lnTo>
                  <a:pt x="3626" y="6222"/>
                </a:lnTo>
                <a:lnTo>
                  <a:pt x="3550" y="6231"/>
                </a:lnTo>
                <a:lnTo>
                  <a:pt x="3475" y="6237"/>
                </a:lnTo>
                <a:lnTo>
                  <a:pt x="3399" y="6241"/>
                </a:lnTo>
                <a:lnTo>
                  <a:pt x="3322" y="6244"/>
                </a:lnTo>
                <a:lnTo>
                  <a:pt x="3246" y="6245"/>
                </a:lnTo>
                <a:lnTo>
                  <a:pt x="3246" y="6245"/>
                </a:lnTo>
                <a:lnTo>
                  <a:pt x="3169" y="6244"/>
                </a:lnTo>
                <a:lnTo>
                  <a:pt x="3092" y="6241"/>
                </a:lnTo>
                <a:lnTo>
                  <a:pt x="3016" y="6237"/>
                </a:lnTo>
                <a:lnTo>
                  <a:pt x="2940" y="6229"/>
                </a:lnTo>
                <a:lnTo>
                  <a:pt x="2864" y="6221"/>
                </a:lnTo>
                <a:lnTo>
                  <a:pt x="2789" y="6210"/>
                </a:lnTo>
                <a:lnTo>
                  <a:pt x="2714" y="6198"/>
                </a:lnTo>
                <a:lnTo>
                  <a:pt x="2641" y="6184"/>
                </a:lnTo>
                <a:lnTo>
                  <a:pt x="2568" y="6168"/>
                </a:lnTo>
                <a:lnTo>
                  <a:pt x="2496" y="6151"/>
                </a:lnTo>
                <a:lnTo>
                  <a:pt x="2425" y="6131"/>
                </a:lnTo>
                <a:lnTo>
                  <a:pt x="2354" y="6110"/>
                </a:lnTo>
                <a:lnTo>
                  <a:pt x="2284" y="6087"/>
                </a:lnTo>
                <a:lnTo>
                  <a:pt x="2214" y="6063"/>
                </a:lnTo>
                <a:lnTo>
                  <a:pt x="2145" y="6037"/>
                </a:lnTo>
                <a:lnTo>
                  <a:pt x="2078" y="6009"/>
                </a:lnTo>
                <a:lnTo>
                  <a:pt x="2010" y="5980"/>
                </a:lnTo>
                <a:lnTo>
                  <a:pt x="1944" y="5949"/>
                </a:lnTo>
                <a:lnTo>
                  <a:pt x="1879" y="5916"/>
                </a:lnTo>
                <a:lnTo>
                  <a:pt x="1815" y="5882"/>
                </a:lnTo>
                <a:lnTo>
                  <a:pt x="1751" y="5848"/>
                </a:lnTo>
                <a:lnTo>
                  <a:pt x="1689" y="5810"/>
                </a:lnTo>
                <a:lnTo>
                  <a:pt x="1628" y="5772"/>
                </a:lnTo>
                <a:lnTo>
                  <a:pt x="1568" y="5732"/>
                </a:lnTo>
                <a:lnTo>
                  <a:pt x="1507" y="5691"/>
                </a:lnTo>
                <a:lnTo>
                  <a:pt x="1449" y="5648"/>
                </a:lnTo>
                <a:lnTo>
                  <a:pt x="1391" y="5604"/>
                </a:lnTo>
                <a:lnTo>
                  <a:pt x="1336" y="5558"/>
                </a:lnTo>
                <a:lnTo>
                  <a:pt x="1281" y="5513"/>
                </a:lnTo>
                <a:lnTo>
                  <a:pt x="1226" y="5464"/>
                </a:lnTo>
                <a:lnTo>
                  <a:pt x="1173" y="5415"/>
                </a:lnTo>
                <a:lnTo>
                  <a:pt x="1123" y="5364"/>
                </a:lnTo>
                <a:lnTo>
                  <a:pt x="1072" y="5314"/>
                </a:lnTo>
                <a:lnTo>
                  <a:pt x="1023" y="5261"/>
                </a:lnTo>
                <a:lnTo>
                  <a:pt x="974" y="5207"/>
                </a:lnTo>
                <a:lnTo>
                  <a:pt x="928" y="5151"/>
                </a:lnTo>
                <a:lnTo>
                  <a:pt x="883" y="5096"/>
                </a:lnTo>
                <a:lnTo>
                  <a:pt x="839" y="5038"/>
                </a:lnTo>
                <a:lnTo>
                  <a:pt x="796" y="4980"/>
                </a:lnTo>
                <a:lnTo>
                  <a:pt x="755" y="4920"/>
                </a:lnTo>
                <a:lnTo>
                  <a:pt x="715" y="4860"/>
                </a:lnTo>
                <a:lnTo>
                  <a:pt x="676" y="4798"/>
                </a:lnTo>
                <a:lnTo>
                  <a:pt x="639" y="4737"/>
                </a:lnTo>
                <a:lnTo>
                  <a:pt x="604" y="4673"/>
                </a:lnTo>
                <a:lnTo>
                  <a:pt x="570" y="4609"/>
                </a:lnTo>
                <a:lnTo>
                  <a:pt x="538" y="4544"/>
                </a:lnTo>
                <a:lnTo>
                  <a:pt x="506" y="4478"/>
                </a:lnTo>
                <a:lnTo>
                  <a:pt x="477" y="4410"/>
                </a:lnTo>
                <a:lnTo>
                  <a:pt x="450" y="4343"/>
                </a:lnTo>
                <a:lnTo>
                  <a:pt x="423" y="4274"/>
                </a:lnTo>
                <a:lnTo>
                  <a:pt x="399" y="4204"/>
                </a:lnTo>
                <a:lnTo>
                  <a:pt x="376" y="4134"/>
                </a:lnTo>
                <a:lnTo>
                  <a:pt x="356" y="4063"/>
                </a:lnTo>
                <a:lnTo>
                  <a:pt x="335" y="3992"/>
                </a:lnTo>
                <a:lnTo>
                  <a:pt x="318" y="3920"/>
                </a:lnTo>
                <a:lnTo>
                  <a:pt x="303" y="3848"/>
                </a:lnTo>
                <a:lnTo>
                  <a:pt x="288" y="3774"/>
                </a:lnTo>
                <a:lnTo>
                  <a:pt x="276" y="3700"/>
                </a:lnTo>
                <a:lnTo>
                  <a:pt x="265" y="3625"/>
                </a:lnTo>
                <a:lnTo>
                  <a:pt x="257" y="3549"/>
                </a:lnTo>
                <a:lnTo>
                  <a:pt x="250" y="3473"/>
                </a:lnTo>
                <a:lnTo>
                  <a:pt x="245" y="3397"/>
                </a:lnTo>
                <a:lnTo>
                  <a:pt x="242" y="3320"/>
                </a:lnTo>
                <a:lnTo>
                  <a:pt x="241" y="3243"/>
                </a:lnTo>
                <a:lnTo>
                  <a:pt x="241" y="3243"/>
                </a:lnTo>
                <a:lnTo>
                  <a:pt x="242" y="3168"/>
                </a:lnTo>
                <a:lnTo>
                  <a:pt x="245" y="3094"/>
                </a:lnTo>
                <a:lnTo>
                  <a:pt x="250" y="3019"/>
                </a:lnTo>
                <a:lnTo>
                  <a:pt x="256" y="2944"/>
                </a:lnTo>
                <a:lnTo>
                  <a:pt x="264" y="2871"/>
                </a:lnTo>
                <a:lnTo>
                  <a:pt x="274" y="2797"/>
                </a:lnTo>
                <a:lnTo>
                  <a:pt x="286" y="2725"/>
                </a:lnTo>
                <a:lnTo>
                  <a:pt x="300" y="2652"/>
                </a:lnTo>
                <a:lnTo>
                  <a:pt x="315" y="2579"/>
                </a:lnTo>
                <a:lnTo>
                  <a:pt x="333" y="2508"/>
                </a:lnTo>
                <a:lnTo>
                  <a:pt x="351" y="2437"/>
                </a:lnTo>
                <a:lnTo>
                  <a:pt x="371" y="2366"/>
                </a:lnTo>
                <a:lnTo>
                  <a:pt x="394" y="2296"/>
                </a:lnTo>
                <a:lnTo>
                  <a:pt x="418" y="2227"/>
                </a:lnTo>
                <a:lnTo>
                  <a:pt x="444" y="2159"/>
                </a:lnTo>
                <a:lnTo>
                  <a:pt x="471" y="2090"/>
                </a:lnTo>
                <a:lnTo>
                  <a:pt x="500" y="2023"/>
                </a:lnTo>
                <a:lnTo>
                  <a:pt x="531" y="1956"/>
                </a:lnTo>
                <a:lnTo>
                  <a:pt x="563" y="1890"/>
                </a:lnTo>
                <a:lnTo>
                  <a:pt x="597" y="1825"/>
                </a:lnTo>
                <a:lnTo>
                  <a:pt x="633" y="1761"/>
                </a:lnTo>
                <a:lnTo>
                  <a:pt x="670" y="1699"/>
                </a:lnTo>
                <a:lnTo>
                  <a:pt x="709" y="1636"/>
                </a:lnTo>
                <a:lnTo>
                  <a:pt x="749" y="1575"/>
                </a:lnTo>
                <a:lnTo>
                  <a:pt x="791" y="1513"/>
                </a:lnTo>
                <a:lnTo>
                  <a:pt x="834" y="1454"/>
                </a:lnTo>
                <a:lnTo>
                  <a:pt x="879" y="1395"/>
                </a:lnTo>
                <a:lnTo>
                  <a:pt x="925" y="1337"/>
                </a:lnTo>
                <a:lnTo>
                  <a:pt x="973" y="1281"/>
                </a:lnTo>
                <a:lnTo>
                  <a:pt x="1023" y="1225"/>
                </a:lnTo>
                <a:lnTo>
                  <a:pt x="1073" y="1171"/>
                </a:lnTo>
                <a:lnTo>
                  <a:pt x="1125" y="1118"/>
                </a:lnTo>
                <a:lnTo>
                  <a:pt x="1125" y="1619"/>
                </a:lnTo>
                <a:lnTo>
                  <a:pt x="1125" y="1619"/>
                </a:lnTo>
                <a:lnTo>
                  <a:pt x="1126" y="1631"/>
                </a:lnTo>
                <a:lnTo>
                  <a:pt x="1127" y="1643"/>
                </a:lnTo>
                <a:lnTo>
                  <a:pt x="1130" y="1655"/>
                </a:lnTo>
                <a:lnTo>
                  <a:pt x="1135" y="1666"/>
                </a:lnTo>
                <a:lnTo>
                  <a:pt x="1139" y="1677"/>
                </a:lnTo>
                <a:lnTo>
                  <a:pt x="1146" y="1687"/>
                </a:lnTo>
                <a:lnTo>
                  <a:pt x="1153" y="1696"/>
                </a:lnTo>
                <a:lnTo>
                  <a:pt x="1160" y="1705"/>
                </a:lnTo>
                <a:lnTo>
                  <a:pt x="1168" y="1712"/>
                </a:lnTo>
                <a:lnTo>
                  <a:pt x="1178" y="1719"/>
                </a:lnTo>
                <a:lnTo>
                  <a:pt x="1188" y="1725"/>
                </a:lnTo>
                <a:lnTo>
                  <a:pt x="1199" y="1730"/>
                </a:lnTo>
                <a:lnTo>
                  <a:pt x="1209" y="1735"/>
                </a:lnTo>
                <a:lnTo>
                  <a:pt x="1221" y="1737"/>
                </a:lnTo>
                <a:lnTo>
                  <a:pt x="1234" y="1740"/>
                </a:lnTo>
                <a:lnTo>
                  <a:pt x="1246" y="1740"/>
                </a:lnTo>
                <a:lnTo>
                  <a:pt x="1246" y="1740"/>
                </a:lnTo>
                <a:lnTo>
                  <a:pt x="1258" y="1740"/>
                </a:lnTo>
                <a:lnTo>
                  <a:pt x="1270" y="1737"/>
                </a:lnTo>
                <a:lnTo>
                  <a:pt x="1282" y="1735"/>
                </a:lnTo>
                <a:lnTo>
                  <a:pt x="1293" y="1730"/>
                </a:lnTo>
                <a:lnTo>
                  <a:pt x="1303" y="1725"/>
                </a:lnTo>
                <a:lnTo>
                  <a:pt x="1313" y="1719"/>
                </a:lnTo>
                <a:lnTo>
                  <a:pt x="1323" y="1712"/>
                </a:lnTo>
                <a:lnTo>
                  <a:pt x="1331" y="1705"/>
                </a:lnTo>
                <a:lnTo>
                  <a:pt x="1338" y="1696"/>
                </a:lnTo>
                <a:lnTo>
                  <a:pt x="1346" y="1687"/>
                </a:lnTo>
                <a:lnTo>
                  <a:pt x="1352" y="1677"/>
                </a:lnTo>
                <a:lnTo>
                  <a:pt x="1357" y="1666"/>
                </a:lnTo>
                <a:lnTo>
                  <a:pt x="1360" y="1655"/>
                </a:lnTo>
                <a:lnTo>
                  <a:pt x="1364" y="1643"/>
                </a:lnTo>
                <a:lnTo>
                  <a:pt x="1365" y="1631"/>
                </a:lnTo>
                <a:lnTo>
                  <a:pt x="1366" y="1619"/>
                </a:lnTo>
                <a:lnTo>
                  <a:pt x="1366" y="870"/>
                </a:lnTo>
                <a:lnTo>
                  <a:pt x="1366" y="870"/>
                </a:lnTo>
                <a:lnTo>
                  <a:pt x="1365" y="858"/>
                </a:lnTo>
                <a:lnTo>
                  <a:pt x="1364" y="846"/>
                </a:lnTo>
                <a:lnTo>
                  <a:pt x="1360" y="834"/>
                </a:lnTo>
                <a:lnTo>
                  <a:pt x="1357" y="823"/>
                </a:lnTo>
                <a:lnTo>
                  <a:pt x="1352" y="812"/>
                </a:lnTo>
                <a:lnTo>
                  <a:pt x="1346" y="802"/>
                </a:lnTo>
                <a:lnTo>
                  <a:pt x="1338" y="793"/>
                </a:lnTo>
                <a:lnTo>
                  <a:pt x="1331" y="784"/>
                </a:lnTo>
                <a:lnTo>
                  <a:pt x="1323" y="777"/>
                </a:lnTo>
                <a:lnTo>
                  <a:pt x="1313" y="770"/>
                </a:lnTo>
                <a:lnTo>
                  <a:pt x="1303" y="764"/>
                </a:lnTo>
                <a:lnTo>
                  <a:pt x="1293" y="759"/>
                </a:lnTo>
                <a:lnTo>
                  <a:pt x="1282" y="754"/>
                </a:lnTo>
                <a:lnTo>
                  <a:pt x="1270" y="752"/>
                </a:lnTo>
                <a:lnTo>
                  <a:pt x="1258" y="749"/>
                </a:lnTo>
                <a:lnTo>
                  <a:pt x="1246" y="749"/>
                </a:lnTo>
                <a:lnTo>
                  <a:pt x="496" y="749"/>
                </a:lnTo>
                <a:lnTo>
                  <a:pt x="496" y="749"/>
                </a:lnTo>
                <a:lnTo>
                  <a:pt x="484" y="749"/>
                </a:lnTo>
                <a:lnTo>
                  <a:pt x="471" y="752"/>
                </a:lnTo>
                <a:lnTo>
                  <a:pt x="459" y="754"/>
                </a:lnTo>
                <a:lnTo>
                  <a:pt x="449" y="759"/>
                </a:lnTo>
                <a:lnTo>
                  <a:pt x="438" y="764"/>
                </a:lnTo>
                <a:lnTo>
                  <a:pt x="428" y="770"/>
                </a:lnTo>
                <a:lnTo>
                  <a:pt x="418" y="777"/>
                </a:lnTo>
                <a:lnTo>
                  <a:pt x="410" y="784"/>
                </a:lnTo>
                <a:lnTo>
                  <a:pt x="403" y="793"/>
                </a:lnTo>
                <a:lnTo>
                  <a:pt x="396" y="802"/>
                </a:lnTo>
                <a:lnTo>
                  <a:pt x="389" y="812"/>
                </a:lnTo>
                <a:lnTo>
                  <a:pt x="385" y="823"/>
                </a:lnTo>
                <a:lnTo>
                  <a:pt x="380" y="834"/>
                </a:lnTo>
                <a:lnTo>
                  <a:pt x="377" y="846"/>
                </a:lnTo>
                <a:lnTo>
                  <a:pt x="375" y="858"/>
                </a:lnTo>
                <a:lnTo>
                  <a:pt x="375" y="870"/>
                </a:lnTo>
                <a:lnTo>
                  <a:pt x="375" y="870"/>
                </a:lnTo>
                <a:lnTo>
                  <a:pt x="375" y="882"/>
                </a:lnTo>
                <a:lnTo>
                  <a:pt x="377" y="894"/>
                </a:lnTo>
                <a:lnTo>
                  <a:pt x="380" y="906"/>
                </a:lnTo>
                <a:lnTo>
                  <a:pt x="385" y="917"/>
                </a:lnTo>
                <a:lnTo>
                  <a:pt x="389" y="928"/>
                </a:lnTo>
                <a:lnTo>
                  <a:pt x="396" y="937"/>
                </a:lnTo>
                <a:lnTo>
                  <a:pt x="403" y="947"/>
                </a:lnTo>
                <a:lnTo>
                  <a:pt x="410" y="955"/>
                </a:lnTo>
                <a:lnTo>
                  <a:pt x="418" y="963"/>
                </a:lnTo>
                <a:lnTo>
                  <a:pt x="428" y="970"/>
                </a:lnTo>
                <a:lnTo>
                  <a:pt x="438" y="976"/>
                </a:lnTo>
                <a:lnTo>
                  <a:pt x="449" y="981"/>
                </a:lnTo>
                <a:lnTo>
                  <a:pt x="459" y="984"/>
                </a:lnTo>
                <a:lnTo>
                  <a:pt x="471" y="988"/>
                </a:lnTo>
                <a:lnTo>
                  <a:pt x="484" y="989"/>
                </a:lnTo>
                <a:lnTo>
                  <a:pt x="496" y="990"/>
                </a:lnTo>
                <a:lnTo>
                  <a:pt x="912" y="990"/>
                </a:lnTo>
                <a:lnTo>
                  <a:pt x="912" y="990"/>
                </a:lnTo>
                <a:lnTo>
                  <a:pt x="848" y="1059"/>
                </a:lnTo>
                <a:lnTo>
                  <a:pt x="785" y="1129"/>
                </a:lnTo>
                <a:lnTo>
                  <a:pt x="725" y="1201"/>
                </a:lnTo>
                <a:lnTo>
                  <a:pt x="666" y="1276"/>
                </a:lnTo>
                <a:lnTo>
                  <a:pt x="666" y="1276"/>
                </a:lnTo>
                <a:lnTo>
                  <a:pt x="615" y="1344"/>
                </a:lnTo>
                <a:lnTo>
                  <a:pt x="564" y="1415"/>
                </a:lnTo>
                <a:lnTo>
                  <a:pt x="517" y="1487"/>
                </a:lnTo>
                <a:lnTo>
                  <a:pt x="471" y="1560"/>
                </a:lnTo>
                <a:lnTo>
                  <a:pt x="427" y="1635"/>
                </a:lnTo>
                <a:lnTo>
                  <a:pt x="386" y="1709"/>
                </a:lnTo>
                <a:lnTo>
                  <a:pt x="345" y="1787"/>
                </a:lnTo>
                <a:lnTo>
                  <a:pt x="307" y="1864"/>
                </a:lnTo>
                <a:lnTo>
                  <a:pt x="307" y="1864"/>
                </a:lnTo>
                <a:lnTo>
                  <a:pt x="270" y="1946"/>
                </a:lnTo>
                <a:lnTo>
                  <a:pt x="236" y="2027"/>
                </a:lnTo>
                <a:lnTo>
                  <a:pt x="204" y="2111"/>
                </a:lnTo>
                <a:lnTo>
                  <a:pt x="174" y="2194"/>
                </a:lnTo>
                <a:lnTo>
                  <a:pt x="146" y="2278"/>
                </a:lnTo>
                <a:lnTo>
                  <a:pt x="121" y="2364"/>
                </a:lnTo>
                <a:lnTo>
                  <a:pt x="98" y="2449"/>
                </a:lnTo>
                <a:lnTo>
                  <a:pt x="77" y="2535"/>
                </a:lnTo>
                <a:lnTo>
                  <a:pt x="59" y="2621"/>
                </a:lnTo>
                <a:lnTo>
                  <a:pt x="43" y="2709"/>
                </a:lnTo>
                <a:lnTo>
                  <a:pt x="30" y="2796"/>
                </a:lnTo>
                <a:lnTo>
                  <a:pt x="19" y="2885"/>
                </a:lnTo>
                <a:lnTo>
                  <a:pt x="11" y="2973"/>
                </a:lnTo>
                <a:lnTo>
                  <a:pt x="5" y="3064"/>
                </a:lnTo>
                <a:lnTo>
                  <a:pt x="1" y="3153"/>
                </a:lnTo>
                <a:lnTo>
                  <a:pt x="0" y="3243"/>
                </a:lnTo>
                <a:lnTo>
                  <a:pt x="0" y="3243"/>
                </a:lnTo>
                <a:lnTo>
                  <a:pt x="1" y="3325"/>
                </a:lnTo>
                <a:lnTo>
                  <a:pt x="4" y="3407"/>
                </a:lnTo>
                <a:lnTo>
                  <a:pt x="8" y="3488"/>
                </a:lnTo>
                <a:lnTo>
                  <a:pt x="16" y="3568"/>
                </a:lnTo>
                <a:lnTo>
                  <a:pt x="25" y="3649"/>
                </a:lnTo>
                <a:lnTo>
                  <a:pt x="36" y="3730"/>
                </a:lnTo>
                <a:lnTo>
                  <a:pt x="49" y="3809"/>
                </a:lnTo>
                <a:lnTo>
                  <a:pt x="64" y="3889"/>
                </a:lnTo>
                <a:lnTo>
                  <a:pt x="81" y="3967"/>
                </a:lnTo>
                <a:lnTo>
                  <a:pt x="100" y="4045"/>
                </a:lnTo>
                <a:lnTo>
                  <a:pt x="121" y="4124"/>
                </a:lnTo>
                <a:lnTo>
                  <a:pt x="143" y="4201"/>
                </a:lnTo>
                <a:lnTo>
                  <a:pt x="169" y="4278"/>
                </a:lnTo>
                <a:lnTo>
                  <a:pt x="195" y="4355"/>
                </a:lnTo>
                <a:lnTo>
                  <a:pt x="224" y="4430"/>
                </a:lnTo>
                <a:lnTo>
                  <a:pt x="254" y="4506"/>
                </a:lnTo>
                <a:lnTo>
                  <a:pt x="254" y="4506"/>
                </a:lnTo>
                <a:lnTo>
                  <a:pt x="287" y="4578"/>
                </a:lnTo>
                <a:lnTo>
                  <a:pt x="320" y="4649"/>
                </a:lnTo>
                <a:lnTo>
                  <a:pt x="355" y="4719"/>
                </a:lnTo>
                <a:lnTo>
                  <a:pt x="391" y="4787"/>
                </a:lnTo>
                <a:lnTo>
                  <a:pt x="429" y="4856"/>
                </a:lnTo>
                <a:lnTo>
                  <a:pt x="468" y="4922"/>
                </a:lnTo>
                <a:lnTo>
                  <a:pt x="510" y="4989"/>
                </a:lnTo>
                <a:lnTo>
                  <a:pt x="552" y="5054"/>
                </a:lnTo>
                <a:lnTo>
                  <a:pt x="597" y="5119"/>
                </a:lnTo>
                <a:lnTo>
                  <a:pt x="643" y="5181"/>
                </a:lnTo>
                <a:lnTo>
                  <a:pt x="690" y="5243"/>
                </a:lnTo>
                <a:lnTo>
                  <a:pt x="739" y="5304"/>
                </a:lnTo>
                <a:lnTo>
                  <a:pt x="790" y="5363"/>
                </a:lnTo>
                <a:lnTo>
                  <a:pt x="842" y="5422"/>
                </a:lnTo>
                <a:lnTo>
                  <a:pt x="896" y="5480"/>
                </a:lnTo>
                <a:lnTo>
                  <a:pt x="950" y="5537"/>
                </a:lnTo>
                <a:lnTo>
                  <a:pt x="950" y="5537"/>
                </a:lnTo>
                <a:lnTo>
                  <a:pt x="1007" y="5591"/>
                </a:lnTo>
                <a:lnTo>
                  <a:pt x="1065" y="5645"/>
                </a:lnTo>
                <a:lnTo>
                  <a:pt x="1124" y="5697"/>
                </a:lnTo>
                <a:lnTo>
                  <a:pt x="1183" y="5748"/>
                </a:lnTo>
                <a:lnTo>
                  <a:pt x="1244" y="5797"/>
                </a:lnTo>
                <a:lnTo>
                  <a:pt x="1306" y="5844"/>
                </a:lnTo>
                <a:lnTo>
                  <a:pt x="1369" y="5890"/>
                </a:lnTo>
                <a:lnTo>
                  <a:pt x="1434" y="5934"/>
                </a:lnTo>
                <a:lnTo>
                  <a:pt x="1499" y="5976"/>
                </a:lnTo>
                <a:lnTo>
                  <a:pt x="1565" y="6019"/>
                </a:lnTo>
                <a:lnTo>
                  <a:pt x="1631" y="6057"/>
                </a:lnTo>
                <a:lnTo>
                  <a:pt x="1700" y="6096"/>
                </a:lnTo>
                <a:lnTo>
                  <a:pt x="1769" y="6132"/>
                </a:lnTo>
                <a:lnTo>
                  <a:pt x="1839" y="6167"/>
                </a:lnTo>
                <a:lnTo>
                  <a:pt x="1910" y="6199"/>
                </a:lnTo>
                <a:lnTo>
                  <a:pt x="1982" y="6232"/>
                </a:lnTo>
                <a:lnTo>
                  <a:pt x="1982" y="6232"/>
                </a:lnTo>
                <a:lnTo>
                  <a:pt x="2058" y="6262"/>
                </a:lnTo>
                <a:lnTo>
                  <a:pt x="2133" y="6291"/>
                </a:lnTo>
                <a:lnTo>
                  <a:pt x="2210" y="6317"/>
                </a:lnTo>
                <a:lnTo>
                  <a:pt x="2287" y="6343"/>
                </a:lnTo>
                <a:lnTo>
                  <a:pt x="2365" y="6366"/>
                </a:lnTo>
                <a:lnTo>
                  <a:pt x="2443" y="6386"/>
                </a:lnTo>
                <a:lnTo>
                  <a:pt x="2521" y="6405"/>
                </a:lnTo>
                <a:lnTo>
                  <a:pt x="2600" y="6422"/>
                </a:lnTo>
                <a:lnTo>
                  <a:pt x="2679" y="6437"/>
                </a:lnTo>
                <a:lnTo>
                  <a:pt x="2759" y="6450"/>
                </a:lnTo>
                <a:lnTo>
                  <a:pt x="2840" y="6461"/>
                </a:lnTo>
                <a:lnTo>
                  <a:pt x="2920" y="6470"/>
                </a:lnTo>
                <a:lnTo>
                  <a:pt x="3001" y="6478"/>
                </a:lnTo>
                <a:lnTo>
                  <a:pt x="3082" y="6482"/>
                </a:lnTo>
                <a:lnTo>
                  <a:pt x="3164" y="6485"/>
                </a:lnTo>
                <a:lnTo>
                  <a:pt x="3246" y="6486"/>
                </a:lnTo>
                <a:lnTo>
                  <a:pt x="3246" y="6486"/>
                </a:lnTo>
                <a:lnTo>
                  <a:pt x="3329" y="6485"/>
                </a:lnTo>
                <a:lnTo>
                  <a:pt x="3411" y="6482"/>
                </a:lnTo>
                <a:lnTo>
                  <a:pt x="3493" y="6478"/>
                </a:lnTo>
                <a:lnTo>
                  <a:pt x="3575" y="6470"/>
                </a:lnTo>
                <a:lnTo>
                  <a:pt x="3656" y="6461"/>
                </a:lnTo>
                <a:lnTo>
                  <a:pt x="3737" y="6450"/>
                </a:lnTo>
                <a:lnTo>
                  <a:pt x="3818" y="6437"/>
                </a:lnTo>
                <a:lnTo>
                  <a:pt x="3897" y="6421"/>
                </a:lnTo>
                <a:lnTo>
                  <a:pt x="3977" y="6404"/>
                </a:lnTo>
                <a:lnTo>
                  <a:pt x="4056" y="6385"/>
                </a:lnTo>
                <a:lnTo>
                  <a:pt x="4135" y="6363"/>
                </a:lnTo>
                <a:lnTo>
                  <a:pt x="4213" y="6340"/>
                </a:lnTo>
                <a:lnTo>
                  <a:pt x="4290" y="6315"/>
                </a:lnTo>
                <a:lnTo>
                  <a:pt x="4367" y="6287"/>
                </a:lnTo>
                <a:lnTo>
                  <a:pt x="4443" y="6258"/>
                </a:lnTo>
                <a:lnTo>
                  <a:pt x="4519" y="6227"/>
                </a:lnTo>
                <a:lnTo>
                  <a:pt x="4519" y="6227"/>
                </a:lnTo>
                <a:lnTo>
                  <a:pt x="4531" y="6221"/>
                </a:lnTo>
                <a:lnTo>
                  <a:pt x="4541" y="6215"/>
                </a:lnTo>
                <a:lnTo>
                  <a:pt x="4551" y="6208"/>
                </a:lnTo>
                <a:lnTo>
                  <a:pt x="4559" y="6199"/>
                </a:lnTo>
                <a:lnTo>
                  <a:pt x="4566" y="6191"/>
                </a:lnTo>
                <a:lnTo>
                  <a:pt x="4574" y="6181"/>
                </a:lnTo>
                <a:lnTo>
                  <a:pt x="4580" y="6172"/>
                </a:lnTo>
                <a:lnTo>
                  <a:pt x="4584" y="6161"/>
                </a:lnTo>
                <a:lnTo>
                  <a:pt x="4588" y="6150"/>
                </a:lnTo>
                <a:lnTo>
                  <a:pt x="4590" y="6139"/>
                </a:lnTo>
                <a:lnTo>
                  <a:pt x="4593" y="6127"/>
                </a:lnTo>
                <a:lnTo>
                  <a:pt x="4593" y="6115"/>
                </a:lnTo>
                <a:lnTo>
                  <a:pt x="4593" y="6104"/>
                </a:lnTo>
                <a:lnTo>
                  <a:pt x="4590" y="6092"/>
                </a:lnTo>
                <a:lnTo>
                  <a:pt x="4588" y="6080"/>
                </a:lnTo>
                <a:lnTo>
                  <a:pt x="4583" y="6069"/>
                </a:lnTo>
                <a:lnTo>
                  <a:pt x="4583" y="6069"/>
                </a:lnTo>
                <a:lnTo>
                  <a:pt x="4578" y="6057"/>
                </a:lnTo>
                <a:lnTo>
                  <a:pt x="4571" y="6047"/>
                </a:lnTo>
                <a:lnTo>
                  <a:pt x="4564" y="6038"/>
                </a:lnTo>
                <a:lnTo>
                  <a:pt x="4557" y="6029"/>
                </a:lnTo>
                <a:lnTo>
                  <a:pt x="4547" y="6021"/>
                </a:lnTo>
                <a:lnTo>
                  <a:pt x="4537" y="6015"/>
                </a:lnTo>
                <a:lnTo>
                  <a:pt x="4528" y="6009"/>
                </a:lnTo>
                <a:lnTo>
                  <a:pt x="4517" y="6004"/>
                </a:lnTo>
                <a:lnTo>
                  <a:pt x="4506" y="6001"/>
                </a:lnTo>
                <a:lnTo>
                  <a:pt x="4495" y="5998"/>
                </a:lnTo>
                <a:lnTo>
                  <a:pt x="4483" y="5996"/>
                </a:lnTo>
                <a:lnTo>
                  <a:pt x="4472" y="5996"/>
                </a:lnTo>
                <a:lnTo>
                  <a:pt x="4460" y="5996"/>
                </a:lnTo>
                <a:lnTo>
                  <a:pt x="4448" y="5998"/>
                </a:lnTo>
                <a:lnTo>
                  <a:pt x="4436" y="6001"/>
                </a:lnTo>
                <a:lnTo>
                  <a:pt x="4425" y="6005"/>
                </a:lnTo>
                <a:lnTo>
                  <a:pt x="4425" y="6005"/>
                </a:lnTo>
                <a:close/>
                <a:moveTo>
                  <a:pt x="5367" y="3492"/>
                </a:moveTo>
                <a:lnTo>
                  <a:pt x="5367" y="3492"/>
                </a:lnTo>
                <a:lnTo>
                  <a:pt x="5366" y="3537"/>
                </a:lnTo>
                <a:lnTo>
                  <a:pt x="5362" y="3582"/>
                </a:lnTo>
                <a:lnTo>
                  <a:pt x="5357" y="3625"/>
                </a:lnTo>
                <a:lnTo>
                  <a:pt x="5349" y="3668"/>
                </a:lnTo>
                <a:lnTo>
                  <a:pt x="5339" y="3710"/>
                </a:lnTo>
                <a:lnTo>
                  <a:pt x="5327" y="3751"/>
                </a:lnTo>
                <a:lnTo>
                  <a:pt x="5314" y="3791"/>
                </a:lnTo>
                <a:lnTo>
                  <a:pt x="5298" y="3831"/>
                </a:lnTo>
                <a:lnTo>
                  <a:pt x="5281" y="3869"/>
                </a:lnTo>
                <a:lnTo>
                  <a:pt x="5262" y="3907"/>
                </a:lnTo>
                <a:lnTo>
                  <a:pt x="5240" y="3944"/>
                </a:lnTo>
                <a:lnTo>
                  <a:pt x="5219" y="3979"/>
                </a:lnTo>
                <a:lnTo>
                  <a:pt x="5193" y="4013"/>
                </a:lnTo>
                <a:lnTo>
                  <a:pt x="5168" y="4045"/>
                </a:lnTo>
                <a:lnTo>
                  <a:pt x="5140" y="4078"/>
                </a:lnTo>
                <a:lnTo>
                  <a:pt x="5111" y="4108"/>
                </a:lnTo>
                <a:lnTo>
                  <a:pt x="5081" y="4137"/>
                </a:lnTo>
                <a:lnTo>
                  <a:pt x="5050" y="4163"/>
                </a:lnTo>
                <a:lnTo>
                  <a:pt x="5017" y="4190"/>
                </a:lnTo>
                <a:lnTo>
                  <a:pt x="4982" y="4214"/>
                </a:lnTo>
                <a:lnTo>
                  <a:pt x="4947" y="4237"/>
                </a:lnTo>
                <a:lnTo>
                  <a:pt x="4911" y="4257"/>
                </a:lnTo>
                <a:lnTo>
                  <a:pt x="4874" y="4277"/>
                </a:lnTo>
                <a:lnTo>
                  <a:pt x="4835" y="4295"/>
                </a:lnTo>
                <a:lnTo>
                  <a:pt x="4795" y="4310"/>
                </a:lnTo>
                <a:lnTo>
                  <a:pt x="4754" y="4324"/>
                </a:lnTo>
                <a:lnTo>
                  <a:pt x="4713" y="4336"/>
                </a:lnTo>
                <a:lnTo>
                  <a:pt x="4671" y="4345"/>
                </a:lnTo>
                <a:lnTo>
                  <a:pt x="4629" y="4353"/>
                </a:lnTo>
                <a:lnTo>
                  <a:pt x="4586" y="4359"/>
                </a:lnTo>
                <a:lnTo>
                  <a:pt x="4541" y="4362"/>
                </a:lnTo>
                <a:lnTo>
                  <a:pt x="4496" y="4363"/>
                </a:lnTo>
                <a:lnTo>
                  <a:pt x="1746" y="4363"/>
                </a:lnTo>
                <a:lnTo>
                  <a:pt x="1746" y="4363"/>
                </a:lnTo>
                <a:lnTo>
                  <a:pt x="1713" y="4362"/>
                </a:lnTo>
                <a:lnTo>
                  <a:pt x="1682" y="4360"/>
                </a:lnTo>
                <a:lnTo>
                  <a:pt x="1651" y="4356"/>
                </a:lnTo>
                <a:lnTo>
                  <a:pt x="1621" y="4350"/>
                </a:lnTo>
                <a:lnTo>
                  <a:pt x="1590" y="4343"/>
                </a:lnTo>
                <a:lnTo>
                  <a:pt x="1562" y="4334"/>
                </a:lnTo>
                <a:lnTo>
                  <a:pt x="1533" y="4325"/>
                </a:lnTo>
                <a:lnTo>
                  <a:pt x="1505" y="4314"/>
                </a:lnTo>
                <a:lnTo>
                  <a:pt x="1477" y="4302"/>
                </a:lnTo>
                <a:lnTo>
                  <a:pt x="1451" y="4287"/>
                </a:lnTo>
                <a:lnTo>
                  <a:pt x="1424" y="4273"/>
                </a:lnTo>
                <a:lnTo>
                  <a:pt x="1399" y="4256"/>
                </a:lnTo>
                <a:lnTo>
                  <a:pt x="1375" y="4239"/>
                </a:lnTo>
                <a:lnTo>
                  <a:pt x="1352" y="4221"/>
                </a:lnTo>
                <a:lnTo>
                  <a:pt x="1329" y="4202"/>
                </a:lnTo>
                <a:lnTo>
                  <a:pt x="1307" y="4181"/>
                </a:lnTo>
                <a:lnTo>
                  <a:pt x="1287" y="4160"/>
                </a:lnTo>
                <a:lnTo>
                  <a:pt x="1267" y="4137"/>
                </a:lnTo>
                <a:lnTo>
                  <a:pt x="1248" y="4114"/>
                </a:lnTo>
                <a:lnTo>
                  <a:pt x="1231" y="4089"/>
                </a:lnTo>
                <a:lnTo>
                  <a:pt x="1215" y="4063"/>
                </a:lnTo>
                <a:lnTo>
                  <a:pt x="1200" y="4038"/>
                </a:lnTo>
                <a:lnTo>
                  <a:pt x="1187" y="4012"/>
                </a:lnTo>
                <a:lnTo>
                  <a:pt x="1174" y="3984"/>
                </a:lnTo>
                <a:lnTo>
                  <a:pt x="1162" y="3956"/>
                </a:lnTo>
                <a:lnTo>
                  <a:pt x="1153" y="3927"/>
                </a:lnTo>
                <a:lnTo>
                  <a:pt x="1144" y="3897"/>
                </a:lnTo>
                <a:lnTo>
                  <a:pt x="1137" y="3867"/>
                </a:lnTo>
                <a:lnTo>
                  <a:pt x="1132" y="3837"/>
                </a:lnTo>
                <a:lnTo>
                  <a:pt x="1129" y="3806"/>
                </a:lnTo>
                <a:lnTo>
                  <a:pt x="1126" y="3774"/>
                </a:lnTo>
                <a:lnTo>
                  <a:pt x="1125" y="3743"/>
                </a:lnTo>
                <a:lnTo>
                  <a:pt x="1125" y="3743"/>
                </a:lnTo>
                <a:lnTo>
                  <a:pt x="1126" y="3714"/>
                </a:lnTo>
                <a:lnTo>
                  <a:pt x="1127" y="3686"/>
                </a:lnTo>
                <a:lnTo>
                  <a:pt x="1131" y="3659"/>
                </a:lnTo>
                <a:lnTo>
                  <a:pt x="1135" y="3631"/>
                </a:lnTo>
                <a:lnTo>
                  <a:pt x="1141" y="3604"/>
                </a:lnTo>
                <a:lnTo>
                  <a:pt x="1148" y="3577"/>
                </a:lnTo>
                <a:lnTo>
                  <a:pt x="1155" y="3551"/>
                </a:lnTo>
                <a:lnTo>
                  <a:pt x="1165" y="3526"/>
                </a:lnTo>
                <a:lnTo>
                  <a:pt x="1174" y="3501"/>
                </a:lnTo>
                <a:lnTo>
                  <a:pt x="1185" y="3476"/>
                </a:lnTo>
                <a:lnTo>
                  <a:pt x="1197" y="3451"/>
                </a:lnTo>
                <a:lnTo>
                  <a:pt x="1211" y="3429"/>
                </a:lnTo>
                <a:lnTo>
                  <a:pt x="1225" y="3406"/>
                </a:lnTo>
                <a:lnTo>
                  <a:pt x="1240" y="3384"/>
                </a:lnTo>
                <a:lnTo>
                  <a:pt x="1255" y="3362"/>
                </a:lnTo>
                <a:lnTo>
                  <a:pt x="1272" y="3342"/>
                </a:lnTo>
                <a:lnTo>
                  <a:pt x="1290" y="3323"/>
                </a:lnTo>
                <a:lnTo>
                  <a:pt x="1308" y="3303"/>
                </a:lnTo>
                <a:lnTo>
                  <a:pt x="1328" y="3284"/>
                </a:lnTo>
                <a:lnTo>
                  <a:pt x="1348" y="3267"/>
                </a:lnTo>
                <a:lnTo>
                  <a:pt x="1369" y="3250"/>
                </a:lnTo>
                <a:lnTo>
                  <a:pt x="1390" y="3235"/>
                </a:lnTo>
                <a:lnTo>
                  <a:pt x="1412" y="3220"/>
                </a:lnTo>
                <a:lnTo>
                  <a:pt x="1435" y="3206"/>
                </a:lnTo>
                <a:lnTo>
                  <a:pt x="1459" y="3192"/>
                </a:lnTo>
                <a:lnTo>
                  <a:pt x="1483" y="3182"/>
                </a:lnTo>
                <a:lnTo>
                  <a:pt x="1507" y="3170"/>
                </a:lnTo>
                <a:lnTo>
                  <a:pt x="1533" y="3160"/>
                </a:lnTo>
                <a:lnTo>
                  <a:pt x="1558" y="3151"/>
                </a:lnTo>
                <a:lnTo>
                  <a:pt x="1584" y="3144"/>
                </a:lnTo>
                <a:lnTo>
                  <a:pt x="1611" y="3137"/>
                </a:lnTo>
                <a:lnTo>
                  <a:pt x="1639" y="3132"/>
                </a:lnTo>
                <a:lnTo>
                  <a:pt x="1639" y="3132"/>
                </a:lnTo>
                <a:lnTo>
                  <a:pt x="1633" y="3097"/>
                </a:lnTo>
                <a:lnTo>
                  <a:pt x="1628" y="3064"/>
                </a:lnTo>
                <a:lnTo>
                  <a:pt x="1625" y="3029"/>
                </a:lnTo>
                <a:lnTo>
                  <a:pt x="1625" y="2994"/>
                </a:lnTo>
                <a:lnTo>
                  <a:pt x="1625" y="2994"/>
                </a:lnTo>
                <a:lnTo>
                  <a:pt x="1627" y="2955"/>
                </a:lnTo>
                <a:lnTo>
                  <a:pt x="1629" y="2917"/>
                </a:lnTo>
                <a:lnTo>
                  <a:pt x="1634" y="2880"/>
                </a:lnTo>
                <a:lnTo>
                  <a:pt x="1640" y="2843"/>
                </a:lnTo>
                <a:lnTo>
                  <a:pt x="1648" y="2807"/>
                </a:lnTo>
                <a:lnTo>
                  <a:pt x="1659" y="2772"/>
                </a:lnTo>
                <a:lnTo>
                  <a:pt x="1670" y="2737"/>
                </a:lnTo>
                <a:lnTo>
                  <a:pt x="1683" y="2703"/>
                </a:lnTo>
                <a:lnTo>
                  <a:pt x="1699" y="2671"/>
                </a:lnTo>
                <a:lnTo>
                  <a:pt x="1715" y="2638"/>
                </a:lnTo>
                <a:lnTo>
                  <a:pt x="1733" y="2607"/>
                </a:lnTo>
                <a:lnTo>
                  <a:pt x="1753" y="2577"/>
                </a:lnTo>
                <a:lnTo>
                  <a:pt x="1774" y="2548"/>
                </a:lnTo>
                <a:lnTo>
                  <a:pt x="1795" y="2519"/>
                </a:lnTo>
                <a:lnTo>
                  <a:pt x="1820" y="2492"/>
                </a:lnTo>
                <a:lnTo>
                  <a:pt x="1844" y="2467"/>
                </a:lnTo>
                <a:lnTo>
                  <a:pt x="1870" y="2442"/>
                </a:lnTo>
                <a:lnTo>
                  <a:pt x="1897" y="2419"/>
                </a:lnTo>
                <a:lnTo>
                  <a:pt x="1924" y="2396"/>
                </a:lnTo>
                <a:lnTo>
                  <a:pt x="1955" y="2376"/>
                </a:lnTo>
                <a:lnTo>
                  <a:pt x="1985" y="2356"/>
                </a:lnTo>
                <a:lnTo>
                  <a:pt x="2016" y="2338"/>
                </a:lnTo>
                <a:lnTo>
                  <a:pt x="2047" y="2321"/>
                </a:lnTo>
                <a:lnTo>
                  <a:pt x="2081" y="2307"/>
                </a:lnTo>
                <a:lnTo>
                  <a:pt x="2115" y="2294"/>
                </a:lnTo>
                <a:lnTo>
                  <a:pt x="2149" y="2282"/>
                </a:lnTo>
                <a:lnTo>
                  <a:pt x="2185" y="2272"/>
                </a:lnTo>
                <a:lnTo>
                  <a:pt x="2221" y="2264"/>
                </a:lnTo>
                <a:lnTo>
                  <a:pt x="2257" y="2256"/>
                </a:lnTo>
                <a:lnTo>
                  <a:pt x="2295" y="2252"/>
                </a:lnTo>
                <a:lnTo>
                  <a:pt x="2332" y="2249"/>
                </a:lnTo>
                <a:lnTo>
                  <a:pt x="2371" y="2248"/>
                </a:lnTo>
                <a:lnTo>
                  <a:pt x="2371" y="2248"/>
                </a:lnTo>
                <a:lnTo>
                  <a:pt x="2415" y="2249"/>
                </a:lnTo>
                <a:lnTo>
                  <a:pt x="2459" y="2253"/>
                </a:lnTo>
                <a:lnTo>
                  <a:pt x="2501" y="2260"/>
                </a:lnTo>
                <a:lnTo>
                  <a:pt x="2543" y="2268"/>
                </a:lnTo>
                <a:lnTo>
                  <a:pt x="2585" y="2280"/>
                </a:lnTo>
                <a:lnTo>
                  <a:pt x="2626" y="2294"/>
                </a:lnTo>
                <a:lnTo>
                  <a:pt x="2666" y="2311"/>
                </a:lnTo>
                <a:lnTo>
                  <a:pt x="2706" y="2329"/>
                </a:lnTo>
                <a:lnTo>
                  <a:pt x="2706" y="2329"/>
                </a:lnTo>
                <a:lnTo>
                  <a:pt x="2719" y="2296"/>
                </a:lnTo>
                <a:lnTo>
                  <a:pt x="2735" y="2264"/>
                </a:lnTo>
                <a:lnTo>
                  <a:pt x="2750" y="2231"/>
                </a:lnTo>
                <a:lnTo>
                  <a:pt x="2767" y="2200"/>
                </a:lnTo>
                <a:lnTo>
                  <a:pt x="2785" y="2168"/>
                </a:lnTo>
                <a:lnTo>
                  <a:pt x="2805" y="2138"/>
                </a:lnTo>
                <a:lnTo>
                  <a:pt x="2824" y="2108"/>
                </a:lnTo>
                <a:lnTo>
                  <a:pt x="2844" y="2079"/>
                </a:lnTo>
                <a:lnTo>
                  <a:pt x="2866" y="2050"/>
                </a:lnTo>
                <a:lnTo>
                  <a:pt x="2889" y="2023"/>
                </a:lnTo>
                <a:lnTo>
                  <a:pt x="2913" y="1995"/>
                </a:lnTo>
                <a:lnTo>
                  <a:pt x="2937" y="1968"/>
                </a:lnTo>
                <a:lnTo>
                  <a:pt x="2963" y="1943"/>
                </a:lnTo>
                <a:lnTo>
                  <a:pt x="2989" y="1918"/>
                </a:lnTo>
                <a:lnTo>
                  <a:pt x="3016" y="1894"/>
                </a:lnTo>
                <a:lnTo>
                  <a:pt x="3043" y="1871"/>
                </a:lnTo>
                <a:lnTo>
                  <a:pt x="3043" y="1871"/>
                </a:lnTo>
                <a:lnTo>
                  <a:pt x="3082" y="1842"/>
                </a:lnTo>
                <a:lnTo>
                  <a:pt x="3121" y="1814"/>
                </a:lnTo>
                <a:lnTo>
                  <a:pt x="3160" y="1789"/>
                </a:lnTo>
                <a:lnTo>
                  <a:pt x="3201" y="1765"/>
                </a:lnTo>
                <a:lnTo>
                  <a:pt x="3244" y="1743"/>
                </a:lnTo>
                <a:lnTo>
                  <a:pt x="3286" y="1723"/>
                </a:lnTo>
                <a:lnTo>
                  <a:pt x="3329" y="1705"/>
                </a:lnTo>
                <a:lnTo>
                  <a:pt x="3374" y="1688"/>
                </a:lnTo>
                <a:lnTo>
                  <a:pt x="3418" y="1673"/>
                </a:lnTo>
                <a:lnTo>
                  <a:pt x="3464" y="1660"/>
                </a:lnTo>
                <a:lnTo>
                  <a:pt x="3510" y="1649"/>
                </a:lnTo>
                <a:lnTo>
                  <a:pt x="3557" y="1640"/>
                </a:lnTo>
                <a:lnTo>
                  <a:pt x="3604" y="1632"/>
                </a:lnTo>
                <a:lnTo>
                  <a:pt x="3651" y="1628"/>
                </a:lnTo>
                <a:lnTo>
                  <a:pt x="3698" y="1625"/>
                </a:lnTo>
                <a:lnTo>
                  <a:pt x="3746" y="1624"/>
                </a:lnTo>
                <a:lnTo>
                  <a:pt x="3746" y="1624"/>
                </a:lnTo>
                <a:lnTo>
                  <a:pt x="3802" y="1625"/>
                </a:lnTo>
                <a:lnTo>
                  <a:pt x="3857" y="1629"/>
                </a:lnTo>
                <a:lnTo>
                  <a:pt x="3913" y="1636"/>
                </a:lnTo>
                <a:lnTo>
                  <a:pt x="3967" y="1646"/>
                </a:lnTo>
                <a:lnTo>
                  <a:pt x="4020" y="1658"/>
                </a:lnTo>
                <a:lnTo>
                  <a:pt x="4073" y="1672"/>
                </a:lnTo>
                <a:lnTo>
                  <a:pt x="4124" y="1689"/>
                </a:lnTo>
                <a:lnTo>
                  <a:pt x="4176" y="1708"/>
                </a:lnTo>
                <a:lnTo>
                  <a:pt x="4225" y="1730"/>
                </a:lnTo>
                <a:lnTo>
                  <a:pt x="4273" y="1755"/>
                </a:lnTo>
                <a:lnTo>
                  <a:pt x="4322" y="1782"/>
                </a:lnTo>
                <a:lnTo>
                  <a:pt x="4367" y="1811"/>
                </a:lnTo>
                <a:lnTo>
                  <a:pt x="4412" y="1843"/>
                </a:lnTo>
                <a:lnTo>
                  <a:pt x="4457" y="1877"/>
                </a:lnTo>
                <a:lnTo>
                  <a:pt x="4498" y="1913"/>
                </a:lnTo>
                <a:lnTo>
                  <a:pt x="4539" y="1952"/>
                </a:lnTo>
                <a:lnTo>
                  <a:pt x="4539" y="1952"/>
                </a:lnTo>
                <a:lnTo>
                  <a:pt x="4576" y="1990"/>
                </a:lnTo>
                <a:lnTo>
                  <a:pt x="4611" y="2030"/>
                </a:lnTo>
                <a:lnTo>
                  <a:pt x="4644" y="2072"/>
                </a:lnTo>
                <a:lnTo>
                  <a:pt x="4674" y="2115"/>
                </a:lnTo>
                <a:lnTo>
                  <a:pt x="4703" y="2159"/>
                </a:lnTo>
                <a:lnTo>
                  <a:pt x="4729" y="2205"/>
                </a:lnTo>
                <a:lnTo>
                  <a:pt x="4753" y="2250"/>
                </a:lnTo>
                <a:lnTo>
                  <a:pt x="4775" y="2297"/>
                </a:lnTo>
                <a:lnTo>
                  <a:pt x="4794" y="2347"/>
                </a:lnTo>
                <a:lnTo>
                  <a:pt x="4812" y="2395"/>
                </a:lnTo>
                <a:lnTo>
                  <a:pt x="4827" y="2446"/>
                </a:lnTo>
                <a:lnTo>
                  <a:pt x="4840" y="2496"/>
                </a:lnTo>
                <a:lnTo>
                  <a:pt x="4850" y="2548"/>
                </a:lnTo>
                <a:lnTo>
                  <a:pt x="4858" y="2600"/>
                </a:lnTo>
                <a:lnTo>
                  <a:pt x="4863" y="2653"/>
                </a:lnTo>
                <a:lnTo>
                  <a:pt x="4867" y="2706"/>
                </a:lnTo>
                <a:lnTo>
                  <a:pt x="4867" y="2706"/>
                </a:lnTo>
                <a:lnTo>
                  <a:pt x="4894" y="2720"/>
                </a:lnTo>
                <a:lnTo>
                  <a:pt x="4922" y="2735"/>
                </a:lnTo>
                <a:lnTo>
                  <a:pt x="4949" y="2750"/>
                </a:lnTo>
                <a:lnTo>
                  <a:pt x="4975" y="2767"/>
                </a:lnTo>
                <a:lnTo>
                  <a:pt x="5000" y="2784"/>
                </a:lnTo>
                <a:lnTo>
                  <a:pt x="5025" y="2802"/>
                </a:lnTo>
                <a:lnTo>
                  <a:pt x="5049" y="2821"/>
                </a:lnTo>
                <a:lnTo>
                  <a:pt x="5073" y="2842"/>
                </a:lnTo>
                <a:lnTo>
                  <a:pt x="5094" y="2862"/>
                </a:lnTo>
                <a:lnTo>
                  <a:pt x="5116" y="2883"/>
                </a:lnTo>
                <a:lnTo>
                  <a:pt x="5138" y="2906"/>
                </a:lnTo>
                <a:lnTo>
                  <a:pt x="5157" y="2929"/>
                </a:lnTo>
                <a:lnTo>
                  <a:pt x="5178" y="2951"/>
                </a:lnTo>
                <a:lnTo>
                  <a:pt x="5196" y="2976"/>
                </a:lnTo>
                <a:lnTo>
                  <a:pt x="5214" y="3001"/>
                </a:lnTo>
                <a:lnTo>
                  <a:pt x="5231" y="3026"/>
                </a:lnTo>
                <a:lnTo>
                  <a:pt x="5246" y="3051"/>
                </a:lnTo>
                <a:lnTo>
                  <a:pt x="5261" y="3078"/>
                </a:lnTo>
                <a:lnTo>
                  <a:pt x="5275" y="3104"/>
                </a:lnTo>
                <a:lnTo>
                  <a:pt x="5289" y="3132"/>
                </a:lnTo>
                <a:lnTo>
                  <a:pt x="5301" y="3160"/>
                </a:lnTo>
                <a:lnTo>
                  <a:pt x="5312" y="3189"/>
                </a:lnTo>
                <a:lnTo>
                  <a:pt x="5322" y="3218"/>
                </a:lnTo>
                <a:lnTo>
                  <a:pt x="5331" y="3247"/>
                </a:lnTo>
                <a:lnTo>
                  <a:pt x="5339" y="3277"/>
                </a:lnTo>
                <a:lnTo>
                  <a:pt x="5346" y="3307"/>
                </a:lnTo>
                <a:lnTo>
                  <a:pt x="5353" y="3337"/>
                </a:lnTo>
                <a:lnTo>
                  <a:pt x="5357" y="3367"/>
                </a:lnTo>
                <a:lnTo>
                  <a:pt x="5362" y="3398"/>
                </a:lnTo>
                <a:lnTo>
                  <a:pt x="5365" y="3430"/>
                </a:lnTo>
                <a:lnTo>
                  <a:pt x="5367" y="3461"/>
                </a:lnTo>
                <a:lnTo>
                  <a:pt x="5367" y="3492"/>
                </a:lnTo>
                <a:lnTo>
                  <a:pt x="5367" y="3492"/>
                </a:lnTo>
                <a:close/>
                <a:moveTo>
                  <a:pt x="5126" y="3492"/>
                </a:moveTo>
                <a:lnTo>
                  <a:pt x="5126" y="3492"/>
                </a:lnTo>
                <a:lnTo>
                  <a:pt x="5126" y="3468"/>
                </a:lnTo>
                <a:lnTo>
                  <a:pt x="5123" y="3443"/>
                </a:lnTo>
                <a:lnTo>
                  <a:pt x="5121" y="3419"/>
                </a:lnTo>
                <a:lnTo>
                  <a:pt x="5119" y="3395"/>
                </a:lnTo>
                <a:lnTo>
                  <a:pt x="5114" y="3371"/>
                </a:lnTo>
                <a:lnTo>
                  <a:pt x="5109" y="3347"/>
                </a:lnTo>
                <a:lnTo>
                  <a:pt x="5103" y="3324"/>
                </a:lnTo>
                <a:lnTo>
                  <a:pt x="5096" y="3300"/>
                </a:lnTo>
                <a:lnTo>
                  <a:pt x="5087" y="3278"/>
                </a:lnTo>
                <a:lnTo>
                  <a:pt x="5079" y="3255"/>
                </a:lnTo>
                <a:lnTo>
                  <a:pt x="5069" y="3233"/>
                </a:lnTo>
                <a:lnTo>
                  <a:pt x="5060" y="3212"/>
                </a:lnTo>
                <a:lnTo>
                  <a:pt x="5047" y="3190"/>
                </a:lnTo>
                <a:lnTo>
                  <a:pt x="5035" y="3170"/>
                </a:lnTo>
                <a:lnTo>
                  <a:pt x="5023" y="3149"/>
                </a:lnTo>
                <a:lnTo>
                  <a:pt x="5010" y="3130"/>
                </a:lnTo>
                <a:lnTo>
                  <a:pt x="4996" y="3110"/>
                </a:lnTo>
                <a:lnTo>
                  <a:pt x="4980" y="3091"/>
                </a:lnTo>
                <a:lnTo>
                  <a:pt x="4964" y="3073"/>
                </a:lnTo>
                <a:lnTo>
                  <a:pt x="4949" y="3056"/>
                </a:lnTo>
                <a:lnTo>
                  <a:pt x="4932" y="3039"/>
                </a:lnTo>
                <a:lnTo>
                  <a:pt x="4914" y="3023"/>
                </a:lnTo>
                <a:lnTo>
                  <a:pt x="4896" y="3007"/>
                </a:lnTo>
                <a:lnTo>
                  <a:pt x="4876" y="2992"/>
                </a:lnTo>
                <a:lnTo>
                  <a:pt x="4857" y="2978"/>
                </a:lnTo>
                <a:lnTo>
                  <a:pt x="4836" y="2965"/>
                </a:lnTo>
                <a:lnTo>
                  <a:pt x="4816" y="2951"/>
                </a:lnTo>
                <a:lnTo>
                  <a:pt x="4794" y="2939"/>
                </a:lnTo>
                <a:lnTo>
                  <a:pt x="4773" y="2929"/>
                </a:lnTo>
                <a:lnTo>
                  <a:pt x="4751" y="2918"/>
                </a:lnTo>
                <a:lnTo>
                  <a:pt x="4728" y="2908"/>
                </a:lnTo>
                <a:lnTo>
                  <a:pt x="4704" y="2900"/>
                </a:lnTo>
                <a:lnTo>
                  <a:pt x="4704" y="2900"/>
                </a:lnTo>
                <a:lnTo>
                  <a:pt x="4695" y="2896"/>
                </a:lnTo>
                <a:lnTo>
                  <a:pt x="4686" y="2892"/>
                </a:lnTo>
                <a:lnTo>
                  <a:pt x="4678" y="2886"/>
                </a:lnTo>
                <a:lnTo>
                  <a:pt x="4670" y="2882"/>
                </a:lnTo>
                <a:lnTo>
                  <a:pt x="4663" y="2876"/>
                </a:lnTo>
                <a:lnTo>
                  <a:pt x="4656" y="2868"/>
                </a:lnTo>
                <a:lnTo>
                  <a:pt x="4650" y="2861"/>
                </a:lnTo>
                <a:lnTo>
                  <a:pt x="4645" y="2854"/>
                </a:lnTo>
                <a:lnTo>
                  <a:pt x="4640" y="2845"/>
                </a:lnTo>
                <a:lnTo>
                  <a:pt x="4635" y="2837"/>
                </a:lnTo>
                <a:lnTo>
                  <a:pt x="4631" y="2829"/>
                </a:lnTo>
                <a:lnTo>
                  <a:pt x="4628" y="2819"/>
                </a:lnTo>
                <a:lnTo>
                  <a:pt x="4625" y="2811"/>
                </a:lnTo>
                <a:lnTo>
                  <a:pt x="4624" y="2801"/>
                </a:lnTo>
                <a:lnTo>
                  <a:pt x="4624" y="2791"/>
                </a:lnTo>
                <a:lnTo>
                  <a:pt x="4624" y="2780"/>
                </a:lnTo>
                <a:lnTo>
                  <a:pt x="4624" y="2780"/>
                </a:lnTo>
                <a:lnTo>
                  <a:pt x="4624" y="2762"/>
                </a:lnTo>
                <a:lnTo>
                  <a:pt x="4624" y="2762"/>
                </a:lnTo>
                <a:lnTo>
                  <a:pt x="4625" y="2743"/>
                </a:lnTo>
                <a:lnTo>
                  <a:pt x="4625" y="2743"/>
                </a:lnTo>
                <a:lnTo>
                  <a:pt x="4624" y="2698"/>
                </a:lnTo>
                <a:lnTo>
                  <a:pt x="4621" y="2654"/>
                </a:lnTo>
                <a:lnTo>
                  <a:pt x="4616" y="2609"/>
                </a:lnTo>
                <a:lnTo>
                  <a:pt x="4607" y="2566"/>
                </a:lnTo>
                <a:lnTo>
                  <a:pt x="4598" y="2524"/>
                </a:lnTo>
                <a:lnTo>
                  <a:pt x="4586" y="2483"/>
                </a:lnTo>
                <a:lnTo>
                  <a:pt x="4572" y="2442"/>
                </a:lnTo>
                <a:lnTo>
                  <a:pt x="4557" y="2402"/>
                </a:lnTo>
                <a:lnTo>
                  <a:pt x="4539" y="2362"/>
                </a:lnTo>
                <a:lnTo>
                  <a:pt x="4519" y="2325"/>
                </a:lnTo>
                <a:lnTo>
                  <a:pt x="4498" y="2288"/>
                </a:lnTo>
                <a:lnTo>
                  <a:pt x="4476" y="2253"/>
                </a:lnTo>
                <a:lnTo>
                  <a:pt x="4451" y="2218"/>
                </a:lnTo>
                <a:lnTo>
                  <a:pt x="4424" y="2184"/>
                </a:lnTo>
                <a:lnTo>
                  <a:pt x="4398" y="2153"/>
                </a:lnTo>
                <a:lnTo>
                  <a:pt x="4367" y="2123"/>
                </a:lnTo>
                <a:lnTo>
                  <a:pt x="4337" y="2093"/>
                </a:lnTo>
                <a:lnTo>
                  <a:pt x="4306" y="2066"/>
                </a:lnTo>
                <a:lnTo>
                  <a:pt x="4272" y="2040"/>
                </a:lnTo>
                <a:lnTo>
                  <a:pt x="4237" y="2014"/>
                </a:lnTo>
                <a:lnTo>
                  <a:pt x="4202" y="1993"/>
                </a:lnTo>
                <a:lnTo>
                  <a:pt x="4165" y="1971"/>
                </a:lnTo>
                <a:lnTo>
                  <a:pt x="4127" y="1952"/>
                </a:lnTo>
                <a:lnTo>
                  <a:pt x="4088" y="1934"/>
                </a:lnTo>
                <a:lnTo>
                  <a:pt x="4048" y="1918"/>
                </a:lnTo>
                <a:lnTo>
                  <a:pt x="4007" y="1905"/>
                </a:lnTo>
                <a:lnTo>
                  <a:pt x="3966" y="1893"/>
                </a:lnTo>
                <a:lnTo>
                  <a:pt x="3924" y="1883"/>
                </a:lnTo>
                <a:lnTo>
                  <a:pt x="3880" y="1874"/>
                </a:lnTo>
                <a:lnTo>
                  <a:pt x="3836" y="1870"/>
                </a:lnTo>
                <a:lnTo>
                  <a:pt x="3791" y="1866"/>
                </a:lnTo>
                <a:lnTo>
                  <a:pt x="3746" y="1865"/>
                </a:lnTo>
                <a:lnTo>
                  <a:pt x="3746" y="1865"/>
                </a:lnTo>
                <a:lnTo>
                  <a:pt x="3708" y="1865"/>
                </a:lnTo>
                <a:lnTo>
                  <a:pt x="3669" y="1867"/>
                </a:lnTo>
                <a:lnTo>
                  <a:pt x="3632" y="1872"/>
                </a:lnTo>
                <a:lnTo>
                  <a:pt x="3594" y="1877"/>
                </a:lnTo>
                <a:lnTo>
                  <a:pt x="3558" y="1884"/>
                </a:lnTo>
                <a:lnTo>
                  <a:pt x="3522" y="1893"/>
                </a:lnTo>
                <a:lnTo>
                  <a:pt x="3487" y="1903"/>
                </a:lnTo>
                <a:lnTo>
                  <a:pt x="3452" y="1914"/>
                </a:lnTo>
                <a:lnTo>
                  <a:pt x="3417" y="1927"/>
                </a:lnTo>
                <a:lnTo>
                  <a:pt x="3383" y="1942"/>
                </a:lnTo>
                <a:lnTo>
                  <a:pt x="3351" y="1958"/>
                </a:lnTo>
                <a:lnTo>
                  <a:pt x="3318" y="1974"/>
                </a:lnTo>
                <a:lnTo>
                  <a:pt x="3287" y="1993"/>
                </a:lnTo>
                <a:lnTo>
                  <a:pt x="3257" y="2012"/>
                </a:lnTo>
                <a:lnTo>
                  <a:pt x="3227" y="2032"/>
                </a:lnTo>
                <a:lnTo>
                  <a:pt x="3198" y="2055"/>
                </a:lnTo>
                <a:lnTo>
                  <a:pt x="3170" y="2078"/>
                </a:lnTo>
                <a:lnTo>
                  <a:pt x="3144" y="2102"/>
                </a:lnTo>
                <a:lnTo>
                  <a:pt x="3118" y="2127"/>
                </a:lnTo>
                <a:lnTo>
                  <a:pt x="3093" y="2154"/>
                </a:lnTo>
                <a:lnTo>
                  <a:pt x="3069" y="2182"/>
                </a:lnTo>
                <a:lnTo>
                  <a:pt x="3047" y="2209"/>
                </a:lnTo>
                <a:lnTo>
                  <a:pt x="3025" y="2240"/>
                </a:lnTo>
                <a:lnTo>
                  <a:pt x="3005" y="2270"/>
                </a:lnTo>
                <a:lnTo>
                  <a:pt x="2986" y="2301"/>
                </a:lnTo>
                <a:lnTo>
                  <a:pt x="2967" y="2333"/>
                </a:lnTo>
                <a:lnTo>
                  <a:pt x="2952" y="2367"/>
                </a:lnTo>
                <a:lnTo>
                  <a:pt x="2936" y="2401"/>
                </a:lnTo>
                <a:lnTo>
                  <a:pt x="2923" y="2436"/>
                </a:lnTo>
                <a:lnTo>
                  <a:pt x="2910" y="2472"/>
                </a:lnTo>
                <a:lnTo>
                  <a:pt x="2899" y="2508"/>
                </a:lnTo>
                <a:lnTo>
                  <a:pt x="2890" y="2545"/>
                </a:lnTo>
                <a:lnTo>
                  <a:pt x="2890" y="2545"/>
                </a:lnTo>
                <a:lnTo>
                  <a:pt x="2885" y="2560"/>
                </a:lnTo>
                <a:lnTo>
                  <a:pt x="2879" y="2574"/>
                </a:lnTo>
                <a:lnTo>
                  <a:pt x="2871" y="2588"/>
                </a:lnTo>
                <a:lnTo>
                  <a:pt x="2861" y="2600"/>
                </a:lnTo>
                <a:lnTo>
                  <a:pt x="2850" y="2609"/>
                </a:lnTo>
                <a:lnTo>
                  <a:pt x="2838" y="2619"/>
                </a:lnTo>
                <a:lnTo>
                  <a:pt x="2825" y="2626"/>
                </a:lnTo>
                <a:lnTo>
                  <a:pt x="2811" y="2632"/>
                </a:lnTo>
                <a:lnTo>
                  <a:pt x="2811" y="2632"/>
                </a:lnTo>
                <a:lnTo>
                  <a:pt x="2795" y="2636"/>
                </a:lnTo>
                <a:lnTo>
                  <a:pt x="2781" y="2638"/>
                </a:lnTo>
                <a:lnTo>
                  <a:pt x="2765" y="2638"/>
                </a:lnTo>
                <a:lnTo>
                  <a:pt x="2749" y="2637"/>
                </a:lnTo>
                <a:lnTo>
                  <a:pt x="2735" y="2632"/>
                </a:lnTo>
                <a:lnTo>
                  <a:pt x="2720" y="2627"/>
                </a:lnTo>
                <a:lnTo>
                  <a:pt x="2707" y="2619"/>
                </a:lnTo>
                <a:lnTo>
                  <a:pt x="2695" y="2611"/>
                </a:lnTo>
                <a:lnTo>
                  <a:pt x="2695" y="2611"/>
                </a:lnTo>
                <a:lnTo>
                  <a:pt x="2677" y="2596"/>
                </a:lnTo>
                <a:lnTo>
                  <a:pt x="2659" y="2582"/>
                </a:lnTo>
                <a:lnTo>
                  <a:pt x="2639" y="2570"/>
                </a:lnTo>
                <a:lnTo>
                  <a:pt x="2621" y="2558"/>
                </a:lnTo>
                <a:lnTo>
                  <a:pt x="2602" y="2547"/>
                </a:lnTo>
                <a:lnTo>
                  <a:pt x="2582" y="2537"/>
                </a:lnTo>
                <a:lnTo>
                  <a:pt x="2562" y="2527"/>
                </a:lnTo>
                <a:lnTo>
                  <a:pt x="2542" y="2520"/>
                </a:lnTo>
                <a:lnTo>
                  <a:pt x="2521" y="2513"/>
                </a:lnTo>
                <a:lnTo>
                  <a:pt x="2501" y="2507"/>
                </a:lnTo>
                <a:lnTo>
                  <a:pt x="2479" y="2501"/>
                </a:lnTo>
                <a:lnTo>
                  <a:pt x="2457" y="2497"/>
                </a:lnTo>
                <a:lnTo>
                  <a:pt x="2437" y="2494"/>
                </a:lnTo>
                <a:lnTo>
                  <a:pt x="2415" y="2491"/>
                </a:lnTo>
                <a:lnTo>
                  <a:pt x="2392" y="2490"/>
                </a:lnTo>
                <a:lnTo>
                  <a:pt x="2371" y="2489"/>
                </a:lnTo>
                <a:lnTo>
                  <a:pt x="2371" y="2489"/>
                </a:lnTo>
                <a:lnTo>
                  <a:pt x="2345" y="2490"/>
                </a:lnTo>
                <a:lnTo>
                  <a:pt x="2319" y="2491"/>
                </a:lnTo>
                <a:lnTo>
                  <a:pt x="2295" y="2495"/>
                </a:lnTo>
                <a:lnTo>
                  <a:pt x="2269" y="2500"/>
                </a:lnTo>
                <a:lnTo>
                  <a:pt x="2245" y="2505"/>
                </a:lnTo>
                <a:lnTo>
                  <a:pt x="2221" y="2512"/>
                </a:lnTo>
                <a:lnTo>
                  <a:pt x="2197" y="2520"/>
                </a:lnTo>
                <a:lnTo>
                  <a:pt x="2174" y="2529"/>
                </a:lnTo>
                <a:lnTo>
                  <a:pt x="2152" y="2539"/>
                </a:lnTo>
                <a:lnTo>
                  <a:pt x="2131" y="2550"/>
                </a:lnTo>
                <a:lnTo>
                  <a:pt x="2109" y="2562"/>
                </a:lnTo>
                <a:lnTo>
                  <a:pt x="2088" y="2576"/>
                </a:lnTo>
                <a:lnTo>
                  <a:pt x="2069" y="2589"/>
                </a:lnTo>
                <a:lnTo>
                  <a:pt x="2050" y="2605"/>
                </a:lnTo>
                <a:lnTo>
                  <a:pt x="2032" y="2620"/>
                </a:lnTo>
                <a:lnTo>
                  <a:pt x="2014" y="2637"/>
                </a:lnTo>
                <a:lnTo>
                  <a:pt x="1998" y="2654"/>
                </a:lnTo>
                <a:lnTo>
                  <a:pt x="1981" y="2673"/>
                </a:lnTo>
                <a:lnTo>
                  <a:pt x="1967" y="2691"/>
                </a:lnTo>
                <a:lnTo>
                  <a:pt x="1952" y="2712"/>
                </a:lnTo>
                <a:lnTo>
                  <a:pt x="1939" y="2732"/>
                </a:lnTo>
                <a:lnTo>
                  <a:pt x="1927" y="2753"/>
                </a:lnTo>
                <a:lnTo>
                  <a:pt x="1916" y="2774"/>
                </a:lnTo>
                <a:lnTo>
                  <a:pt x="1906" y="2797"/>
                </a:lnTo>
                <a:lnTo>
                  <a:pt x="1897" y="2820"/>
                </a:lnTo>
                <a:lnTo>
                  <a:pt x="1889" y="2843"/>
                </a:lnTo>
                <a:lnTo>
                  <a:pt x="1882" y="2867"/>
                </a:lnTo>
                <a:lnTo>
                  <a:pt x="1876" y="2891"/>
                </a:lnTo>
                <a:lnTo>
                  <a:pt x="1873" y="2917"/>
                </a:lnTo>
                <a:lnTo>
                  <a:pt x="1869" y="2942"/>
                </a:lnTo>
                <a:lnTo>
                  <a:pt x="1867" y="2967"/>
                </a:lnTo>
                <a:lnTo>
                  <a:pt x="1867" y="2994"/>
                </a:lnTo>
                <a:lnTo>
                  <a:pt x="1867" y="2994"/>
                </a:lnTo>
                <a:lnTo>
                  <a:pt x="1867" y="3019"/>
                </a:lnTo>
                <a:lnTo>
                  <a:pt x="1869" y="3044"/>
                </a:lnTo>
                <a:lnTo>
                  <a:pt x="1873" y="3071"/>
                </a:lnTo>
                <a:lnTo>
                  <a:pt x="1877" y="3096"/>
                </a:lnTo>
                <a:lnTo>
                  <a:pt x="1883" y="3121"/>
                </a:lnTo>
                <a:lnTo>
                  <a:pt x="1891" y="3145"/>
                </a:lnTo>
                <a:lnTo>
                  <a:pt x="1899" y="3171"/>
                </a:lnTo>
                <a:lnTo>
                  <a:pt x="1909" y="3195"/>
                </a:lnTo>
                <a:lnTo>
                  <a:pt x="1909" y="3195"/>
                </a:lnTo>
                <a:lnTo>
                  <a:pt x="1914" y="3209"/>
                </a:lnTo>
                <a:lnTo>
                  <a:pt x="1917" y="3224"/>
                </a:lnTo>
                <a:lnTo>
                  <a:pt x="1918" y="3238"/>
                </a:lnTo>
                <a:lnTo>
                  <a:pt x="1918" y="3253"/>
                </a:lnTo>
                <a:lnTo>
                  <a:pt x="1916" y="3267"/>
                </a:lnTo>
                <a:lnTo>
                  <a:pt x="1912" y="3282"/>
                </a:lnTo>
                <a:lnTo>
                  <a:pt x="1906" y="3296"/>
                </a:lnTo>
                <a:lnTo>
                  <a:pt x="1899" y="3309"/>
                </a:lnTo>
                <a:lnTo>
                  <a:pt x="1899" y="3309"/>
                </a:lnTo>
                <a:lnTo>
                  <a:pt x="1891" y="3321"/>
                </a:lnTo>
                <a:lnTo>
                  <a:pt x="1880" y="3332"/>
                </a:lnTo>
                <a:lnTo>
                  <a:pt x="1869" y="3341"/>
                </a:lnTo>
                <a:lnTo>
                  <a:pt x="1856" y="3349"/>
                </a:lnTo>
                <a:lnTo>
                  <a:pt x="1842" y="3355"/>
                </a:lnTo>
                <a:lnTo>
                  <a:pt x="1828" y="3360"/>
                </a:lnTo>
                <a:lnTo>
                  <a:pt x="1814" y="3362"/>
                </a:lnTo>
                <a:lnTo>
                  <a:pt x="1799" y="3363"/>
                </a:lnTo>
                <a:lnTo>
                  <a:pt x="1746" y="3363"/>
                </a:lnTo>
                <a:lnTo>
                  <a:pt x="1746" y="3363"/>
                </a:lnTo>
                <a:lnTo>
                  <a:pt x="1727" y="3363"/>
                </a:lnTo>
                <a:lnTo>
                  <a:pt x="1707" y="3366"/>
                </a:lnTo>
                <a:lnTo>
                  <a:pt x="1688" y="3368"/>
                </a:lnTo>
                <a:lnTo>
                  <a:pt x="1669" y="3371"/>
                </a:lnTo>
                <a:lnTo>
                  <a:pt x="1651" y="3376"/>
                </a:lnTo>
                <a:lnTo>
                  <a:pt x="1633" y="3380"/>
                </a:lnTo>
                <a:lnTo>
                  <a:pt x="1616" y="3386"/>
                </a:lnTo>
                <a:lnTo>
                  <a:pt x="1598" y="3394"/>
                </a:lnTo>
                <a:lnTo>
                  <a:pt x="1581" y="3401"/>
                </a:lnTo>
                <a:lnTo>
                  <a:pt x="1565" y="3409"/>
                </a:lnTo>
                <a:lnTo>
                  <a:pt x="1549" y="3419"/>
                </a:lnTo>
                <a:lnTo>
                  <a:pt x="1534" y="3429"/>
                </a:lnTo>
                <a:lnTo>
                  <a:pt x="1519" y="3439"/>
                </a:lnTo>
                <a:lnTo>
                  <a:pt x="1505" y="3450"/>
                </a:lnTo>
                <a:lnTo>
                  <a:pt x="1490" y="3462"/>
                </a:lnTo>
                <a:lnTo>
                  <a:pt x="1477" y="3474"/>
                </a:lnTo>
                <a:lnTo>
                  <a:pt x="1465" y="3488"/>
                </a:lnTo>
                <a:lnTo>
                  <a:pt x="1453" y="3502"/>
                </a:lnTo>
                <a:lnTo>
                  <a:pt x="1442" y="3516"/>
                </a:lnTo>
                <a:lnTo>
                  <a:pt x="1431" y="3531"/>
                </a:lnTo>
                <a:lnTo>
                  <a:pt x="1422" y="3547"/>
                </a:lnTo>
                <a:lnTo>
                  <a:pt x="1412" y="3562"/>
                </a:lnTo>
                <a:lnTo>
                  <a:pt x="1404" y="3578"/>
                </a:lnTo>
                <a:lnTo>
                  <a:pt x="1396" y="3595"/>
                </a:lnTo>
                <a:lnTo>
                  <a:pt x="1389" y="3613"/>
                </a:lnTo>
                <a:lnTo>
                  <a:pt x="1383" y="3630"/>
                </a:lnTo>
                <a:lnTo>
                  <a:pt x="1378" y="3648"/>
                </a:lnTo>
                <a:lnTo>
                  <a:pt x="1373" y="3666"/>
                </a:lnTo>
                <a:lnTo>
                  <a:pt x="1371" y="3685"/>
                </a:lnTo>
                <a:lnTo>
                  <a:pt x="1369" y="3704"/>
                </a:lnTo>
                <a:lnTo>
                  <a:pt x="1366" y="3724"/>
                </a:lnTo>
                <a:lnTo>
                  <a:pt x="1366" y="3743"/>
                </a:lnTo>
                <a:lnTo>
                  <a:pt x="1366" y="3743"/>
                </a:lnTo>
                <a:lnTo>
                  <a:pt x="1366" y="3762"/>
                </a:lnTo>
                <a:lnTo>
                  <a:pt x="1369" y="3781"/>
                </a:lnTo>
                <a:lnTo>
                  <a:pt x="1371" y="3801"/>
                </a:lnTo>
                <a:lnTo>
                  <a:pt x="1373" y="3819"/>
                </a:lnTo>
                <a:lnTo>
                  <a:pt x="1378" y="3837"/>
                </a:lnTo>
                <a:lnTo>
                  <a:pt x="1383" y="3855"/>
                </a:lnTo>
                <a:lnTo>
                  <a:pt x="1389" y="3873"/>
                </a:lnTo>
                <a:lnTo>
                  <a:pt x="1396" y="3890"/>
                </a:lnTo>
                <a:lnTo>
                  <a:pt x="1404" y="3907"/>
                </a:lnTo>
                <a:lnTo>
                  <a:pt x="1412" y="3924"/>
                </a:lnTo>
                <a:lnTo>
                  <a:pt x="1422" y="3939"/>
                </a:lnTo>
                <a:lnTo>
                  <a:pt x="1431" y="3955"/>
                </a:lnTo>
                <a:lnTo>
                  <a:pt x="1442" y="3969"/>
                </a:lnTo>
                <a:lnTo>
                  <a:pt x="1453" y="3984"/>
                </a:lnTo>
                <a:lnTo>
                  <a:pt x="1465" y="3997"/>
                </a:lnTo>
                <a:lnTo>
                  <a:pt x="1477" y="4010"/>
                </a:lnTo>
                <a:lnTo>
                  <a:pt x="1490" y="4024"/>
                </a:lnTo>
                <a:lnTo>
                  <a:pt x="1505" y="4036"/>
                </a:lnTo>
                <a:lnTo>
                  <a:pt x="1519" y="4047"/>
                </a:lnTo>
                <a:lnTo>
                  <a:pt x="1534" y="4057"/>
                </a:lnTo>
                <a:lnTo>
                  <a:pt x="1549" y="4067"/>
                </a:lnTo>
                <a:lnTo>
                  <a:pt x="1565" y="4075"/>
                </a:lnTo>
                <a:lnTo>
                  <a:pt x="1581" y="4084"/>
                </a:lnTo>
                <a:lnTo>
                  <a:pt x="1598" y="4092"/>
                </a:lnTo>
                <a:lnTo>
                  <a:pt x="1616" y="4098"/>
                </a:lnTo>
                <a:lnTo>
                  <a:pt x="1633" y="4104"/>
                </a:lnTo>
                <a:lnTo>
                  <a:pt x="1651" y="4110"/>
                </a:lnTo>
                <a:lnTo>
                  <a:pt x="1669" y="4114"/>
                </a:lnTo>
                <a:lnTo>
                  <a:pt x="1688" y="4118"/>
                </a:lnTo>
                <a:lnTo>
                  <a:pt x="1707" y="4120"/>
                </a:lnTo>
                <a:lnTo>
                  <a:pt x="1727" y="4121"/>
                </a:lnTo>
                <a:lnTo>
                  <a:pt x="1746" y="4122"/>
                </a:lnTo>
                <a:lnTo>
                  <a:pt x="4496" y="4122"/>
                </a:lnTo>
                <a:lnTo>
                  <a:pt x="4496" y="4122"/>
                </a:lnTo>
                <a:lnTo>
                  <a:pt x="4529" y="4121"/>
                </a:lnTo>
                <a:lnTo>
                  <a:pt x="4560" y="4119"/>
                </a:lnTo>
                <a:lnTo>
                  <a:pt x="4592" y="4114"/>
                </a:lnTo>
                <a:lnTo>
                  <a:pt x="4623" y="4109"/>
                </a:lnTo>
                <a:lnTo>
                  <a:pt x="4653" y="4102"/>
                </a:lnTo>
                <a:lnTo>
                  <a:pt x="4683" y="4094"/>
                </a:lnTo>
                <a:lnTo>
                  <a:pt x="4712" y="4084"/>
                </a:lnTo>
                <a:lnTo>
                  <a:pt x="4741" y="4072"/>
                </a:lnTo>
                <a:lnTo>
                  <a:pt x="4769" y="4060"/>
                </a:lnTo>
                <a:lnTo>
                  <a:pt x="4797" y="4045"/>
                </a:lnTo>
                <a:lnTo>
                  <a:pt x="4822" y="4031"/>
                </a:lnTo>
                <a:lnTo>
                  <a:pt x="4849" y="4014"/>
                </a:lnTo>
                <a:lnTo>
                  <a:pt x="4873" y="3997"/>
                </a:lnTo>
                <a:lnTo>
                  <a:pt x="4897" y="3978"/>
                </a:lnTo>
                <a:lnTo>
                  <a:pt x="4920" y="3959"/>
                </a:lnTo>
                <a:lnTo>
                  <a:pt x="4941" y="3937"/>
                </a:lnTo>
                <a:lnTo>
                  <a:pt x="4962" y="3915"/>
                </a:lnTo>
                <a:lnTo>
                  <a:pt x="4982" y="3892"/>
                </a:lnTo>
                <a:lnTo>
                  <a:pt x="5000" y="3869"/>
                </a:lnTo>
                <a:lnTo>
                  <a:pt x="5019" y="3844"/>
                </a:lnTo>
                <a:lnTo>
                  <a:pt x="5034" y="3819"/>
                </a:lnTo>
                <a:lnTo>
                  <a:pt x="5050" y="3792"/>
                </a:lnTo>
                <a:lnTo>
                  <a:pt x="5063" y="3766"/>
                </a:lnTo>
                <a:lnTo>
                  <a:pt x="5076" y="3737"/>
                </a:lnTo>
                <a:lnTo>
                  <a:pt x="5087" y="3709"/>
                </a:lnTo>
                <a:lnTo>
                  <a:pt x="5097" y="3679"/>
                </a:lnTo>
                <a:lnTo>
                  <a:pt x="5107" y="3650"/>
                </a:lnTo>
                <a:lnTo>
                  <a:pt x="5113" y="3619"/>
                </a:lnTo>
                <a:lnTo>
                  <a:pt x="5119" y="3589"/>
                </a:lnTo>
                <a:lnTo>
                  <a:pt x="5122" y="3557"/>
                </a:lnTo>
                <a:lnTo>
                  <a:pt x="5125" y="3525"/>
                </a:lnTo>
                <a:lnTo>
                  <a:pt x="5126" y="3492"/>
                </a:lnTo>
                <a:lnTo>
                  <a:pt x="5126" y="3492"/>
                </a:lnTo>
                <a:close/>
              </a:path>
            </a:pathLst>
          </a:custGeom>
          <a:solidFill>
            <a:schemeClr val="tx1"/>
          </a:solidFill>
          <a:ln>
            <a:noFill/>
          </a:ln>
        </p:spPr>
        <p:txBody>
          <a:bodyPr vert="horz" wrap="square" lIns="121807" tIns="60904" rIns="121807" bIns="60904" numCol="1" anchor="t" anchorCtr="0" compatLnSpc="1">
            <a:prstTxWarp prst="textNoShape">
              <a:avLst/>
            </a:prstTxWarp>
          </a:bodyPr>
          <a:lstStyle/>
          <a:p>
            <a:pPr defTabSz="913798">
              <a:defRPr/>
            </a:pPr>
            <a:endParaRPr lang="en-US" sz="1798">
              <a:solidFill>
                <a:srgbClr val="000000"/>
              </a:solidFill>
              <a:latin typeface="Calibri"/>
            </a:endParaRPr>
          </a:p>
        </p:txBody>
      </p:sp>
    </p:spTree>
    <p:extLst>
      <p:ext uri="{BB962C8B-B14F-4D97-AF65-F5344CB8AC3E}">
        <p14:creationId xmlns:p14="http://schemas.microsoft.com/office/powerpoint/2010/main" val="21426672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15">
            <a:extLst>
              <a:ext uri="{FF2B5EF4-FFF2-40B4-BE49-F238E27FC236}">
                <a16:creationId xmlns:a16="http://schemas.microsoft.com/office/drawing/2014/main" id="{A5001328-8D44-728B-D09B-11EB648F2F2A}"/>
              </a:ext>
            </a:extLst>
          </p:cNvPr>
          <p:cNvSpPr>
            <a:spLocks noGrp="1"/>
          </p:cNvSpPr>
          <p:nvPr>
            <p:ph type="title"/>
          </p:nvPr>
        </p:nvSpPr>
        <p:spPr>
          <a:xfrm>
            <a:off x="394968" y="146017"/>
            <a:ext cx="11362266" cy="770669"/>
          </a:xfrm>
        </p:spPr>
        <p:txBody>
          <a:bodyPr/>
          <a:lstStyle/>
          <a:p>
            <a:r>
              <a:rPr lang="en-US"/>
              <a:t>Ally capabilities</a:t>
            </a:r>
          </a:p>
        </p:txBody>
      </p:sp>
      <p:sp>
        <p:nvSpPr>
          <p:cNvPr id="9" name="Content Placeholder 2">
            <a:extLst>
              <a:ext uri="{FF2B5EF4-FFF2-40B4-BE49-F238E27FC236}">
                <a16:creationId xmlns:a16="http://schemas.microsoft.com/office/drawing/2014/main" id="{DD9E7590-7006-546C-3EBB-015A0906F667}"/>
              </a:ext>
            </a:extLst>
          </p:cNvPr>
          <p:cNvSpPr txBox="1">
            <a:spLocks/>
          </p:cNvSpPr>
          <p:nvPr/>
        </p:nvSpPr>
        <p:spPr>
          <a:xfrm>
            <a:off x="416820" y="1544640"/>
            <a:ext cx="3543040" cy="4256085"/>
          </a:xfrm>
          <a:prstGeom prst="rect">
            <a:avLst/>
          </a:prstGeom>
        </p:spPr>
        <p:txBody>
          <a:bodyPr vert="horz" lIns="0" tIns="0" rIns="0" bIns="0" rtlCol="0">
            <a:noAutofit/>
          </a:bodyPr>
          <a:lstStyle>
            <a:lvl1pPr marL="232618" indent="-232618" algn="l" defTabSz="913553" rtl="0" eaLnBrk="1" latinLnBrk="0" hangingPunct="1">
              <a:lnSpc>
                <a:spcPct val="100000"/>
              </a:lnSpc>
              <a:spcBef>
                <a:spcPts val="0"/>
              </a:spcBef>
              <a:spcAft>
                <a:spcPts val="1200"/>
              </a:spcAft>
              <a:buClr>
                <a:schemeClr val="tx1"/>
              </a:buClr>
              <a:buFont typeface="Arial" panose="020B0604020202020204" pitchFamily="34" charset="0"/>
              <a:buChar char="•"/>
              <a:defRPr lang="en-US" sz="2000" kern="1200" dirty="0" smtClean="0">
                <a:solidFill>
                  <a:schemeClr val="tx1"/>
                </a:solidFill>
                <a:latin typeface="+mn-lt"/>
                <a:ea typeface="+mn-ea"/>
                <a:cs typeface="+mn-cs"/>
              </a:defRPr>
            </a:lvl1pPr>
            <a:lvl2pPr marL="452548" indent="-224158" algn="l" defTabSz="913553" rtl="0" eaLnBrk="1" latinLnBrk="0" hangingPunct="1">
              <a:lnSpc>
                <a:spcPct val="100000"/>
              </a:lnSpc>
              <a:spcBef>
                <a:spcPts val="0"/>
              </a:spcBef>
              <a:spcAft>
                <a:spcPts val="1200"/>
              </a:spcAft>
              <a:buClr>
                <a:schemeClr val="tx1"/>
              </a:buClr>
              <a:buFont typeface="Calibri" panose="020F0502020204030204" pitchFamily="34" charset="0"/>
              <a:buChar char="–"/>
              <a:defRPr lang="en-US" sz="2000" kern="1200" dirty="0" smtClean="0">
                <a:solidFill>
                  <a:schemeClr val="tx1"/>
                </a:solidFill>
                <a:latin typeface="+mn-lt"/>
                <a:ea typeface="+mn-ea"/>
                <a:cs typeface="+mn-cs"/>
              </a:defRPr>
            </a:lvl2pPr>
            <a:lvl3pPr marL="685166" indent="-228389" algn="l" defTabSz="913553" rtl="0" eaLnBrk="1" latinLnBrk="0" hangingPunct="1">
              <a:lnSpc>
                <a:spcPct val="100000"/>
              </a:lnSpc>
              <a:spcBef>
                <a:spcPts val="0"/>
              </a:spcBef>
              <a:spcAft>
                <a:spcPts val="1200"/>
              </a:spcAft>
              <a:buClr>
                <a:schemeClr val="tx1"/>
              </a:buClr>
              <a:buFont typeface="Arial" panose="020B0604020202020204" pitchFamily="34" charset="0"/>
              <a:buChar char="•"/>
              <a:defRPr lang="en-US" sz="2000" kern="1200" dirty="0" smtClean="0">
                <a:solidFill>
                  <a:schemeClr val="tx1"/>
                </a:solidFill>
                <a:latin typeface="+mn-lt"/>
                <a:ea typeface="+mn-ea"/>
                <a:cs typeface="+mn-cs"/>
              </a:defRPr>
            </a:lvl3pPr>
            <a:lvl4pPr marL="915670" indent="-230504" algn="l" defTabSz="913553" rtl="0" eaLnBrk="1" latinLnBrk="0" hangingPunct="1">
              <a:lnSpc>
                <a:spcPct val="100000"/>
              </a:lnSpc>
              <a:spcBef>
                <a:spcPts val="0"/>
              </a:spcBef>
              <a:spcAft>
                <a:spcPts val="1200"/>
              </a:spcAft>
              <a:buClr>
                <a:schemeClr val="tx1"/>
              </a:buClr>
              <a:buFont typeface="Calibri" panose="020F0502020204030204" pitchFamily="34" charset="0"/>
              <a:buChar char="–"/>
              <a:defRPr lang="en-US" sz="2000" kern="1200" dirty="0" smtClean="0">
                <a:solidFill>
                  <a:schemeClr val="tx1"/>
                </a:solidFill>
                <a:latin typeface="+mn-lt"/>
                <a:ea typeface="+mn-ea"/>
                <a:cs typeface="+mn-cs"/>
              </a:defRPr>
            </a:lvl4pPr>
            <a:lvl5pPr marL="1137713" indent="-224158" algn="l" defTabSz="913553" rtl="0" eaLnBrk="1" latinLnBrk="0" hangingPunct="1">
              <a:lnSpc>
                <a:spcPct val="100000"/>
              </a:lnSpc>
              <a:spcBef>
                <a:spcPts val="0"/>
              </a:spcBef>
              <a:spcAft>
                <a:spcPts val="1200"/>
              </a:spcAft>
              <a:buClr>
                <a:schemeClr val="tx1"/>
              </a:buClr>
              <a:buFont typeface="Arial" panose="020B0604020202020204" pitchFamily="34" charset="0"/>
              <a:buChar char="•"/>
              <a:defRPr lang="en-US" sz="2000" kern="1200" dirty="0">
                <a:solidFill>
                  <a:schemeClr val="tx1"/>
                </a:solidFill>
                <a:latin typeface="+mn-lt"/>
                <a:ea typeface="+mn-ea"/>
                <a:cs typeface="+mn-cs"/>
              </a:defRPr>
            </a:lvl5pPr>
            <a:lvl6pPr marL="2512271" indent="-228389" algn="l" defTabSz="913553"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9048" indent="-228389" algn="l" defTabSz="913553"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826" indent="-228389" algn="l" defTabSz="913553"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601" indent="-228389" algn="l" defTabSz="913553"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a:lstStyle>
          <a:p>
            <a:r>
              <a:rPr lang="en-US" b="1" dirty="0"/>
              <a:t>LMS agnostic</a:t>
            </a:r>
          </a:p>
          <a:p>
            <a:pPr lvl="1"/>
            <a:r>
              <a:rPr lang="en-US" dirty="0"/>
              <a:t>Works with multiple LMS</a:t>
            </a:r>
          </a:p>
          <a:p>
            <a:pPr lvl="2">
              <a:spcAft>
                <a:spcPts val="600"/>
              </a:spcAft>
            </a:pPr>
            <a:r>
              <a:rPr lang="en-US" dirty="0"/>
              <a:t>Blackboard Original</a:t>
            </a:r>
          </a:p>
          <a:p>
            <a:pPr lvl="2">
              <a:spcAft>
                <a:spcPts val="600"/>
              </a:spcAft>
            </a:pPr>
            <a:r>
              <a:rPr lang="en-US" dirty="0"/>
              <a:t>Blackboard Ultra</a:t>
            </a:r>
          </a:p>
          <a:p>
            <a:pPr lvl="2">
              <a:spcAft>
                <a:spcPts val="600"/>
              </a:spcAft>
            </a:pPr>
            <a:r>
              <a:rPr lang="en-US" dirty="0"/>
              <a:t>Moodle</a:t>
            </a:r>
          </a:p>
          <a:p>
            <a:pPr lvl="2">
              <a:spcAft>
                <a:spcPts val="600"/>
              </a:spcAft>
            </a:pPr>
            <a:r>
              <a:rPr lang="en-US" dirty="0"/>
              <a:t>D2L Brightspace</a:t>
            </a:r>
          </a:p>
          <a:p>
            <a:pPr lvl="2">
              <a:spcAft>
                <a:spcPts val="600"/>
              </a:spcAft>
            </a:pPr>
            <a:r>
              <a:rPr lang="en-US" dirty="0"/>
              <a:t>Instructure Canvas</a:t>
            </a:r>
          </a:p>
          <a:p>
            <a:pPr lvl="2">
              <a:spcAft>
                <a:spcPts val="600"/>
              </a:spcAft>
            </a:pPr>
            <a:r>
              <a:rPr lang="en-US" dirty="0"/>
              <a:t>Schoology</a:t>
            </a:r>
          </a:p>
          <a:p>
            <a:pPr lvl="2"/>
            <a:endParaRPr lang="en-US" dirty="0"/>
          </a:p>
        </p:txBody>
      </p:sp>
      <p:sp>
        <p:nvSpPr>
          <p:cNvPr id="10" name="Content Placeholder 3">
            <a:extLst>
              <a:ext uri="{FF2B5EF4-FFF2-40B4-BE49-F238E27FC236}">
                <a16:creationId xmlns:a16="http://schemas.microsoft.com/office/drawing/2014/main" id="{0D93B1CC-926E-14AC-3EFA-775AF8EBDBF8}"/>
              </a:ext>
            </a:extLst>
          </p:cNvPr>
          <p:cNvSpPr txBox="1">
            <a:spLocks/>
          </p:cNvSpPr>
          <p:nvPr/>
        </p:nvSpPr>
        <p:spPr>
          <a:xfrm>
            <a:off x="4385652" y="1420105"/>
            <a:ext cx="3542876" cy="4256085"/>
          </a:xfrm>
          <a:prstGeom prst="rect">
            <a:avLst/>
          </a:prstGeom>
        </p:spPr>
        <p:txBody>
          <a:bodyPr vert="horz" lIns="137160" tIns="137160" rIns="137160" bIns="137160" rtlCol="0" anchor="t">
            <a:noAutofit/>
          </a:bodyPr>
          <a:lstStyle>
            <a:lvl1pPr marL="232618" indent="-232618" algn="l" defTabSz="913553" rtl="0" eaLnBrk="1" latinLnBrk="0" hangingPunct="1">
              <a:lnSpc>
                <a:spcPct val="100000"/>
              </a:lnSpc>
              <a:spcBef>
                <a:spcPts val="0"/>
              </a:spcBef>
              <a:spcAft>
                <a:spcPts val="1200"/>
              </a:spcAft>
              <a:buClr>
                <a:schemeClr val="tx1"/>
              </a:buClr>
              <a:buFont typeface="Arial" panose="020B0604020202020204" pitchFamily="34" charset="0"/>
              <a:buChar char="•"/>
              <a:defRPr lang="en-US" sz="2000" kern="1200" dirty="0" smtClean="0">
                <a:solidFill>
                  <a:schemeClr val="tx1"/>
                </a:solidFill>
                <a:latin typeface="+mn-lt"/>
                <a:ea typeface="+mn-ea"/>
                <a:cs typeface="+mn-cs"/>
              </a:defRPr>
            </a:lvl1pPr>
            <a:lvl2pPr marL="452548" indent="-224158" algn="l" defTabSz="913553" rtl="0" eaLnBrk="1" latinLnBrk="0" hangingPunct="1">
              <a:lnSpc>
                <a:spcPct val="100000"/>
              </a:lnSpc>
              <a:spcBef>
                <a:spcPts val="0"/>
              </a:spcBef>
              <a:spcAft>
                <a:spcPts val="1200"/>
              </a:spcAft>
              <a:buClr>
                <a:schemeClr val="tx1"/>
              </a:buClr>
              <a:buFont typeface="Calibri" panose="020F0502020204030204" pitchFamily="34" charset="0"/>
              <a:buChar char="–"/>
              <a:defRPr lang="en-US" sz="2000" kern="1200" dirty="0" smtClean="0">
                <a:solidFill>
                  <a:schemeClr val="tx1"/>
                </a:solidFill>
                <a:latin typeface="+mn-lt"/>
                <a:ea typeface="+mn-ea"/>
                <a:cs typeface="+mn-cs"/>
              </a:defRPr>
            </a:lvl2pPr>
            <a:lvl3pPr marL="685166" indent="-228389" algn="l" defTabSz="913553" rtl="0" eaLnBrk="1" latinLnBrk="0" hangingPunct="1">
              <a:lnSpc>
                <a:spcPct val="100000"/>
              </a:lnSpc>
              <a:spcBef>
                <a:spcPts val="0"/>
              </a:spcBef>
              <a:spcAft>
                <a:spcPts val="1200"/>
              </a:spcAft>
              <a:buClr>
                <a:schemeClr val="tx1"/>
              </a:buClr>
              <a:buFont typeface="Arial" panose="020B0604020202020204" pitchFamily="34" charset="0"/>
              <a:buChar char="•"/>
              <a:defRPr lang="en-US" sz="2000" kern="1200" dirty="0" smtClean="0">
                <a:solidFill>
                  <a:schemeClr val="tx1"/>
                </a:solidFill>
                <a:latin typeface="+mn-lt"/>
                <a:ea typeface="+mn-ea"/>
                <a:cs typeface="+mn-cs"/>
              </a:defRPr>
            </a:lvl3pPr>
            <a:lvl4pPr marL="915670" indent="-230504" algn="l" defTabSz="913553" rtl="0" eaLnBrk="1" latinLnBrk="0" hangingPunct="1">
              <a:lnSpc>
                <a:spcPct val="100000"/>
              </a:lnSpc>
              <a:spcBef>
                <a:spcPts val="0"/>
              </a:spcBef>
              <a:spcAft>
                <a:spcPts val="1200"/>
              </a:spcAft>
              <a:buClr>
                <a:schemeClr val="tx1"/>
              </a:buClr>
              <a:buFont typeface="Calibri" panose="020F0502020204030204" pitchFamily="34" charset="0"/>
              <a:buChar char="–"/>
              <a:defRPr lang="en-US" sz="2000" kern="1200" dirty="0" smtClean="0">
                <a:solidFill>
                  <a:schemeClr val="tx1"/>
                </a:solidFill>
                <a:latin typeface="+mn-lt"/>
                <a:ea typeface="+mn-ea"/>
                <a:cs typeface="+mn-cs"/>
              </a:defRPr>
            </a:lvl4pPr>
            <a:lvl5pPr marL="1137713" indent="-224158" algn="l" defTabSz="913553" rtl="0" eaLnBrk="1" latinLnBrk="0" hangingPunct="1">
              <a:lnSpc>
                <a:spcPct val="100000"/>
              </a:lnSpc>
              <a:spcBef>
                <a:spcPts val="0"/>
              </a:spcBef>
              <a:spcAft>
                <a:spcPts val="1200"/>
              </a:spcAft>
              <a:buClr>
                <a:schemeClr val="tx1"/>
              </a:buClr>
              <a:buFont typeface="Arial" panose="020B0604020202020204" pitchFamily="34" charset="0"/>
              <a:buChar char="•"/>
              <a:defRPr lang="en-US" sz="2000" kern="1200" dirty="0">
                <a:solidFill>
                  <a:schemeClr val="tx1"/>
                </a:solidFill>
                <a:latin typeface="+mn-lt"/>
                <a:ea typeface="+mn-ea"/>
                <a:cs typeface="+mn-cs"/>
              </a:defRPr>
            </a:lvl5pPr>
            <a:lvl6pPr marL="2512271" indent="-228389" algn="l" defTabSz="913553"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9048" indent="-228389" algn="l" defTabSz="913553"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826" indent="-228389" algn="l" defTabSz="913553"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601" indent="-228389" algn="l" defTabSz="913553"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a:lstStyle>
          <a:p>
            <a:r>
              <a:rPr lang="en-US" b="1" dirty="0"/>
              <a:t>CMS Integration</a:t>
            </a:r>
          </a:p>
          <a:p>
            <a:pPr>
              <a:buFontTx/>
              <a:buChar char="-"/>
            </a:pPr>
            <a:r>
              <a:rPr lang="en-US" dirty="0"/>
              <a:t>Embedded script</a:t>
            </a:r>
          </a:p>
          <a:p>
            <a:pPr>
              <a:buFontTx/>
              <a:buChar char="-"/>
            </a:pPr>
            <a:r>
              <a:rPr lang="en-US" dirty="0">
                <a:cs typeface="Calibri"/>
              </a:rPr>
              <a:t>Provide admins with ability to correct issues</a:t>
            </a:r>
          </a:p>
          <a:p>
            <a:pPr marL="0" indent="0">
              <a:buNone/>
            </a:pPr>
            <a:endParaRPr lang="en-US" b="1" dirty="0"/>
          </a:p>
          <a:p>
            <a:r>
              <a:rPr lang="en-US" b="1" dirty="0"/>
              <a:t>Easy administration</a:t>
            </a:r>
          </a:p>
          <a:p>
            <a:pPr marL="306070" lvl="1" indent="-245110"/>
            <a:r>
              <a:rPr lang="en-US" dirty="0"/>
              <a:t>Toggling options</a:t>
            </a:r>
            <a:endParaRPr lang="en-US" dirty="0">
              <a:cs typeface="Calibri"/>
            </a:endParaRPr>
          </a:p>
          <a:p>
            <a:pPr marL="306070" lvl="1" indent="-245110"/>
            <a:r>
              <a:rPr lang="en-US" dirty="0"/>
              <a:t>Feature flags</a:t>
            </a:r>
            <a:endParaRPr lang="en-US" dirty="0">
              <a:cs typeface="Calibri"/>
            </a:endParaRPr>
          </a:p>
        </p:txBody>
      </p:sp>
      <p:sp>
        <p:nvSpPr>
          <p:cNvPr id="11" name="Content Placeholder 4">
            <a:extLst>
              <a:ext uri="{FF2B5EF4-FFF2-40B4-BE49-F238E27FC236}">
                <a16:creationId xmlns:a16="http://schemas.microsoft.com/office/drawing/2014/main" id="{8C1FDE18-07DD-66F2-F795-1A8200FD66CA}"/>
              </a:ext>
            </a:extLst>
          </p:cNvPr>
          <p:cNvSpPr txBox="1">
            <a:spLocks/>
          </p:cNvSpPr>
          <p:nvPr/>
        </p:nvSpPr>
        <p:spPr>
          <a:xfrm>
            <a:off x="8234257" y="1420104"/>
            <a:ext cx="3540923" cy="4256085"/>
          </a:xfrm>
          <a:prstGeom prst="rect">
            <a:avLst/>
          </a:prstGeom>
        </p:spPr>
        <p:txBody>
          <a:bodyPr vert="horz" lIns="137160" tIns="137160" rIns="137160" bIns="137160" rtlCol="0" anchor="t">
            <a:noAutofit/>
          </a:bodyPr>
          <a:lstStyle>
            <a:lvl1pPr marL="232618" indent="-232618" algn="l" defTabSz="913553" rtl="0" eaLnBrk="1" latinLnBrk="0" hangingPunct="1">
              <a:lnSpc>
                <a:spcPct val="100000"/>
              </a:lnSpc>
              <a:spcBef>
                <a:spcPts val="0"/>
              </a:spcBef>
              <a:spcAft>
                <a:spcPts val="1200"/>
              </a:spcAft>
              <a:buClr>
                <a:schemeClr val="tx1"/>
              </a:buClr>
              <a:buFont typeface="Arial" panose="020B0604020202020204" pitchFamily="34" charset="0"/>
              <a:buChar char="•"/>
              <a:defRPr lang="en-US" sz="2000" kern="1200" dirty="0" smtClean="0">
                <a:solidFill>
                  <a:schemeClr val="tx1"/>
                </a:solidFill>
                <a:latin typeface="+mn-lt"/>
                <a:ea typeface="+mn-ea"/>
                <a:cs typeface="+mn-cs"/>
              </a:defRPr>
            </a:lvl1pPr>
            <a:lvl2pPr marL="452548" indent="-224158" algn="l" defTabSz="913553" rtl="0" eaLnBrk="1" latinLnBrk="0" hangingPunct="1">
              <a:lnSpc>
                <a:spcPct val="100000"/>
              </a:lnSpc>
              <a:spcBef>
                <a:spcPts val="0"/>
              </a:spcBef>
              <a:spcAft>
                <a:spcPts val="1200"/>
              </a:spcAft>
              <a:buClr>
                <a:schemeClr val="tx1"/>
              </a:buClr>
              <a:buFont typeface="Calibri" panose="020F0502020204030204" pitchFamily="34" charset="0"/>
              <a:buChar char="–"/>
              <a:defRPr lang="en-US" sz="2000" kern="1200" dirty="0" smtClean="0">
                <a:solidFill>
                  <a:schemeClr val="tx1"/>
                </a:solidFill>
                <a:latin typeface="+mn-lt"/>
                <a:ea typeface="+mn-ea"/>
                <a:cs typeface="+mn-cs"/>
              </a:defRPr>
            </a:lvl2pPr>
            <a:lvl3pPr marL="685166" indent="-228389" algn="l" defTabSz="913553" rtl="0" eaLnBrk="1" latinLnBrk="0" hangingPunct="1">
              <a:lnSpc>
                <a:spcPct val="100000"/>
              </a:lnSpc>
              <a:spcBef>
                <a:spcPts val="0"/>
              </a:spcBef>
              <a:spcAft>
                <a:spcPts val="1200"/>
              </a:spcAft>
              <a:buClr>
                <a:schemeClr val="tx1"/>
              </a:buClr>
              <a:buFont typeface="Arial" panose="020B0604020202020204" pitchFamily="34" charset="0"/>
              <a:buChar char="•"/>
              <a:defRPr lang="en-US" sz="2000" kern="1200" dirty="0" smtClean="0">
                <a:solidFill>
                  <a:schemeClr val="tx1"/>
                </a:solidFill>
                <a:latin typeface="+mn-lt"/>
                <a:ea typeface="+mn-ea"/>
                <a:cs typeface="+mn-cs"/>
              </a:defRPr>
            </a:lvl3pPr>
            <a:lvl4pPr marL="915670" indent="-230504" algn="l" defTabSz="913553" rtl="0" eaLnBrk="1" latinLnBrk="0" hangingPunct="1">
              <a:lnSpc>
                <a:spcPct val="100000"/>
              </a:lnSpc>
              <a:spcBef>
                <a:spcPts val="0"/>
              </a:spcBef>
              <a:spcAft>
                <a:spcPts val="1200"/>
              </a:spcAft>
              <a:buClr>
                <a:schemeClr val="tx1"/>
              </a:buClr>
              <a:buFont typeface="Calibri" panose="020F0502020204030204" pitchFamily="34" charset="0"/>
              <a:buChar char="–"/>
              <a:defRPr lang="en-US" sz="2000" kern="1200" dirty="0" smtClean="0">
                <a:solidFill>
                  <a:schemeClr val="tx1"/>
                </a:solidFill>
                <a:latin typeface="+mn-lt"/>
                <a:ea typeface="+mn-ea"/>
                <a:cs typeface="+mn-cs"/>
              </a:defRPr>
            </a:lvl4pPr>
            <a:lvl5pPr marL="1137713" indent="-224158" algn="l" defTabSz="913553" rtl="0" eaLnBrk="1" latinLnBrk="0" hangingPunct="1">
              <a:lnSpc>
                <a:spcPct val="100000"/>
              </a:lnSpc>
              <a:spcBef>
                <a:spcPts val="0"/>
              </a:spcBef>
              <a:spcAft>
                <a:spcPts val="1200"/>
              </a:spcAft>
              <a:buClr>
                <a:schemeClr val="tx1"/>
              </a:buClr>
              <a:buFont typeface="Arial" panose="020B0604020202020204" pitchFamily="34" charset="0"/>
              <a:buChar char="•"/>
              <a:defRPr lang="en-US" sz="2000" kern="1200" dirty="0">
                <a:solidFill>
                  <a:schemeClr val="tx1"/>
                </a:solidFill>
                <a:latin typeface="+mn-lt"/>
                <a:ea typeface="+mn-ea"/>
                <a:cs typeface="+mn-cs"/>
              </a:defRPr>
            </a:lvl5pPr>
            <a:lvl6pPr marL="2512271" indent="-228389" algn="l" defTabSz="913553"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6pPr>
            <a:lvl7pPr marL="2969048" indent="-228389" algn="l" defTabSz="913553"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7pPr>
            <a:lvl8pPr marL="3425826" indent="-228389" algn="l" defTabSz="913553"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8pPr>
            <a:lvl9pPr marL="3882601" indent="-228389" algn="l" defTabSz="913553" rtl="0" eaLnBrk="1" latinLnBrk="0" hangingPunct="1">
              <a:lnSpc>
                <a:spcPct val="90000"/>
              </a:lnSpc>
              <a:spcBef>
                <a:spcPts val="500"/>
              </a:spcBef>
              <a:buFont typeface="Arial" panose="020B0604020202020204" pitchFamily="34" charset="0"/>
              <a:buChar char="•"/>
              <a:defRPr sz="1798" kern="1200">
                <a:solidFill>
                  <a:schemeClr val="tx1"/>
                </a:solidFill>
                <a:latin typeface="+mn-lt"/>
                <a:ea typeface="+mn-ea"/>
                <a:cs typeface="+mn-cs"/>
              </a:defRPr>
            </a:lvl9pPr>
          </a:lstStyle>
          <a:p>
            <a:r>
              <a:rPr lang="en-US" b="1" dirty="0"/>
              <a:t>Language support</a:t>
            </a:r>
          </a:p>
          <a:p>
            <a:pPr marL="306070" lvl="1" indent="-245110"/>
            <a:r>
              <a:rPr lang="en-US" dirty="0"/>
              <a:t>+20 Languages</a:t>
            </a:r>
            <a:endParaRPr lang="en-US" dirty="0">
              <a:cs typeface="Calibri"/>
            </a:endParaRPr>
          </a:p>
          <a:p>
            <a:pPr marL="536575" lvl="2" indent="-229870"/>
            <a:r>
              <a:rPr lang="en-US" dirty="0"/>
              <a:t>User interface</a:t>
            </a:r>
            <a:endParaRPr lang="en-US" dirty="0">
              <a:cs typeface="Calibri"/>
            </a:endParaRPr>
          </a:p>
          <a:p>
            <a:pPr marL="536575" lvl="2" indent="-229870"/>
            <a:r>
              <a:rPr lang="en-US" dirty="0"/>
              <a:t>Translated versions </a:t>
            </a:r>
            <a:endParaRPr lang="en-US" dirty="0">
              <a:cs typeface="Calibri"/>
            </a:endParaRPr>
          </a:p>
          <a:p>
            <a:pPr marL="536575" lvl="2" indent="-229870"/>
            <a:r>
              <a:rPr lang="en-US" dirty="0"/>
              <a:t>Audio format</a:t>
            </a:r>
            <a:endParaRPr lang="en-US" dirty="0">
              <a:cs typeface="Calibri"/>
            </a:endParaRPr>
          </a:p>
        </p:txBody>
      </p:sp>
      <p:sp>
        <p:nvSpPr>
          <p:cNvPr id="12" name="Freeform 261">
            <a:extLst>
              <a:ext uri="{FF2B5EF4-FFF2-40B4-BE49-F238E27FC236}">
                <a16:creationId xmlns:a16="http://schemas.microsoft.com/office/drawing/2014/main" id="{20C66C9E-81E3-84C8-1A4C-A6F7F3AD3961}"/>
              </a:ext>
              <a:ext uri="{C183D7F6-B498-43B3-948B-1728B52AA6E4}">
                <adec:decorative xmlns:adec="http://schemas.microsoft.com/office/drawing/2017/decorative" val="1"/>
              </a:ext>
            </a:extLst>
          </p:cNvPr>
          <p:cNvSpPr>
            <a:spLocks noChangeAspect="1" noEditPoints="1"/>
          </p:cNvSpPr>
          <p:nvPr/>
        </p:nvSpPr>
        <p:spPr bwMode="auto">
          <a:xfrm>
            <a:off x="5479023" y="5084068"/>
            <a:ext cx="678067" cy="677439"/>
          </a:xfrm>
          <a:custGeom>
            <a:avLst/>
            <a:gdLst>
              <a:gd name="T0" fmla="*/ 1051 w 6492"/>
              <a:gd name="T1" fmla="*/ 5598 h 6486"/>
              <a:gd name="T2" fmla="*/ 875 w 6492"/>
              <a:gd name="T3" fmla="*/ 5491 h 6486"/>
              <a:gd name="T4" fmla="*/ 3052 w 6492"/>
              <a:gd name="T5" fmla="*/ 3386 h 6486"/>
              <a:gd name="T6" fmla="*/ 1189 w 6492"/>
              <a:gd name="T7" fmla="*/ 2407 h 6486"/>
              <a:gd name="T8" fmla="*/ 2073 w 6492"/>
              <a:gd name="T9" fmla="*/ 2842 h 6486"/>
              <a:gd name="T10" fmla="*/ 2273 w 6492"/>
              <a:gd name="T11" fmla="*/ 2791 h 6486"/>
              <a:gd name="T12" fmla="*/ 1571 w 6492"/>
              <a:gd name="T13" fmla="*/ 2166 h 6486"/>
              <a:gd name="T14" fmla="*/ 709 w 6492"/>
              <a:gd name="T15" fmla="*/ 2037 h 6486"/>
              <a:gd name="T16" fmla="*/ 942 w 6492"/>
              <a:gd name="T17" fmla="*/ 1741 h 6486"/>
              <a:gd name="T18" fmla="*/ 1531 w 6492"/>
              <a:gd name="T19" fmla="*/ 1340 h 6486"/>
              <a:gd name="T20" fmla="*/ 1490 w 6492"/>
              <a:gd name="T21" fmla="*/ 678 h 6486"/>
              <a:gd name="T22" fmla="*/ 1741 w 6492"/>
              <a:gd name="T23" fmla="*/ 407 h 6486"/>
              <a:gd name="T24" fmla="*/ 2156 w 6492"/>
              <a:gd name="T25" fmla="*/ 1085 h 6486"/>
              <a:gd name="T26" fmla="*/ 2333 w 6492"/>
              <a:gd name="T27" fmla="*/ 1908 h 6486"/>
              <a:gd name="T28" fmla="*/ 3110 w 6492"/>
              <a:gd name="T29" fmla="*/ 2461 h 6486"/>
              <a:gd name="T30" fmla="*/ 2414 w 6492"/>
              <a:gd name="T31" fmla="*/ 1582 h 6486"/>
              <a:gd name="T32" fmla="*/ 2322 w 6492"/>
              <a:gd name="T33" fmla="*/ 766 h 6486"/>
              <a:gd name="T34" fmla="*/ 1709 w 6492"/>
              <a:gd name="T35" fmla="*/ 112 h 6486"/>
              <a:gd name="T36" fmla="*/ 954 w 6492"/>
              <a:gd name="T37" fmla="*/ 25 h 6486"/>
              <a:gd name="T38" fmla="*/ 582 w 6492"/>
              <a:gd name="T39" fmla="*/ 371 h 6486"/>
              <a:gd name="T40" fmla="*/ 1407 w 6492"/>
              <a:gd name="T41" fmla="*/ 972 h 6486"/>
              <a:gd name="T42" fmla="*/ 1112 w 6492"/>
              <a:gd name="T43" fmla="*/ 1493 h 6486"/>
              <a:gd name="T44" fmla="*/ 198 w 6492"/>
              <a:gd name="T45" fmla="*/ 1079 h 6486"/>
              <a:gd name="T46" fmla="*/ 20 w 6492"/>
              <a:gd name="T47" fmla="*/ 1485 h 6486"/>
              <a:gd name="T48" fmla="*/ 422 w 6492"/>
              <a:gd name="T49" fmla="*/ 2130 h 6486"/>
              <a:gd name="T50" fmla="*/ 6330 w 6492"/>
              <a:gd name="T51" fmla="*/ 4658 h 6486"/>
              <a:gd name="T52" fmla="*/ 5721 w 6492"/>
              <a:gd name="T53" fmla="*/ 4155 h 6486"/>
              <a:gd name="T54" fmla="*/ 4867 w 6492"/>
              <a:gd name="T55" fmla="*/ 4049 h 6486"/>
              <a:gd name="T56" fmla="*/ 4010 w 6492"/>
              <a:gd name="T57" fmla="*/ 3390 h 6486"/>
              <a:gd name="T58" fmla="*/ 4642 w 6492"/>
              <a:gd name="T59" fmla="*/ 4195 h 6486"/>
              <a:gd name="T60" fmla="*/ 5328 w 6492"/>
              <a:gd name="T61" fmla="*/ 4321 h 6486"/>
              <a:gd name="T62" fmla="*/ 6139 w 6492"/>
              <a:gd name="T63" fmla="*/ 4808 h 6486"/>
              <a:gd name="T64" fmla="*/ 5248 w 6492"/>
              <a:gd name="T65" fmla="*/ 4792 h 6486"/>
              <a:gd name="T66" fmla="*/ 4844 w 6492"/>
              <a:gd name="T67" fmla="*/ 5520 h 6486"/>
              <a:gd name="T68" fmla="*/ 5254 w 6492"/>
              <a:gd name="T69" fmla="*/ 6245 h 6486"/>
              <a:gd name="T70" fmla="*/ 4477 w 6492"/>
              <a:gd name="T71" fmla="*/ 5797 h 6486"/>
              <a:gd name="T72" fmla="*/ 4346 w 6492"/>
              <a:gd name="T73" fmla="*/ 5026 h 6486"/>
              <a:gd name="T74" fmla="*/ 3736 w 6492"/>
              <a:gd name="T75" fmla="*/ 4206 h 6486"/>
              <a:gd name="T76" fmla="*/ 3635 w 6492"/>
              <a:gd name="T77" fmla="*/ 4393 h 6486"/>
              <a:gd name="T78" fmla="*/ 4091 w 6492"/>
              <a:gd name="T79" fmla="*/ 5199 h 6486"/>
              <a:gd name="T80" fmla="*/ 4408 w 6492"/>
              <a:gd name="T81" fmla="*/ 6101 h 6486"/>
              <a:gd name="T82" fmla="*/ 5214 w 6492"/>
              <a:gd name="T83" fmla="*/ 6484 h 6486"/>
              <a:gd name="T84" fmla="*/ 5900 w 6492"/>
              <a:gd name="T85" fmla="*/ 6172 h 6486"/>
              <a:gd name="T86" fmla="*/ 5105 w 6492"/>
              <a:gd name="T87" fmla="*/ 5575 h 6486"/>
              <a:gd name="T88" fmla="*/ 5315 w 6492"/>
              <a:gd name="T89" fmla="*/ 5055 h 6486"/>
              <a:gd name="T90" fmla="*/ 6236 w 6492"/>
              <a:gd name="T91" fmla="*/ 5402 h 6486"/>
              <a:gd name="T92" fmla="*/ 6492 w 6492"/>
              <a:gd name="T93" fmla="*/ 5111 h 6486"/>
              <a:gd name="T94" fmla="*/ 1495 w 6492"/>
              <a:gd name="T95" fmla="*/ 6045 h 6486"/>
              <a:gd name="T96" fmla="*/ 749 w 6492"/>
              <a:gd name="T97" fmla="*/ 6194 h 6486"/>
              <a:gd name="T98" fmla="*/ 258 w 6492"/>
              <a:gd name="T99" fmla="*/ 5602 h 6486"/>
              <a:gd name="T100" fmla="*/ 2496 w 6492"/>
              <a:gd name="T101" fmla="*/ 2941 h 6486"/>
              <a:gd name="T102" fmla="*/ 4625 w 6492"/>
              <a:gd name="T103" fmla="*/ 995 h 6486"/>
              <a:gd name="T104" fmla="*/ 5807 w 6492"/>
              <a:gd name="T105" fmla="*/ 266 h 6486"/>
              <a:gd name="T106" fmla="*/ 5599 w 6492"/>
              <a:gd name="T107" fmla="*/ 1808 h 6486"/>
              <a:gd name="T108" fmla="*/ 3523 w 6492"/>
              <a:gd name="T109" fmla="*/ 2966 h 6486"/>
              <a:gd name="T110" fmla="*/ 4862 w 6492"/>
              <a:gd name="T111" fmla="*/ 1405 h 6486"/>
              <a:gd name="T112" fmla="*/ 3370 w 6492"/>
              <a:gd name="T113" fmla="*/ 3155 h 6486"/>
              <a:gd name="T114" fmla="*/ 2896 w 6492"/>
              <a:gd name="T115" fmla="*/ 2998 h 6486"/>
              <a:gd name="T116" fmla="*/ 520 w 6492"/>
              <a:gd name="T117" fmla="*/ 5321 h 6486"/>
              <a:gd name="T118" fmla="*/ 621 w 6492"/>
              <a:gd name="T119" fmla="*/ 5829 h 6486"/>
              <a:gd name="T120" fmla="*/ 1115 w 6492"/>
              <a:gd name="T121" fmla="*/ 5981 h 6486"/>
              <a:gd name="T122" fmla="*/ 3479 w 6492"/>
              <a:gd name="T123" fmla="*/ 3639 h 6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492" h="6486">
                <a:moveTo>
                  <a:pt x="3081" y="3408"/>
                </a:moveTo>
                <a:lnTo>
                  <a:pt x="3081" y="3408"/>
                </a:lnTo>
                <a:lnTo>
                  <a:pt x="3089" y="3416"/>
                </a:lnTo>
                <a:lnTo>
                  <a:pt x="3096" y="3426"/>
                </a:lnTo>
                <a:lnTo>
                  <a:pt x="3103" y="3437"/>
                </a:lnTo>
                <a:lnTo>
                  <a:pt x="3107" y="3448"/>
                </a:lnTo>
                <a:lnTo>
                  <a:pt x="3112" y="3459"/>
                </a:lnTo>
                <a:lnTo>
                  <a:pt x="3115" y="3469"/>
                </a:lnTo>
                <a:lnTo>
                  <a:pt x="3116" y="3482"/>
                </a:lnTo>
                <a:lnTo>
                  <a:pt x="3117" y="3492"/>
                </a:lnTo>
                <a:lnTo>
                  <a:pt x="3116" y="3504"/>
                </a:lnTo>
                <a:lnTo>
                  <a:pt x="3115" y="3515"/>
                </a:lnTo>
                <a:lnTo>
                  <a:pt x="3112" y="3527"/>
                </a:lnTo>
                <a:lnTo>
                  <a:pt x="3107" y="3538"/>
                </a:lnTo>
                <a:lnTo>
                  <a:pt x="3103" y="3549"/>
                </a:lnTo>
                <a:lnTo>
                  <a:pt x="3096" y="3559"/>
                </a:lnTo>
                <a:lnTo>
                  <a:pt x="3089" y="3568"/>
                </a:lnTo>
                <a:lnTo>
                  <a:pt x="3081" y="3578"/>
                </a:lnTo>
                <a:lnTo>
                  <a:pt x="1080" y="5576"/>
                </a:lnTo>
                <a:lnTo>
                  <a:pt x="1080" y="5576"/>
                </a:lnTo>
                <a:lnTo>
                  <a:pt x="1072" y="5585"/>
                </a:lnTo>
                <a:lnTo>
                  <a:pt x="1062" y="5592"/>
                </a:lnTo>
                <a:lnTo>
                  <a:pt x="1051" y="5598"/>
                </a:lnTo>
                <a:lnTo>
                  <a:pt x="1041" y="5603"/>
                </a:lnTo>
                <a:lnTo>
                  <a:pt x="1030" y="5607"/>
                </a:lnTo>
                <a:lnTo>
                  <a:pt x="1019" y="5610"/>
                </a:lnTo>
                <a:lnTo>
                  <a:pt x="1007" y="5611"/>
                </a:lnTo>
                <a:lnTo>
                  <a:pt x="996" y="5611"/>
                </a:lnTo>
                <a:lnTo>
                  <a:pt x="996" y="5611"/>
                </a:lnTo>
                <a:lnTo>
                  <a:pt x="984" y="5611"/>
                </a:lnTo>
                <a:lnTo>
                  <a:pt x="973" y="5610"/>
                </a:lnTo>
                <a:lnTo>
                  <a:pt x="961" y="5607"/>
                </a:lnTo>
                <a:lnTo>
                  <a:pt x="950" y="5603"/>
                </a:lnTo>
                <a:lnTo>
                  <a:pt x="939" y="5598"/>
                </a:lnTo>
                <a:lnTo>
                  <a:pt x="930" y="5592"/>
                </a:lnTo>
                <a:lnTo>
                  <a:pt x="920" y="5585"/>
                </a:lnTo>
                <a:lnTo>
                  <a:pt x="910" y="5576"/>
                </a:lnTo>
                <a:lnTo>
                  <a:pt x="910" y="5576"/>
                </a:lnTo>
                <a:lnTo>
                  <a:pt x="902" y="5568"/>
                </a:lnTo>
                <a:lnTo>
                  <a:pt x="895" y="5557"/>
                </a:lnTo>
                <a:lnTo>
                  <a:pt x="889" y="5548"/>
                </a:lnTo>
                <a:lnTo>
                  <a:pt x="884" y="5537"/>
                </a:lnTo>
                <a:lnTo>
                  <a:pt x="880" y="5526"/>
                </a:lnTo>
                <a:lnTo>
                  <a:pt x="877" y="5514"/>
                </a:lnTo>
                <a:lnTo>
                  <a:pt x="875" y="5503"/>
                </a:lnTo>
                <a:lnTo>
                  <a:pt x="875" y="5491"/>
                </a:lnTo>
                <a:lnTo>
                  <a:pt x="875" y="5480"/>
                </a:lnTo>
                <a:lnTo>
                  <a:pt x="877" y="5468"/>
                </a:lnTo>
                <a:lnTo>
                  <a:pt x="880" y="5457"/>
                </a:lnTo>
                <a:lnTo>
                  <a:pt x="884" y="5446"/>
                </a:lnTo>
                <a:lnTo>
                  <a:pt x="889" y="5436"/>
                </a:lnTo>
                <a:lnTo>
                  <a:pt x="895" y="5425"/>
                </a:lnTo>
                <a:lnTo>
                  <a:pt x="902" y="5415"/>
                </a:lnTo>
                <a:lnTo>
                  <a:pt x="910" y="5407"/>
                </a:lnTo>
                <a:lnTo>
                  <a:pt x="2911" y="3408"/>
                </a:lnTo>
                <a:lnTo>
                  <a:pt x="2911" y="3408"/>
                </a:lnTo>
                <a:lnTo>
                  <a:pt x="2920" y="3400"/>
                </a:lnTo>
                <a:lnTo>
                  <a:pt x="2930" y="3392"/>
                </a:lnTo>
                <a:lnTo>
                  <a:pt x="2940" y="3386"/>
                </a:lnTo>
                <a:lnTo>
                  <a:pt x="2951" y="3382"/>
                </a:lnTo>
                <a:lnTo>
                  <a:pt x="2961" y="3377"/>
                </a:lnTo>
                <a:lnTo>
                  <a:pt x="2973" y="3374"/>
                </a:lnTo>
                <a:lnTo>
                  <a:pt x="2984" y="3373"/>
                </a:lnTo>
                <a:lnTo>
                  <a:pt x="2996" y="3372"/>
                </a:lnTo>
                <a:lnTo>
                  <a:pt x="3007" y="3373"/>
                </a:lnTo>
                <a:lnTo>
                  <a:pt x="3019" y="3374"/>
                </a:lnTo>
                <a:lnTo>
                  <a:pt x="3030" y="3377"/>
                </a:lnTo>
                <a:lnTo>
                  <a:pt x="3041" y="3382"/>
                </a:lnTo>
                <a:lnTo>
                  <a:pt x="3052" y="3386"/>
                </a:lnTo>
                <a:lnTo>
                  <a:pt x="3063" y="3392"/>
                </a:lnTo>
                <a:lnTo>
                  <a:pt x="3072" y="3400"/>
                </a:lnTo>
                <a:lnTo>
                  <a:pt x="3081" y="3408"/>
                </a:lnTo>
                <a:lnTo>
                  <a:pt x="3081" y="3408"/>
                </a:lnTo>
                <a:close/>
                <a:moveTo>
                  <a:pt x="590" y="2246"/>
                </a:moveTo>
                <a:lnTo>
                  <a:pt x="590" y="2246"/>
                </a:lnTo>
                <a:lnTo>
                  <a:pt x="625" y="2265"/>
                </a:lnTo>
                <a:lnTo>
                  <a:pt x="660" y="2283"/>
                </a:lnTo>
                <a:lnTo>
                  <a:pt x="696" y="2300"/>
                </a:lnTo>
                <a:lnTo>
                  <a:pt x="732" y="2315"/>
                </a:lnTo>
                <a:lnTo>
                  <a:pt x="768" y="2330"/>
                </a:lnTo>
                <a:lnTo>
                  <a:pt x="805" y="2343"/>
                </a:lnTo>
                <a:lnTo>
                  <a:pt x="843" y="2355"/>
                </a:lnTo>
                <a:lnTo>
                  <a:pt x="880" y="2366"/>
                </a:lnTo>
                <a:lnTo>
                  <a:pt x="918" y="2376"/>
                </a:lnTo>
                <a:lnTo>
                  <a:pt x="956" y="2384"/>
                </a:lnTo>
                <a:lnTo>
                  <a:pt x="995" y="2390"/>
                </a:lnTo>
                <a:lnTo>
                  <a:pt x="1033" y="2396"/>
                </a:lnTo>
                <a:lnTo>
                  <a:pt x="1072" y="2401"/>
                </a:lnTo>
                <a:lnTo>
                  <a:pt x="1111" y="2403"/>
                </a:lnTo>
                <a:lnTo>
                  <a:pt x="1150" y="2406"/>
                </a:lnTo>
                <a:lnTo>
                  <a:pt x="1189" y="2407"/>
                </a:lnTo>
                <a:lnTo>
                  <a:pt x="1189" y="2407"/>
                </a:lnTo>
                <a:lnTo>
                  <a:pt x="1231" y="2406"/>
                </a:lnTo>
                <a:lnTo>
                  <a:pt x="1273" y="2403"/>
                </a:lnTo>
                <a:lnTo>
                  <a:pt x="1316" y="2400"/>
                </a:lnTo>
                <a:lnTo>
                  <a:pt x="1358" y="2395"/>
                </a:lnTo>
                <a:lnTo>
                  <a:pt x="1358" y="2395"/>
                </a:lnTo>
                <a:lnTo>
                  <a:pt x="1384" y="2392"/>
                </a:lnTo>
                <a:lnTo>
                  <a:pt x="1412" y="2391"/>
                </a:lnTo>
                <a:lnTo>
                  <a:pt x="1440" y="2391"/>
                </a:lnTo>
                <a:lnTo>
                  <a:pt x="1467" y="2392"/>
                </a:lnTo>
                <a:lnTo>
                  <a:pt x="1494" y="2396"/>
                </a:lnTo>
                <a:lnTo>
                  <a:pt x="1521" y="2401"/>
                </a:lnTo>
                <a:lnTo>
                  <a:pt x="1548" y="2408"/>
                </a:lnTo>
                <a:lnTo>
                  <a:pt x="1574" y="2417"/>
                </a:lnTo>
                <a:lnTo>
                  <a:pt x="1600" y="2426"/>
                </a:lnTo>
                <a:lnTo>
                  <a:pt x="1625" y="2437"/>
                </a:lnTo>
                <a:lnTo>
                  <a:pt x="1650" y="2449"/>
                </a:lnTo>
                <a:lnTo>
                  <a:pt x="1674" y="2462"/>
                </a:lnTo>
                <a:lnTo>
                  <a:pt x="1697" y="2478"/>
                </a:lnTo>
                <a:lnTo>
                  <a:pt x="1718" y="2495"/>
                </a:lnTo>
                <a:lnTo>
                  <a:pt x="1740" y="2513"/>
                </a:lnTo>
                <a:lnTo>
                  <a:pt x="1760" y="2532"/>
                </a:lnTo>
                <a:lnTo>
                  <a:pt x="2073" y="2842"/>
                </a:lnTo>
                <a:lnTo>
                  <a:pt x="2073" y="2842"/>
                </a:lnTo>
                <a:lnTo>
                  <a:pt x="2081" y="2850"/>
                </a:lnTo>
                <a:lnTo>
                  <a:pt x="2092" y="2858"/>
                </a:lnTo>
                <a:lnTo>
                  <a:pt x="2102" y="2864"/>
                </a:lnTo>
                <a:lnTo>
                  <a:pt x="2113" y="2868"/>
                </a:lnTo>
                <a:lnTo>
                  <a:pt x="2123" y="2872"/>
                </a:lnTo>
                <a:lnTo>
                  <a:pt x="2134" y="2874"/>
                </a:lnTo>
                <a:lnTo>
                  <a:pt x="2146" y="2877"/>
                </a:lnTo>
                <a:lnTo>
                  <a:pt x="2157" y="2877"/>
                </a:lnTo>
                <a:lnTo>
                  <a:pt x="2157" y="2877"/>
                </a:lnTo>
                <a:lnTo>
                  <a:pt x="2169" y="2877"/>
                </a:lnTo>
                <a:lnTo>
                  <a:pt x="2181" y="2874"/>
                </a:lnTo>
                <a:lnTo>
                  <a:pt x="2192" y="2872"/>
                </a:lnTo>
                <a:lnTo>
                  <a:pt x="2203" y="2868"/>
                </a:lnTo>
                <a:lnTo>
                  <a:pt x="2214" y="2864"/>
                </a:lnTo>
                <a:lnTo>
                  <a:pt x="2225" y="2858"/>
                </a:lnTo>
                <a:lnTo>
                  <a:pt x="2234" y="2850"/>
                </a:lnTo>
                <a:lnTo>
                  <a:pt x="2243" y="2842"/>
                </a:lnTo>
                <a:lnTo>
                  <a:pt x="2243" y="2842"/>
                </a:lnTo>
                <a:lnTo>
                  <a:pt x="2251" y="2832"/>
                </a:lnTo>
                <a:lnTo>
                  <a:pt x="2258" y="2823"/>
                </a:lnTo>
                <a:lnTo>
                  <a:pt x="2264" y="2813"/>
                </a:lnTo>
                <a:lnTo>
                  <a:pt x="2269" y="2802"/>
                </a:lnTo>
                <a:lnTo>
                  <a:pt x="2273" y="2791"/>
                </a:lnTo>
                <a:lnTo>
                  <a:pt x="2277" y="2779"/>
                </a:lnTo>
                <a:lnTo>
                  <a:pt x="2278" y="2768"/>
                </a:lnTo>
                <a:lnTo>
                  <a:pt x="2278" y="2756"/>
                </a:lnTo>
                <a:lnTo>
                  <a:pt x="2278" y="2744"/>
                </a:lnTo>
                <a:lnTo>
                  <a:pt x="2277" y="2733"/>
                </a:lnTo>
                <a:lnTo>
                  <a:pt x="2273" y="2723"/>
                </a:lnTo>
                <a:lnTo>
                  <a:pt x="2269" y="2711"/>
                </a:lnTo>
                <a:lnTo>
                  <a:pt x="2264" y="2701"/>
                </a:lnTo>
                <a:lnTo>
                  <a:pt x="2258" y="2690"/>
                </a:lnTo>
                <a:lnTo>
                  <a:pt x="2251" y="2680"/>
                </a:lnTo>
                <a:lnTo>
                  <a:pt x="2243" y="2671"/>
                </a:lnTo>
                <a:lnTo>
                  <a:pt x="1930" y="2361"/>
                </a:lnTo>
                <a:lnTo>
                  <a:pt x="1930" y="2361"/>
                </a:lnTo>
                <a:lnTo>
                  <a:pt x="1900" y="2332"/>
                </a:lnTo>
                <a:lnTo>
                  <a:pt x="1868" y="2306"/>
                </a:lnTo>
                <a:lnTo>
                  <a:pt x="1834" y="2280"/>
                </a:lnTo>
                <a:lnTo>
                  <a:pt x="1800" y="2258"/>
                </a:lnTo>
                <a:lnTo>
                  <a:pt x="1764" y="2237"/>
                </a:lnTo>
                <a:lnTo>
                  <a:pt x="1727" y="2219"/>
                </a:lnTo>
                <a:lnTo>
                  <a:pt x="1689" y="2202"/>
                </a:lnTo>
                <a:lnTo>
                  <a:pt x="1651" y="2188"/>
                </a:lnTo>
                <a:lnTo>
                  <a:pt x="1611" y="2176"/>
                </a:lnTo>
                <a:lnTo>
                  <a:pt x="1571" y="2166"/>
                </a:lnTo>
                <a:lnTo>
                  <a:pt x="1530" y="2159"/>
                </a:lnTo>
                <a:lnTo>
                  <a:pt x="1489" y="2153"/>
                </a:lnTo>
                <a:lnTo>
                  <a:pt x="1448" y="2150"/>
                </a:lnTo>
                <a:lnTo>
                  <a:pt x="1407" y="2150"/>
                </a:lnTo>
                <a:lnTo>
                  <a:pt x="1366" y="2152"/>
                </a:lnTo>
                <a:lnTo>
                  <a:pt x="1324" y="2156"/>
                </a:lnTo>
                <a:lnTo>
                  <a:pt x="1324" y="2156"/>
                </a:lnTo>
                <a:lnTo>
                  <a:pt x="1284" y="2161"/>
                </a:lnTo>
                <a:lnTo>
                  <a:pt x="1244" y="2164"/>
                </a:lnTo>
                <a:lnTo>
                  <a:pt x="1203" y="2165"/>
                </a:lnTo>
                <a:lnTo>
                  <a:pt x="1164" y="2165"/>
                </a:lnTo>
                <a:lnTo>
                  <a:pt x="1124" y="2164"/>
                </a:lnTo>
                <a:lnTo>
                  <a:pt x="1085" y="2160"/>
                </a:lnTo>
                <a:lnTo>
                  <a:pt x="1045" y="2155"/>
                </a:lnTo>
                <a:lnTo>
                  <a:pt x="1007" y="2148"/>
                </a:lnTo>
                <a:lnTo>
                  <a:pt x="968" y="2140"/>
                </a:lnTo>
                <a:lnTo>
                  <a:pt x="930" y="2130"/>
                </a:lnTo>
                <a:lnTo>
                  <a:pt x="892" y="2118"/>
                </a:lnTo>
                <a:lnTo>
                  <a:pt x="855" y="2105"/>
                </a:lnTo>
                <a:lnTo>
                  <a:pt x="818" y="2090"/>
                </a:lnTo>
                <a:lnTo>
                  <a:pt x="780" y="2074"/>
                </a:lnTo>
                <a:lnTo>
                  <a:pt x="745" y="2056"/>
                </a:lnTo>
                <a:lnTo>
                  <a:pt x="709" y="2037"/>
                </a:lnTo>
                <a:lnTo>
                  <a:pt x="709" y="2037"/>
                </a:lnTo>
                <a:lnTo>
                  <a:pt x="664" y="2009"/>
                </a:lnTo>
                <a:lnTo>
                  <a:pt x="622" y="1980"/>
                </a:lnTo>
                <a:lnTo>
                  <a:pt x="581" y="1949"/>
                </a:lnTo>
                <a:lnTo>
                  <a:pt x="543" y="1915"/>
                </a:lnTo>
                <a:lnTo>
                  <a:pt x="505" y="1881"/>
                </a:lnTo>
                <a:lnTo>
                  <a:pt x="471" y="1843"/>
                </a:lnTo>
                <a:lnTo>
                  <a:pt x="438" y="1805"/>
                </a:lnTo>
                <a:lnTo>
                  <a:pt x="408" y="1764"/>
                </a:lnTo>
                <a:lnTo>
                  <a:pt x="379" y="1721"/>
                </a:lnTo>
                <a:lnTo>
                  <a:pt x="353" y="1678"/>
                </a:lnTo>
                <a:lnTo>
                  <a:pt x="329" y="1632"/>
                </a:lnTo>
                <a:lnTo>
                  <a:pt x="307" y="1587"/>
                </a:lnTo>
                <a:lnTo>
                  <a:pt x="288" y="1538"/>
                </a:lnTo>
                <a:lnTo>
                  <a:pt x="273" y="1489"/>
                </a:lnTo>
                <a:lnTo>
                  <a:pt x="258" y="1440"/>
                </a:lnTo>
                <a:lnTo>
                  <a:pt x="247" y="1389"/>
                </a:lnTo>
                <a:lnTo>
                  <a:pt x="262" y="1362"/>
                </a:lnTo>
                <a:lnTo>
                  <a:pt x="861" y="1706"/>
                </a:lnTo>
                <a:lnTo>
                  <a:pt x="861" y="1706"/>
                </a:lnTo>
                <a:lnTo>
                  <a:pt x="887" y="1720"/>
                </a:lnTo>
                <a:lnTo>
                  <a:pt x="914" y="1731"/>
                </a:lnTo>
                <a:lnTo>
                  <a:pt x="942" y="1741"/>
                </a:lnTo>
                <a:lnTo>
                  <a:pt x="969" y="1748"/>
                </a:lnTo>
                <a:lnTo>
                  <a:pt x="998" y="1752"/>
                </a:lnTo>
                <a:lnTo>
                  <a:pt x="1027" y="1754"/>
                </a:lnTo>
                <a:lnTo>
                  <a:pt x="1055" y="1754"/>
                </a:lnTo>
                <a:lnTo>
                  <a:pt x="1084" y="1753"/>
                </a:lnTo>
                <a:lnTo>
                  <a:pt x="1112" y="1748"/>
                </a:lnTo>
                <a:lnTo>
                  <a:pt x="1139" y="1742"/>
                </a:lnTo>
                <a:lnTo>
                  <a:pt x="1167" y="1732"/>
                </a:lnTo>
                <a:lnTo>
                  <a:pt x="1194" y="1721"/>
                </a:lnTo>
                <a:lnTo>
                  <a:pt x="1219" y="1708"/>
                </a:lnTo>
                <a:lnTo>
                  <a:pt x="1244" y="1694"/>
                </a:lnTo>
                <a:lnTo>
                  <a:pt x="1268" y="1676"/>
                </a:lnTo>
                <a:lnTo>
                  <a:pt x="1291" y="1656"/>
                </a:lnTo>
                <a:lnTo>
                  <a:pt x="1291" y="1656"/>
                </a:lnTo>
                <a:lnTo>
                  <a:pt x="1323" y="1626"/>
                </a:lnTo>
                <a:lnTo>
                  <a:pt x="1353" y="1595"/>
                </a:lnTo>
                <a:lnTo>
                  <a:pt x="1382" y="1561"/>
                </a:lnTo>
                <a:lnTo>
                  <a:pt x="1410" y="1528"/>
                </a:lnTo>
                <a:lnTo>
                  <a:pt x="1437" y="1491"/>
                </a:lnTo>
                <a:lnTo>
                  <a:pt x="1463" y="1455"/>
                </a:lnTo>
                <a:lnTo>
                  <a:pt x="1487" y="1418"/>
                </a:lnTo>
                <a:lnTo>
                  <a:pt x="1510" y="1379"/>
                </a:lnTo>
                <a:lnTo>
                  <a:pt x="1531" y="1340"/>
                </a:lnTo>
                <a:lnTo>
                  <a:pt x="1552" y="1300"/>
                </a:lnTo>
                <a:lnTo>
                  <a:pt x="1571" y="1259"/>
                </a:lnTo>
                <a:lnTo>
                  <a:pt x="1588" y="1218"/>
                </a:lnTo>
                <a:lnTo>
                  <a:pt x="1604" y="1177"/>
                </a:lnTo>
                <a:lnTo>
                  <a:pt x="1617" y="1135"/>
                </a:lnTo>
                <a:lnTo>
                  <a:pt x="1629" y="1094"/>
                </a:lnTo>
                <a:lnTo>
                  <a:pt x="1640" y="1052"/>
                </a:lnTo>
                <a:lnTo>
                  <a:pt x="1640" y="1052"/>
                </a:lnTo>
                <a:lnTo>
                  <a:pt x="1645" y="1023"/>
                </a:lnTo>
                <a:lnTo>
                  <a:pt x="1647" y="994"/>
                </a:lnTo>
                <a:lnTo>
                  <a:pt x="1648" y="966"/>
                </a:lnTo>
                <a:lnTo>
                  <a:pt x="1646" y="937"/>
                </a:lnTo>
                <a:lnTo>
                  <a:pt x="1642" y="910"/>
                </a:lnTo>
                <a:lnTo>
                  <a:pt x="1636" y="882"/>
                </a:lnTo>
                <a:lnTo>
                  <a:pt x="1628" y="855"/>
                </a:lnTo>
                <a:lnTo>
                  <a:pt x="1617" y="830"/>
                </a:lnTo>
                <a:lnTo>
                  <a:pt x="1605" y="805"/>
                </a:lnTo>
                <a:lnTo>
                  <a:pt x="1590" y="781"/>
                </a:lnTo>
                <a:lnTo>
                  <a:pt x="1574" y="758"/>
                </a:lnTo>
                <a:lnTo>
                  <a:pt x="1555" y="736"/>
                </a:lnTo>
                <a:lnTo>
                  <a:pt x="1535" y="716"/>
                </a:lnTo>
                <a:lnTo>
                  <a:pt x="1513" y="696"/>
                </a:lnTo>
                <a:lnTo>
                  <a:pt x="1490" y="678"/>
                </a:lnTo>
                <a:lnTo>
                  <a:pt x="1465" y="663"/>
                </a:lnTo>
                <a:lnTo>
                  <a:pt x="867" y="319"/>
                </a:lnTo>
                <a:lnTo>
                  <a:pt x="883" y="294"/>
                </a:lnTo>
                <a:lnTo>
                  <a:pt x="883" y="294"/>
                </a:lnTo>
                <a:lnTo>
                  <a:pt x="932" y="278"/>
                </a:lnTo>
                <a:lnTo>
                  <a:pt x="983" y="265"/>
                </a:lnTo>
                <a:lnTo>
                  <a:pt x="1033" y="255"/>
                </a:lnTo>
                <a:lnTo>
                  <a:pt x="1085" y="247"/>
                </a:lnTo>
                <a:lnTo>
                  <a:pt x="1136" y="243"/>
                </a:lnTo>
                <a:lnTo>
                  <a:pt x="1188" y="241"/>
                </a:lnTo>
                <a:lnTo>
                  <a:pt x="1238" y="241"/>
                </a:lnTo>
                <a:lnTo>
                  <a:pt x="1290" y="245"/>
                </a:lnTo>
                <a:lnTo>
                  <a:pt x="1341" y="251"/>
                </a:lnTo>
                <a:lnTo>
                  <a:pt x="1390" y="259"/>
                </a:lnTo>
                <a:lnTo>
                  <a:pt x="1441" y="271"/>
                </a:lnTo>
                <a:lnTo>
                  <a:pt x="1489" y="286"/>
                </a:lnTo>
                <a:lnTo>
                  <a:pt x="1539" y="302"/>
                </a:lnTo>
                <a:lnTo>
                  <a:pt x="1586" y="322"/>
                </a:lnTo>
                <a:lnTo>
                  <a:pt x="1633" y="343"/>
                </a:lnTo>
                <a:lnTo>
                  <a:pt x="1678" y="369"/>
                </a:lnTo>
                <a:lnTo>
                  <a:pt x="1678" y="369"/>
                </a:lnTo>
                <a:lnTo>
                  <a:pt x="1711" y="387"/>
                </a:lnTo>
                <a:lnTo>
                  <a:pt x="1741" y="407"/>
                </a:lnTo>
                <a:lnTo>
                  <a:pt x="1771" y="429"/>
                </a:lnTo>
                <a:lnTo>
                  <a:pt x="1800" y="451"/>
                </a:lnTo>
                <a:lnTo>
                  <a:pt x="1828" y="473"/>
                </a:lnTo>
                <a:lnTo>
                  <a:pt x="1856" y="498"/>
                </a:lnTo>
                <a:lnTo>
                  <a:pt x="1881" y="523"/>
                </a:lnTo>
                <a:lnTo>
                  <a:pt x="1906" y="548"/>
                </a:lnTo>
                <a:lnTo>
                  <a:pt x="1930" y="575"/>
                </a:lnTo>
                <a:lnTo>
                  <a:pt x="1953" y="602"/>
                </a:lnTo>
                <a:lnTo>
                  <a:pt x="1975" y="630"/>
                </a:lnTo>
                <a:lnTo>
                  <a:pt x="1996" y="659"/>
                </a:lnTo>
                <a:lnTo>
                  <a:pt x="2015" y="689"/>
                </a:lnTo>
                <a:lnTo>
                  <a:pt x="2033" y="719"/>
                </a:lnTo>
                <a:lnTo>
                  <a:pt x="2050" y="749"/>
                </a:lnTo>
                <a:lnTo>
                  <a:pt x="2067" y="781"/>
                </a:lnTo>
                <a:lnTo>
                  <a:pt x="2081" y="813"/>
                </a:lnTo>
                <a:lnTo>
                  <a:pt x="2094" y="846"/>
                </a:lnTo>
                <a:lnTo>
                  <a:pt x="2108" y="878"/>
                </a:lnTo>
                <a:lnTo>
                  <a:pt x="2119" y="912"/>
                </a:lnTo>
                <a:lnTo>
                  <a:pt x="2128" y="946"/>
                </a:lnTo>
                <a:lnTo>
                  <a:pt x="2137" y="981"/>
                </a:lnTo>
                <a:lnTo>
                  <a:pt x="2145" y="1016"/>
                </a:lnTo>
                <a:lnTo>
                  <a:pt x="2151" y="1050"/>
                </a:lnTo>
                <a:lnTo>
                  <a:pt x="2156" y="1085"/>
                </a:lnTo>
                <a:lnTo>
                  <a:pt x="2160" y="1122"/>
                </a:lnTo>
                <a:lnTo>
                  <a:pt x="2162" y="1158"/>
                </a:lnTo>
                <a:lnTo>
                  <a:pt x="2162" y="1194"/>
                </a:lnTo>
                <a:lnTo>
                  <a:pt x="2162" y="1230"/>
                </a:lnTo>
                <a:lnTo>
                  <a:pt x="2160" y="1266"/>
                </a:lnTo>
                <a:lnTo>
                  <a:pt x="2157" y="1303"/>
                </a:lnTo>
                <a:lnTo>
                  <a:pt x="2152" y="1340"/>
                </a:lnTo>
                <a:lnTo>
                  <a:pt x="2152" y="1340"/>
                </a:lnTo>
                <a:lnTo>
                  <a:pt x="2148" y="1379"/>
                </a:lnTo>
                <a:lnTo>
                  <a:pt x="2146" y="1420"/>
                </a:lnTo>
                <a:lnTo>
                  <a:pt x="2146" y="1460"/>
                </a:lnTo>
                <a:lnTo>
                  <a:pt x="2149" y="1501"/>
                </a:lnTo>
                <a:lnTo>
                  <a:pt x="2155" y="1541"/>
                </a:lnTo>
                <a:lnTo>
                  <a:pt x="2162" y="1581"/>
                </a:lnTo>
                <a:lnTo>
                  <a:pt x="2173" y="1619"/>
                </a:lnTo>
                <a:lnTo>
                  <a:pt x="2185" y="1659"/>
                </a:lnTo>
                <a:lnTo>
                  <a:pt x="2199" y="1696"/>
                </a:lnTo>
                <a:lnTo>
                  <a:pt x="2216" y="1735"/>
                </a:lnTo>
                <a:lnTo>
                  <a:pt x="2236" y="1771"/>
                </a:lnTo>
                <a:lnTo>
                  <a:pt x="2257" y="1807"/>
                </a:lnTo>
                <a:lnTo>
                  <a:pt x="2280" y="1842"/>
                </a:lnTo>
                <a:lnTo>
                  <a:pt x="2307" y="1876"/>
                </a:lnTo>
                <a:lnTo>
                  <a:pt x="2333" y="1908"/>
                </a:lnTo>
                <a:lnTo>
                  <a:pt x="2363" y="1940"/>
                </a:lnTo>
                <a:lnTo>
                  <a:pt x="2918" y="2490"/>
                </a:lnTo>
                <a:lnTo>
                  <a:pt x="2918" y="2490"/>
                </a:lnTo>
                <a:lnTo>
                  <a:pt x="2926" y="2499"/>
                </a:lnTo>
                <a:lnTo>
                  <a:pt x="2936" y="2506"/>
                </a:lnTo>
                <a:lnTo>
                  <a:pt x="2947" y="2512"/>
                </a:lnTo>
                <a:lnTo>
                  <a:pt x="2958" y="2517"/>
                </a:lnTo>
                <a:lnTo>
                  <a:pt x="2969" y="2520"/>
                </a:lnTo>
                <a:lnTo>
                  <a:pt x="2980" y="2523"/>
                </a:lnTo>
                <a:lnTo>
                  <a:pt x="2992" y="2525"/>
                </a:lnTo>
                <a:lnTo>
                  <a:pt x="3002" y="2525"/>
                </a:lnTo>
                <a:lnTo>
                  <a:pt x="3014" y="2525"/>
                </a:lnTo>
                <a:lnTo>
                  <a:pt x="3025" y="2523"/>
                </a:lnTo>
                <a:lnTo>
                  <a:pt x="3037" y="2520"/>
                </a:lnTo>
                <a:lnTo>
                  <a:pt x="3048" y="2517"/>
                </a:lnTo>
                <a:lnTo>
                  <a:pt x="3059" y="2512"/>
                </a:lnTo>
                <a:lnTo>
                  <a:pt x="3069" y="2506"/>
                </a:lnTo>
                <a:lnTo>
                  <a:pt x="3078" y="2499"/>
                </a:lnTo>
                <a:lnTo>
                  <a:pt x="3088" y="2490"/>
                </a:lnTo>
                <a:lnTo>
                  <a:pt x="3088" y="2490"/>
                </a:lnTo>
                <a:lnTo>
                  <a:pt x="3096" y="2480"/>
                </a:lnTo>
                <a:lnTo>
                  <a:pt x="3104" y="2471"/>
                </a:lnTo>
                <a:lnTo>
                  <a:pt x="3110" y="2461"/>
                </a:lnTo>
                <a:lnTo>
                  <a:pt x="3115" y="2450"/>
                </a:lnTo>
                <a:lnTo>
                  <a:pt x="3118" y="2438"/>
                </a:lnTo>
                <a:lnTo>
                  <a:pt x="3121" y="2427"/>
                </a:lnTo>
                <a:lnTo>
                  <a:pt x="3123" y="2417"/>
                </a:lnTo>
                <a:lnTo>
                  <a:pt x="3123" y="2405"/>
                </a:lnTo>
                <a:lnTo>
                  <a:pt x="3123" y="2392"/>
                </a:lnTo>
                <a:lnTo>
                  <a:pt x="3121" y="2382"/>
                </a:lnTo>
                <a:lnTo>
                  <a:pt x="3118" y="2371"/>
                </a:lnTo>
                <a:lnTo>
                  <a:pt x="3115" y="2359"/>
                </a:lnTo>
                <a:lnTo>
                  <a:pt x="3110" y="2349"/>
                </a:lnTo>
                <a:lnTo>
                  <a:pt x="3104" y="2338"/>
                </a:lnTo>
                <a:lnTo>
                  <a:pt x="3096" y="2329"/>
                </a:lnTo>
                <a:lnTo>
                  <a:pt x="3088" y="2319"/>
                </a:lnTo>
                <a:lnTo>
                  <a:pt x="2533" y="1768"/>
                </a:lnTo>
                <a:lnTo>
                  <a:pt x="2533" y="1768"/>
                </a:lnTo>
                <a:lnTo>
                  <a:pt x="2514" y="1748"/>
                </a:lnTo>
                <a:lnTo>
                  <a:pt x="2495" y="1726"/>
                </a:lnTo>
                <a:lnTo>
                  <a:pt x="2478" y="1703"/>
                </a:lnTo>
                <a:lnTo>
                  <a:pt x="2462" y="1681"/>
                </a:lnTo>
                <a:lnTo>
                  <a:pt x="2448" y="1656"/>
                </a:lnTo>
                <a:lnTo>
                  <a:pt x="2435" y="1632"/>
                </a:lnTo>
                <a:lnTo>
                  <a:pt x="2424" y="1607"/>
                </a:lnTo>
                <a:lnTo>
                  <a:pt x="2414" y="1582"/>
                </a:lnTo>
                <a:lnTo>
                  <a:pt x="2406" y="1556"/>
                </a:lnTo>
                <a:lnTo>
                  <a:pt x="2398" y="1531"/>
                </a:lnTo>
                <a:lnTo>
                  <a:pt x="2394" y="1505"/>
                </a:lnTo>
                <a:lnTo>
                  <a:pt x="2390" y="1479"/>
                </a:lnTo>
                <a:lnTo>
                  <a:pt x="2387" y="1453"/>
                </a:lnTo>
                <a:lnTo>
                  <a:pt x="2386" y="1426"/>
                </a:lnTo>
                <a:lnTo>
                  <a:pt x="2387" y="1401"/>
                </a:lnTo>
                <a:lnTo>
                  <a:pt x="2391" y="1375"/>
                </a:lnTo>
                <a:lnTo>
                  <a:pt x="2391" y="1375"/>
                </a:lnTo>
                <a:lnTo>
                  <a:pt x="2397" y="1330"/>
                </a:lnTo>
                <a:lnTo>
                  <a:pt x="2401" y="1287"/>
                </a:lnTo>
                <a:lnTo>
                  <a:pt x="2403" y="1242"/>
                </a:lnTo>
                <a:lnTo>
                  <a:pt x="2403" y="1197"/>
                </a:lnTo>
                <a:lnTo>
                  <a:pt x="2403" y="1154"/>
                </a:lnTo>
                <a:lnTo>
                  <a:pt x="2400" y="1110"/>
                </a:lnTo>
                <a:lnTo>
                  <a:pt x="2396" y="1066"/>
                </a:lnTo>
                <a:lnTo>
                  <a:pt x="2390" y="1022"/>
                </a:lnTo>
                <a:lnTo>
                  <a:pt x="2383" y="978"/>
                </a:lnTo>
                <a:lnTo>
                  <a:pt x="2374" y="936"/>
                </a:lnTo>
                <a:lnTo>
                  <a:pt x="2363" y="893"/>
                </a:lnTo>
                <a:lnTo>
                  <a:pt x="2351" y="851"/>
                </a:lnTo>
                <a:lnTo>
                  <a:pt x="2337" y="808"/>
                </a:lnTo>
                <a:lnTo>
                  <a:pt x="2322" y="766"/>
                </a:lnTo>
                <a:lnTo>
                  <a:pt x="2305" y="725"/>
                </a:lnTo>
                <a:lnTo>
                  <a:pt x="2286" y="684"/>
                </a:lnTo>
                <a:lnTo>
                  <a:pt x="2286" y="684"/>
                </a:lnTo>
                <a:lnTo>
                  <a:pt x="2266" y="643"/>
                </a:lnTo>
                <a:lnTo>
                  <a:pt x="2244" y="604"/>
                </a:lnTo>
                <a:lnTo>
                  <a:pt x="2221" y="565"/>
                </a:lnTo>
                <a:lnTo>
                  <a:pt x="2196" y="526"/>
                </a:lnTo>
                <a:lnTo>
                  <a:pt x="2169" y="489"/>
                </a:lnTo>
                <a:lnTo>
                  <a:pt x="2143" y="454"/>
                </a:lnTo>
                <a:lnTo>
                  <a:pt x="2114" y="419"/>
                </a:lnTo>
                <a:lnTo>
                  <a:pt x="2084" y="385"/>
                </a:lnTo>
                <a:lnTo>
                  <a:pt x="2052" y="353"/>
                </a:lnTo>
                <a:lnTo>
                  <a:pt x="2020" y="322"/>
                </a:lnTo>
                <a:lnTo>
                  <a:pt x="1986" y="292"/>
                </a:lnTo>
                <a:lnTo>
                  <a:pt x="1951" y="263"/>
                </a:lnTo>
                <a:lnTo>
                  <a:pt x="1915" y="235"/>
                </a:lnTo>
                <a:lnTo>
                  <a:pt x="1877" y="208"/>
                </a:lnTo>
                <a:lnTo>
                  <a:pt x="1839" y="183"/>
                </a:lnTo>
                <a:lnTo>
                  <a:pt x="1799" y="159"/>
                </a:lnTo>
                <a:lnTo>
                  <a:pt x="1799" y="159"/>
                </a:lnTo>
                <a:lnTo>
                  <a:pt x="1769" y="142"/>
                </a:lnTo>
                <a:lnTo>
                  <a:pt x="1739" y="126"/>
                </a:lnTo>
                <a:lnTo>
                  <a:pt x="1709" y="112"/>
                </a:lnTo>
                <a:lnTo>
                  <a:pt x="1677" y="99"/>
                </a:lnTo>
                <a:lnTo>
                  <a:pt x="1646" y="86"/>
                </a:lnTo>
                <a:lnTo>
                  <a:pt x="1615" y="73"/>
                </a:lnTo>
                <a:lnTo>
                  <a:pt x="1583" y="61"/>
                </a:lnTo>
                <a:lnTo>
                  <a:pt x="1551" y="52"/>
                </a:lnTo>
                <a:lnTo>
                  <a:pt x="1518" y="42"/>
                </a:lnTo>
                <a:lnTo>
                  <a:pt x="1486" y="34"/>
                </a:lnTo>
                <a:lnTo>
                  <a:pt x="1453" y="27"/>
                </a:lnTo>
                <a:lnTo>
                  <a:pt x="1420" y="19"/>
                </a:lnTo>
                <a:lnTo>
                  <a:pt x="1388" y="14"/>
                </a:lnTo>
                <a:lnTo>
                  <a:pt x="1354" y="10"/>
                </a:lnTo>
                <a:lnTo>
                  <a:pt x="1322" y="6"/>
                </a:lnTo>
                <a:lnTo>
                  <a:pt x="1288" y="2"/>
                </a:lnTo>
                <a:lnTo>
                  <a:pt x="1254" y="1"/>
                </a:lnTo>
                <a:lnTo>
                  <a:pt x="1221" y="0"/>
                </a:lnTo>
                <a:lnTo>
                  <a:pt x="1188" y="0"/>
                </a:lnTo>
                <a:lnTo>
                  <a:pt x="1154" y="0"/>
                </a:lnTo>
                <a:lnTo>
                  <a:pt x="1120" y="2"/>
                </a:lnTo>
                <a:lnTo>
                  <a:pt x="1088" y="5"/>
                </a:lnTo>
                <a:lnTo>
                  <a:pt x="1054" y="8"/>
                </a:lnTo>
                <a:lnTo>
                  <a:pt x="1020" y="13"/>
                </a:lnTo>
                <a:lnTo>
                  <a:pt x="986" y="18"/>
                </a:lnTo>
                <a:lnTo>
                  <a:pt x="954" y="25"/>
                </a:lnTo>
                <a:lnTo>
                  <a:pt x="920" y="33"/>
                </a:lnTo>
                <a:lnTo>
                  <a:pt x="887" y="41"/>
                </a:lnTo>
                <a:lnTo>
                  <a:pt x="854" y="51"/>
                </a:lnTo>
                <a:lnTo>
                  <a:pt x="821" y="60"/>
                </a:lnTo>
                <a:lnTo>
                  <a:pt x="789" y="71"/>
                </a:lnTo>
                <a:lnTo>
                  <a:pt x="756" y="83"/>
                </a:lnTo>
                <a:lnTo>
                  <a:pt x="756" y="83"/>
                </a:lnTo>
                <a:lnTo>
                  <a:pt x="746" y="88"/>
                </a:lnTo>
                <a:lnTo>
                  <a:pt x="738" y="93"/>
                </a:lnTo>
                <a:lnTo>
                  <a:pt x="730" y="98"/>
                </a:lnTo>
                <a:lnTo>
                  <a:pt x="721" y="105"/>
                </a:lnTo>
                <a:lnTo>
                  <a:pt x="714" y="111"/>
                </a:lnTo>
                <a:lnTo>
                  <a:pt x="707" y="118"/>
                </a:lnTo>
                <a:lnTo>
                  <a:pt x="701" y="126"/>
                </a:lnTo>
                <a:lnTo>
                  <a:pt x="696" y="135"/>
                </a:lnTo>
                <a:lnTo>
                  <a:pt x="598" y="304"/>
                </a:lnTo>
                <a:lnTo>
                  <a:pt x="598" y="304"/>
                </a:lnTo>
                <a:lnTo>
                  <a:pt x="592" y="314"/>
                </a:lnTo>
                <a:lnTo>
                  <a:pt x="588" y="325"/>
                </a:lnTo>
                <a:lnTo>
                  <a:pt x="585" y="336"/>
                </a:lnTo>
                <a:lnTo>
                  <a:pt x="582" y="348"/>
                </a:lnTo>
                <a:lnTo>
                  <a:pt x="581" y="360"/>
                </a:lnTo>
                <a:lnTo>
                  <a:pt x="582" y="371"/>
                </a:lnTo>
                <a:lnTo>
                  <a:pt x="584" y="383"/>
                </a:lnTo>
                <a:lnTo>
                  <a:pt x="586" y="395"/>
                </a:lnTo>
                <a:lnTo>
                  <a:pt x="586" y="395"/>
                </a:lnTo>
                <a:lnTo>
                  <a:pt x="590" y="406"/>
                </a:lnTo>
                <a:lnTo>
                  <a:pt x="594" y="417"/>
                </a:lnTo>
                <a:lnTo>
                  <a:pt x="599" y="428"/>
                </a:lnTo>
                <a:lnTo>
                  <a:pt x="607" y="437"/>
                </a:lnTo>
                <a:lnTo>
                  <a:pt x="614" y="446"/>
                </a:lnTo>
                <a:lnTo>
                  <a:pt x="622" y="454"/>
                </a:lnTo>
                <a:lnTo>
                  <a:pt x="632" y="461"/>
                </a:lnTo>
                <a:lnTo>
                  <a:pt x="641" y="469"/>
                </a:lnTo>
                <a:lnTo>
                  <a:pt x="1344" y="872"/>
                </a:lnTo>
                <a:lnTo>
                  <a:pt x="1344" y="872"/>
                </a:lnTo>
                <a:lnTo>
                  <a:pt x="1353" y="877"/>
                </a:lnTo>
                <a:lnTo>
                  <a:pt x="1361" y="883"/>
                </a:lnTo>
                <a:lnTo>
                  <a:pt x="1369" y="889"/>
                </a:lnTo>
                <a:lnTo>
                  <a:pt x="1375" y="896"/>
                </a:lnTo>
                <a:lnTo>
                  <a:pt x="1387" y="911"/>
                </a:lnTo>
                <a:lnTo>
                  <a:pt x="1396" y="928"/>
                </a:lnTo>
                <a:lnTo>
                  <a:pt x="1402" y="944"/>
                </a:lnTo>
                <a:lnTo>
                  <a:pt x="1405" y="953"/>
                </a:lnTo>
                <a:lnTo>
                  <a:pt x="1406" y="963"/>
                </a:lnTo>
                <a:lnTo>
                  <a:pt x="1407" y="972"/>
                </a:lnTo>
                <a:lnTo>
                  <a:pt x="1407" y="981"/>
                </a:lnTo>
                <a:lnTo>
                  <a:pt x="1406" y="990"/>
                </a:lnTo>
                <a:lnTo>
                  <a:pt x="1404" y="1000"/>
                </a:lnTo>
                <a:lnTo>
                  <a:pt x="1404" y="1000"/>
                </a:lnTo>
                <a:lnTo>
                  <a:pt x="1396" y="1032"/>
                </a:lnTo>
                <a:lnTo>
                  <a:pt x="1387" y="1066"/>
                </a:lnTo>
                <a:lnTo>
                  <a:pt x="1376" y="1099"/>
                </a:lnTo>
                <a:lnTo>
                  <a:pt x="1364" y="1131"/>
                </a:lnTo>
                <a:lnTo>
                  <a:pt x="1349" y="1164"/>
                </a:lnTo>
                <a:lnTo>
                  <a:pt x="1335" y="1196"/>
                </a:lnTo>
                <a:lnTo>
                  <a:pt x="1319" y="1229"/>
                </a:lnTo>
                <a:lnTo>
                  <a:pt x="1301" y="1259"/>
                </a:lnTo>
                <a:lnTo>
                  <a:pt x="1283" y="1290"/>
                </a:lnTo>
                <a:lnTo>
                  <a:pt x="1264" y="1320"/>
                </a:lnTo>
                <a:lnTo>
                  <a:pt x="1243" y="1349"/>
                </a:lnTo>
                <a:lnTo>
                  <a:pt x="1221" y="1377"/>
                </a:lnTo>
                <a:lnTo>
                  <a:pt x="1200" y="1405"/>
                </a:lnTo>
                <a:lnTo>
                  <a:pt x="1177" y="1431"/>
                </a:lnTo>
                <a:lnTo>
                  <a:pt x="1153" y="1455"/>
                </a:lnTo>
                <a:lnTo>
                  <a:pt x="1127" y="1479"/>
                </a:lnTo>
                <a:lnTo>
                  <a:pt x="1127" y="1479"/>
                </a:lnTo>
                <a:lnTo>
                  <a:pt x="1120" y="1487"/>
                </a:lnTo>
                <a:lnTo>
                  <a:pt x="1112" y="1493"/>
                </a:lnTo>
                <a:lnTo>
                  <a:pt x="1103" y="1497"/>
                </a:lnTo>
                <a:lnTo>
                  <a:pt x="1094" y="1502"/>
                </a:lnTo>
                <a:lnTo>
                  <a:pt x="1085" y="1506"/>
                </a:lnTo>
                <a:lnTo>
                  <a:pt x="1076" y="1509"/>
                </a:lnTo>
                <a:lnTo>
                  <a:pt x="1066" y="1511"/>
                </a:lnTo>
                <a:lnTo>
                  <a:pt x="1056" y="1513"/>
                </a:lnTo>
                <a:lnTo>
                  <a:pt x="1047" y="1513"/>
                </a:lnTo>
                <a:lnTo>
                  <a:pt x="1037" y="1513"/>
                </a:lnTo>
                <a:lnTo>
                  <a:pt x="1027" y="1513"/>
                </a:lnTo>
                <a:lnTo>
                  <a:pt x="1018" y="1511"/>
                </a:lnTo>
                <a:lnTo>
                  <a:pt x="1008" y="1509"/>
                </a:lnTo>
                <a:lnTo>
                  <a:pt x="1000" y="1506"/>
                </a:lnTo>
                <a:lnTo>
                  <a:pt x="990" y="1502"/>
                </a:lnTo>
                <a:lnTo>
                  <a:pt x="980" y="1497"/>
                </a:lnTo>
                <a:lnTo>
                  <a:pt x="277" y="1094"/>
                </a:lnTo>
                <a:lnTo>
                  <a:pt x="277" y="1094"/>
                </a:lnTo>
                <a:lnTo>
                  <a:pt x="266" y="1088"/>
                </a:lnTo>
                <a:lnTo>
                  <a:pt x="256" y="1084"/>
                </a:lnTo>
                <a:lnTo>
                  <a:pt x="245" y="1081"/>
                </a:lnTo>
                <a:lnTo>
                  <a:pt x="233" y="1078"/>
                </a:lnTo>
                <a:lnTo>
                  <a:pt x="221" y="1078"/>
                </a:lnTo>
                <a:lnTo>
                  <a:pt x="210" y="1078"/>
                </a:lnTo>
                <a:lnTo>
                  <a:pt x="198" y="1079"/>
                </a:lnTo>
                <a:lnTo>
                  <a:pt x="187" y="1082"/>
                </a:lnTo>
                <a:lnTo>
                  <a:pt x="176" y="1085"/>
                </a:lnTo>
                <a:lnTo>
                  <a:pt x="165" y="1090"/>
                </a:lnTo>
                <a:lnTo>
                  <a:pt x="154" y="1095"/>
                </a:lnTo>
                <a:lnTo>
                  <a:pt x="145" y="1102"/>
                </a:lnTo>
                <a:lnTo>
                  <a:pt x="136" y="1110"/>
                </a:lnTo>
                <a:lnTo>
                  <a:pt x="128" y="1118"/>
                </a:lnTo>
                <a:lnTo>
                  <a:pt x="121" y="1128"/>
                </a:lnTo>
                <a:lnTo>
                  <a:pt x="113" y="1137"/>
                </a:lnTo>
                <a:lnTo>
                  <a:pt x="16" y="1306"/>
                </a:lnTo>
                <a:lnTo>
                  <a:pt x="16" y="1306"/>
                </a:lnTo>
                <a:lnTo>
                  <a:pt x="11" y="1314"/>
                </a:lnTo>
                <a:lnTo>
                  <a:pt x="7" y="1324"/>
                </a:lnTo>
                <a:lnTo>
                  <a:pt x="4" y="1334"/>
                </a:lnTo>
                <a:lnTo>
                  <a:pt x="2" y="1343"/>
                </a:lnTo>
                <a:lnTo>
                  <a:pt x="0" y="1354"/>
                </a:lnTo>
                <a:lnTo>
                  <a:pt x="0" y="1364"/>
                </a:lnTo>
                <a:lnTo>
                  <a:pt x="0" y="1375"/>
                </a:lnTo>
                <a:lnTo>
                  <a:pt x="1" y="1384"/>
                </a:lnTo>
                <a:lnTo>
                  <a:pt x="1" y="1384"/>
                </a:lnTo>
                <a:lnTo>
                  <a:pt x="7" y="1418"/>
                </a:lnTo>
                <a:lnTo>
                  <a:pt x="13" y="1452"/>
                </a:lnTo>
                <a:lnTo>
                  <a:pt x="20" y="1485"/>
                </a:lnTo>
                <a:lnTo>
                  <a:pt x="29" y="1519"/>
                </a:lnTo>
                <a:lnTo>
                  <a:pt x="39" y="1552"/>
                </a:lnTo>
                <a:lnTo>
                  <a:pt x="49" y="1584"/>
                </a:lnTo>
                <a:lnTo>
                  <a:pt x="60" y="1615"/>
                </a:lnTo>
                <a:lnTo>
                  <a:pt x="72" y="1647"/>
                </a:lnTo>
                <a:lnTo>
                  <a:pt x="84" y="1678"/>
                </a:lnTo>
                <a:lnTo>
                  <a:pt x="99" y="1709"/>
                </a:lnTo>
                <a:lnTo>
                  <a:pt x="113" y="1740"/>
                </a:lnTo>
                <a:lnTo>
                  <a:pt x="128" y="1768"/>
                </a:lnTo>
                <a:lnTo>
                  <a:pt x="145" y="1799"/>
                </a:lnTo>
                <a:lnTo>
                  <a:pt x="162" y="1828"/>
                </a:lnTo>
                <a:lnTo>
                  <a:pt x="178" y="1855"/>
                </a:lnTo>
                <a:lnTo>
                  <a:pt x="197" y="1883"/>
                </a:lnTo>
                <a:lnTo>
                  <a:pt x="216" y="1911"/>
                </a:lnTo>
                <a:lnTo>
                  <a:pt x="236" y="1937"/>
                </a:lnTo>
                <a:lnTo>
                  <a:pt x="257" y="1964"/>
                </a:lnTo>
                <a:lnTo>
                  <a:pt x="279" y="1989"/>
                </a:lnTo>
                <a:lnTo>
                  <a:pt x="300" y="2014"/>
                </a:lnTo>
                <a:lnTo>
                  <a:pt x="323" y="2038"/>
                </a:lnTo>
                <a:lnTo>
                  <a:pt x="347" y="2062"/>
                </a:lnTo>
                <a:lnTo>
                  <a:pt x="371" y="2085"/>
                </a:lnTo>
                <a:lnTo>
                  <a:pt x="396" y="2108"/>
                </a:lnTo>
                <a:lnTo>
                  <a:pt x="422" y="2130"/>
                </a:lnTo>
                <a:lnTo>
                  <a:pt x="449" y="2150"/>
                </a:lnTo>
                <a:lnTo>
                  <a:pt x="475" y="2171"/>
                </a:lnTo>
                <a:lnTo>
                  <a:pt x="503" y="2191"/>
                </a:lnTo>
                <a:lnTo>
                  <a:pt x="531" y="2209"/>
                </a:lnTo>
                <a:lnTo>
                  <a:pt x="559" y="2227"/>
                </a:lnTo>
                <a:lnTo>
                  <a:pt x="590" y="2246"/>
                </a:lnTo>
                <a:lnTo>
                  <a:pt x="590" y="2246"/>
                </a:lnTo>
                <a:close/>
                <a:moveTo>
                  <a:pt x="6491" y="5102"/>
                </a:moveTo>
                <a:lnTo>
                  <a:pt x="6491" y="5102"/>
                </a:lnTo>
                <a:lnTo>
                  <a:pt x="6485" y="5068"/>
                </a:lnTo>
                <a:lnTo>
                  <a:pt x="6479" y="5034"/>
                </a:lnTo>
                <a:lnTo>
                  <a:pt x="6472" y="5001"/>
                </a:lnTo>
                <a:lnTo>
                  <a:pt x="6463" y="4967"/>
                </a:lnTo>
                <a:lnTo>
                  <a:pt x="6453" y="4934"/>
                </a:lnTo>
                <a:lnTo>
                  <a:pt x="6443" y="4902"/>
                </a:lnTo>
                <a:lnTo>
                  <a:pt x="6432" y="4871"/>
                </a:lnTo>
                <a:lnTo>
                  <a:pt x="6420" y="4839"/>
                </a:lnTo>
                <a:lnTo>
                  <a:pt x="6408" y="4808"/>
                </a:lnTo>
                <a:lnTo>
                  <a:pt x="6393" y="4777"/>
                </a:lnTo>
                <a:lnTo>
                  <a:pt x="6379" y="4746"/>
                </a:lnTo>
                <a:lnTo>
                  <a:pt x="6364" y="4718"/>
                </a:lnTo>
                <a:lnTo>
                  <a:pt x="6347" y="4687"/>
                </a:lnTo>
                <a:lnTo>
                  <a:pt x="6330" y="4658"/>
                </a:lnTo>
                <a:lnTo>
                  <a:pt x="6314" y="4631"/>
                </a:lnTo>
                <a:lnTo>
                  <a:pt x="6295" y="4603"/>
                </a:lnTo>
                <a:lnTo>
                  <a:pt x="6276" y="4575"/>
                </a:lnTo>
                <a:lnTo>
                  <a:pt x="6256" y="4549"/>
                </a:lnTo>
                <a:lnTo>
                  <a:pt x="6235" y="4522"/>
                </a:lnTo>
                <a:lnTo>
                  <a:pt x="6213" y="4497"/>
                </a:lnTo>
                <a:lnTo>
                  <a:pt x="6192" y="4472"/>
                </a:lnTo>
                <a:lnTo>
                  <a:pt x="6169" y="4448"/>
                </a:lnTo>
                <a:lnTo>
                  <a:pt x="6145" y="4424"/>
                </a:lnTo>
                <a:lnTo>
                  <a:pt x="6121" y="4401"/>
                </a:lnTo>
                <a:lnTo>
                  <a:pt x="6096" y="4378"/>
                </a:lnTo>
                <a:lnTo>
                  <a:pt x="6070" y="4356"/>
                </a:lnTo>
                <a:lnTo>
                  <a:pt x="6043" y="4336"/>
                </a:lnTo>
                <a:lnTo>
                  <a:pt x="6017" y="4315"/>
                </a:lnTo>
                <a:lnTo>
                  <a:pt x="5989" y="4295"/>
                </a:lnTo>
                <a:lnTo>
                  <a:pt x="5961" y="4277"/>
                </a:lnTo>
                <a:lnTo>
                  <a:pt x="5933" y="4259"/>
                </a:lnTo>
                <a:lnTo>
                  <a:pt x="5902" y="4240"/>
                </a:lnTo>
                <a:lnTo>
                  <a:pt x="5902" y="4240"/>
                </a:lnTo>
                <a:lnTo>
                  <a:pt x="5859" y="4216"/>
                </a:lnTo>
                <a:lnTo>
                  <a:pt x="5813" y="4193"/>
                </a:lnTo>
                <a:lnTo>
                  <a:pt x="5769" y="4173"/>
                </a:lnTo>
                <a:lnTo>
                  <a:pt x="5721" y="4155"/>
                </a:lnTo>
                <a:lnTo>
                  <a:pt x="5674" y="4139"/>
                </a:lnTo>
                <a:lnTo>
                  <a:pt x="5627" y="4125"/>
                </a:lnTo>
                <a:lnTo>
                  <a:pt x="5579" y="4112"/>
                </a:lnTo>
                <a:lnTo>
                  <a:pt x="5531" y="4102"/>
                </a:lnTo>
                <a:lnTo>
                  <a:pt x="5483" y="4094"/>
                </a:lnTo>
                <a:lnTo>
                  <a:pt x="5433" y="4086"/>
                </a:lnTo>
                <a:lnTo>
                  <a:pt x="5385" y="4083"/>
                </a:lnTo>
                <a:lnTo>
                  <a:pt x="5334" y="4080"/>
                </a:lnTo>
                <a:lnTo>
                  <a:pt x="5285" y="4080"/>
                </a:lnTo>
                <a:lnTo>
                  <a:pt x="5236" y="4081"/>
                </a:lnTo>
                <a:lnTo>
                  <a:pt x="5185" y="4085"/>
                </a:lnTo>
                <a:lnTo>
                  <a:pt x="5134" y="4091"/>
                </a:lnTo>
                <a:lnTo>
                  <a:pt x="5134" y="4091"/>
                </a:lnTo>
                <a:lnTo>
                  <a:pt x="5108" y="4094"/>
                </a:lnTo>
                <a:lnTo>
                  <a:pt x="5080" y="4095"/>
                </a:lnTo>
                <a:lnTo>
                  <a:pt x="5052" y="4095"/>
                </a:lnTo>
                <a:lnTo>
                  <a:pt x="5025" y="4094"/>
                </a:lnTo>
                <a:lnTo>
                  <a:pt x="4998" y="4090"/>
                </a:lnTo>
                <a:lnTo>
                  <a:pt x="4971" y="4085"/>
                </a:lnTo>
                <a:lnTo>
                  <a:pt x="4944" y="4078"/>
                </a:lnTo>
                <a:lnTo>
                  <a:pt x="4918" y="4069"/>
                </a:lnTo>
                <a:lnTo>
                  <a:pt x="4892" y="4060"/>
                </a:lnTo>
                <a:lnTo>
                  <a:pt x="4867" y="4049"/>
                </a:lnTo>
                <a:lnTo>
                  <a:pt x="4842" y="4037"/>
                </a:lnTo>
                <a:lnTo>
                  <a:pt x="4818" y="4024"/>
                </a:lnTo>
                <a:lnTo>
                  <a:pt x="4795" y="4008"/>
                </a:lnTo>
                <a:lnTo>
                  <a:pt x="4774" y="3991"/>
                </a:lnTo>
                <a:lnTo>
                  <a:pt x="4752" y="3973"/>
                </a:lnTo>
                <a:lnTo>
                  <a:pt x="4732" y="3954"/>
                </a:lnTo>
                <a:lnTo>
                  <a:pt x="4172" y="3398"/>
                </a:lnTo>
                <a:lnTo>
                  <a:pt x="4172" y="3398"/>
                </a:lnTo>
                <a:lnTo>
                  <a:pt x="4164" y="3390"/>
                </a:lnTo>
                <a:lnTo>
                  <a:pt x="4154" y="3383"/>
                </a:lnTo>
                <a:lnTo>
                  <a:pt x="4143" y="3377"/>
                </a:lnTo>
                <a:lnTo>
                  <a:pt x="4132" y="3372"/>
                </a:lnTo>
                <a:lnTo>
                  <a:pt x="4121" y="3368"/>
                </a:lnTo>
                <a:lnTo>
                  <a:pt x="4111" y="3366"/>
                </a:lnTo>
                <a:lnTo>
                  <a:pt x="4098" y="3363"/>
                </a:lnTo>
                <a:lnTo>
                  <a:pt x="4088" y="3363"/>
                </a:lnTo>
                <a:lnTo>
                  <a:pt x="4076" y="3363"/>
                </a:lnTo>
                <a:lnTo>
                  <a:pt x="4064" y="3366"/>
                </a:lnTo>
                <a:lnTo>
                  <a:pt x="4053" y="3368"/>
                </a:lnTo>
                <a:lnTo>
                  <a:pt x="4042" y="3372"/>
                </a:lnTo>
                <a:lnTo>
                  <a:pt x="4031" y="3377"/>
                </a:lnTo>
                <a:lnTo>
                  <a:pt x="4021" y="3383"/>
                </a:lnTo>
                <a:lnTo>
                  <a:pt x="4010" y="3390"/>
                </a:lnTo>
                <a:lnTo>
                  <a:pt x="4002" y="3398"/>
                </a:lnTo>
                <a:lnTo>
                  <a:pt x="4002" y="3398"/>
                </a:lnTo>
                <a:lnTo>
                  <a:pt x="3994" y="3408"/>
                </a:lnTo>
                <a:lnTo>
                  <a:pt x="3986" y="3418"/>
                </a:lnTo>
                <a:lnTo>
                  <a:pt x="3980" y="3429"/>
                </a:lnTo>
                <a:lnTo>
                  <a:pt x="3976" y="3438"/>
                </a:lnTo>
                <a:lnTo>
                  <a:pt x="3972" y="3450"/>
                </a:lnTo>
                <a:lnTo>
                  <a:pt x="3969" y="3461"/>
                </a:lnTo>
                <a:lnTo>
                  <a:pt x="3967" y="3473"/>
                </a:lnTo>
                <a:lnTo>
                  <a:pt x="3967" y="3484"/>
                </a:lnTo>
                <a:lnTo>
                  <a:pt x="3967" y="3496"/>
                </a:lnTo>
                <a:lnTo>
                  <a:pt x="3969" y="3507"/>
                </a:lnTo>
                <a:lnTo>
                  <a:pt x="3972" y="3519"/>
                </a:lnTo>
                <a:lnTo>
                  <a:pt x="3976" y="3530"/>
                </a:lnTo>
                <a:lnTo>
                  <a:pt x="3980" y="3541"/>
                </a:lnTo>
                <a:lnTo>
                  <a:pt x="3986" y="3550"/>
                </a:lnTo>
                <a:lnTo>
                  <a:pt x="3994" y="3560"/>
                </a:lnTo>
                <a:lnTo>
                  <a:pt x="4002" y="3569"/>
                </a:lnTo>
                <a:lnTo>
                  <a:pt x="4562" y="4125"/>
                </a:lnTo>
                <a:lnTo>
                  <a:pt x="4562" y="4125"/>
                </a:lnTo>
                <a:lnTo>
                  <a:pt x="4587" y="4150"/>
                </a:lnTo>
                <a:lnTo>
                  <a:pt x="4615" y="4173"/>
                </a:lnTo>
                <a:lnTo>
                  <a:pt x="4642" y="4195"/>
                </a:lnTo>
                <a:lnTo>
                  <a:pt x="4672" y="4215"/>
                </a:lnTo>
                <a:lnTo>
                  <a:pt x="4703" y="4234"/>
                </a:lnTo>
                <a:lnTo>
                  <a:pt x="4733" y="4251"/>
                </a:lnTo>
                <a:lnTo>
                  <a:pt x="4764" y="4267"/>
                </a:lnTo>
                <a:lnTo>
                  <a:pt x="4797" y="4281"/>
                </a:lnTo>
                <a:lnTo>
                  <a:pt x="4830" y="4295"/>
                </a:lnTo>
                <a:lnTo>
                  <a:pt x="4863" y="4306"/>
                </a:lnTo>
                <a:lnTo>
                  <a:pt x="4898" y="4315"/>
                </a:lnTo>
                <a:lnTo>
                  <a:pt x="4932" y="4322"/>
                </a:lnTo>
                <a:lnTo>
                  <a:pt x="4967" y="4328"/>
                </a:lnTo>
                <a:lnTo>
                  <a:pt x="5002" y="4333"/>
                </a:lnTo>
                <a:lnTo>
                  <a:pt x="5037" y="4336"/>
                </a:lnTo>
                <a:lnTo>
                  <a:pt x="5072" y="4337"/>
                </a:lnTo>
                <a:lnTo>
                  <a:pt x="5072" y="4337"/>
                </a:lnTo>
                <a:lnTo>
                  <a:pt x="5096" y="4336"/>
                </a:lnTo>
                <a:lnTo>
                  <a:pt x="5120" y="4334"/>
                </a:lnTo>
                <a:lnTo>
                  <a:pt x="5144" y="4332"/>
                </a:lnTo>
                <a:lnTo>
                  <a:pt x="5168" y="4330"/>
                </a:lnTo>
                <a:lnTo>
                  <a:pt x="5168" y="4330"/>
                </a:lnTo>
                <a:lnTo>
                  <a:pt x="5208" y="4325"/>
                </a:lnTo>
                <a:lnTo>
                  <a:pt x="5248" y="4322"/>
                </a:lnTo>
                <a:lnTo>
                  <a:pt x="5289" y="4321"/>
                </a:lnTo>
                <a:lnTo>
                  <a:pt x="5328" y="4321"/>
                </a:lnTo>
                <a:lnTo>
                  <a:pt x="5368" y="4322"/>
                </a:lnTo>
                <a:lnTo>
                  <a:pt x="5407" y="4326"/>
                </a:lnTo>
                <a:lnTo>
                  <a:pt x="5447" y="4331"/>
                </a:lnTo>
                <a:lnTo>
                  <a:pt x="5485" y="4338"/>
                </a:lnTo>
                <a:lnTo>
                  <a:pt x="5524" y="4346"/>
                </a:lnTo>
                <a:lnTo>
                  <a:pt x="5562" y="4356"/>
                </a:lnTo>
                <a:lnTo>
                  <a:pt x="5600" y="4368"/>
                </a:lnTo>
                <a:lnTo>
                  <a:pt x="5637" y="4381"/>
                </a:lnTo>
                <a:lnTo>
                  <a:pt x="5674" y="4396"/>
                </a:lnTo>
                <a:lnTo>
                  <a:pt x="5712" y="4412"/>
                </a:lnTo>
                <a:lnTo>
                  <a:pt x="5747" y="4430"/>
                </a:lnTo>
                <a:lnTo>
                  <a:pt x="5783" y="4449"/>
                </a:lnTo>
                <a:lnTo>
                  <a:pt x="5783" y="4449"/>
                </a:lnTo>
                <a:lnTo>
                  <a:pt x="5828" y="4477"/>
                </a:lnTo>
                <a:lnTo>
                  <a:pt x="5870" y="4506"/>
                </a:lnTo>
                <a:lnTo>
                  <a:pt x="5911" y="4537"/>
                </a:lnTo>
                <a:lnTo>
                  <a:pt x="5949" y="4571"/>
                </a:lnTo>
                <a:lnTo>
                  <a:pt x="5987" y="4605"/>
                </a:lnTo>
                <a:lnTo>
                  <a:pt x="6021" y="4643"/>
                </a:lnTo>
                <a:lnTo>
                  <a:pt x="6054" y="4681"/>
                </a:lnTo>
                <a:lnTo>
                  <a:pt x="6084" y="4722"/>
                </a:lnTo>
                <a:lnTo>
                  <a:pt x="6113" y="4765"/>
                </a:lnTo>
                <a:lnTo>
                  <a:pt x="6139" y="4808"/>
                </a:lnTo>
                <a:lnTo>
                  <a:pt x="6163" y="4854"/>
                </a:lnTo>
                <a:lnTo>
                  <a:pt x="6185" y="4899"/>
                </a:lnTo>
                <a:lnTo>
                  <a:pt x="6204" y="4948"/>
                </a:lnTo>
                <a:lnTo>
                  <a:pt x="6219" y="4997"/>
                </a:lnTo>
                <a:lnTo>
                  <a:pt x="6234" y="5046"/>
                </a:lnTo>
                <a:lnTo>
                  <a:pt x="6245" y="5097"/>
                </a:lnTo>
                <a:lnTo>
                  <a:pt x="6230" y="5124"/>
                </a:lnTo>
                <a:lnTo>
                  <a:pt x="5631" y="4780"/>
                </a:lnTo>
                <a:lnTo>
                  <a:pt x="5631" y="4780"/>
                </a:lnTo>
                <a:lnTo>
                  <a:pt x="5605" y="4766"/>
                </a:lnTo>
                <a:lnTo>
                  <a:pt x="5578" y="4755"/>
                </a:lnTo>
                <a:lnTo>
                  <a:pt x="5550" y="4745"/>
                </a:lnTo>
                <a:lnTo>
                  <a:pt x="5521" y="4738"/>
                </a:lnTo>
                <a:lnTo>
                  <a:pt x="5494" y="4734"/>
                </a:lnTo>
                <a:lnTo>
                  <a:pt x="5465" y="4732"/>
                </a:lnTo>
                <a:lnTo>
                  <a:pt x="5437" y="4732"/>
                </a:lnTo>
                <a:lnTo>
                  <a:pt x="5408" y="4733"/>
                </a:lnTo>
                <a:lnTo>
                  <a:pt x="5380" y="4738"/>
                </a:lnTo>
                <a:lnTo>
                  <a:pt x="5353" y="4744"/>
                </a:lnTo>
                <a:lnTo>
                  <a:pt x="5325" y="4754"/>
                </a:lnTo>
                <a:lnTo>
                  <a:pt x="5298" y="4765"/>
                </a:lnTo>
                <a:lnTo>
                  <a:pt x="5272" y="4778"/>
                </a:lnTo>
                <a:lnTo>
                  <a:pt x="5248" y="4792"/>
                </a:lnTo>
                <a:lnTo>
                  <a:pt x="5224" y="4810"/>
                </a:lnTo>
                <a:lnTo>
                  <a:pt x="5201" y="4830"/>
                </a:lnTo>
                <a:lnTo>
                  <a:pt x="5201" y="4830"/>
                </a:lnTo>
                <a:lnTo>
                  <a:pt x="5169" y="4860"/>
                </a:lnTo>
                <a:lnTo>
                  <a:pt x="5139" y="4891"/>
                </a:lnTo>
                <a:lnTo>
                  <a:pt x="5110" y="4925"/>
                </a:lnTo>
                <a:lnTo>
                  <a:pt x="5082" y="4958"/>
                </a:lnTo>
                <a:lnTo>
                  <a:pt x="5055" y="4995"/>
                </a:lnTo>
                <a:lnTo>
                  <a:pt x="5029" y="5031"/>
                </a:lnTo>
                <a:lnTo>
                  <a:pt x="5005" y="5068"/>
                </a:lnTo>
                <a:lnTo>
                  <a:pt x="4982" y="5107"/>
                </a:lnTo>
                <a:lnTo>
                  <a:pt x="4961" y="5146"/>
                </a:lnTo>
                <a:lnTo>
                  <a:pt x="4940" y="5186"/>
                </a:lnTo>
                <a:lnTo>
                  <a:pt x="4921" y="5227"/>
                </a:lnTo>
                <a:lnTo>
                  <a:pt x="4904" y="5268"/>
                </a:lnTo>
                <a:lnTo>
                  <a:pt x="4888" y="5309"/>
                </a:lnTo>
                <a:lnTo>
                  <a:pt x="4875" y="5351"/>
                </a:lnTo>
                <a:lnTo>
                  <a:pt x="4863" y="5392"/>
                </a:lnTo>
                <a:lnTo>
                  <a:pt x="4852" y="5434"/>
                </a:lnTo>
                <a:lnTo>
                  <a:pt x="4852" y="5434"/>
                </a:lnTo>
                <a:lnTo>
                  <a:pt x="4847" y="5463"/>
                </a:lnTo>
                <a:lnTo>
                  <a:pt x="4845" y="5492"/>
                </a:lnTo>
                <a:lnTo>
                  <a:pt x="4844" y="5520"/>
                </a:lnTo>
                <a:lnTo>
                  <a:pt x="4846" y="5549"/>
                </a:lnTo>
                <a:lnTo>
                  <a:pt x="4850" y="5576"/>
                </a:lnTo>
                <a:lnTo>
                  <a:pt x="4856" y="5604"/>
                </a:lnTo>
                <a:lnTo>
                  <a:pt x="4864" y="5631"/>
                </a:lnTo>
                <a:lnTo>
                  <a:pt x="4875" y="5656"/>
                </a:lnTo>
                <a:lnTo>
                  <a:pt x="4887" y="5681"/>
                </a:lnTo>
                <a:lnTo>
                  <a:pt x="4902" y="5705"/>
                </a:lnTo>
                <a:lnTo>
                  <a:pt x="4918" y="5728"/>
                </a:lnTo>
                <a:lnTo>
                  <a:pt x="4937" y="5750"/>
                </a:lnTo>
                <a:lnTo>
                  <a:pt x="4957" y="5770"/>
                </a:lnTo>
                <a:lnTo>
                  <a:pt x="4979" y="5790"/>
                </a:lnTo>
                <a:lnTo>
                  <a:pt x="5002" y="5808"/>
                </a:lnTo>
                <a:lnTo>
                  <a:pt x="5027" y="5823"/>
                </a:lnTo>
                <a:lnTo>
                  <a:pt x="5625" y="6167"/>
                </a:lnTo>
                <a:lnTo>
                  <a:pt x="5609" y="6192"/>
                </a:lnTo>
                <a:lnTo>
                  <a:pt x="5609" y="6192"/>
                </a:lnTo>
                <a:lnTo>
                  <a:pt x="5560" y="6208"/>
                </a:lnTo>
                <a:lnTo>
                  <a:pt x="5509" y="6221"/>
                </a:lnTo>
                <a:lnTo>
                  <a:pt x="5459" y="6231"/>
                </a:lnTo>
                <a:lnTo>
                  <a:pt x="5407" y="6239"/>
                </a:lnTo>
                <a:lnTo>
                  <a:pt x="5356" y="6243"/>
                </a:lnTo>
                <a:lnTo>
                  <a:pt x="5304" y="6245"/>
                </a:lnTo>
                <a:lnTo>
                  <a:pt x="5254" y="6245"/>
                </a:lnTo>
                <a:lnTo>
                  <a:pt x="5203" y="6241"/>
                </a:lnTo>
                <a:lnTo>
                  <a:pt x="5151" y="6235"/>
                </a:lnTo>
                <a:lnTo>
                  <a:pt x="5102" y="6227"/>
                </a:lnTo>
                <a:lnTo>
                  <a:pt x="5051" y="6215"/>
                </a:lnTo>
                <a:lnTo>
                  <a:pt x="5003" y="6200"/>
                </a:lnTo>
                <a:lnTo>
                  <a:pt x="4953" y="6184"/>
                </a:lnTo>
                <a:lnTo>
                  <a:pt x="4906" y="6164"/>
                </a:lnTo>
                <a:lnTo>
                  <a:pt x="4859" y="6143"/>
                </a:lnTo>
                <a:lnTo>
                  <a:pt x="4814" y="6117"/>
                </a:lnTo>
                <a:lnTo>
                  <a:pt x="4814" y="6117"/>
                </a:lnTo>
                <a:lnTo>
                  <a:pt x="4781" y="6099"/>
                </a:lnTo>
                <a:lnTo>
                  <a:pt x="4751" y="6079"/>
                </a:lnTo>
                <a:lnTo>
                  <a:pt x="4721" y="6057"/>
                </a:lnTo>
                <a:lnTo>
                  <a:pt x="4692" y="6035"/>
                </a:lnTo>
                <a:lnTo>
                  <a:pt x="4664" y="6013"/>
                </a:lnTo>
                <a:lnTo>
                  <a:pt x="4636" y="5988"/>
                </a:lnTo>
                <a:lnTo>
                  <a:pt x="4611" y="5963"/>
                </a:lnTo>
                <a:lnTo>
                  <a:pt x="4586" y="5938"/>
                </a:lnTo>
                <a:lnTo>
                  <a:pt x="4562" y="5911"/>
                </a:lnTo>
                <a:lnTo>
                  <a:pt x="4539" y="5884"/>
                </a:lnTo>
                <a:lnTo>
                  <a:pt x="4517" y="5856"/>
                </a:lnTo>
                <a:lnTo>
                  <a:pt x="4496" y="5827"/>
                </a:lnTo>
                <a:lnTo>
                  <a:pt x="4477" y="5797"/>
                </a:lnTo>
                <a:lnTo>
                  <a:pt x="4459" y="5767"/>
                </a:lnTo>
                <a:lnTo>
                  <a:pt x="4442" y="5737"/>
                </a:lnTo>
                <a:lnTo>
                  <a:pt x="4425" y="5705"/>
                </a:lnTo>
                <a:lnTo>
                  <a:pt x="4411" y="5673"/>
                </a:lnTo>
                <a:lnTo>
                  <a:pt x="4398" y="5640"/>
                </a:lnTo>
                <a:lnTo>
                  <a:pt x="4384" y="5608"/>
                </a:lnTo>
                <a:lnTo>
                  <a:pt x="4373" y="5574"/>
                </a:lnTo>
                <a:lnTo>
                  <a:pt x="4364" y="5540"/>
                </a:lnTo>
                <a:lnTo>
                  <a:pt x="4355" y="5505"/>
                </a:lnTo>
                <a:lnTo>
                  <a:pt x="4347" y="5470"/>
                </a:lnTo>
                <a:lnTo>
                  <a:pt x="4341" y="5436"/>
                </a:lnTo>
                <a:lnTo>
                  <a:pt x="4336" y="5401"/>
                </a:lnTo>
                <a:lnTo>
                  <a:pt x="4332" y="5364"/>
                </a:lnTo>
                <a:lnTo>
                  <a:pt x="4330" y="5328"/>
                </a:lnTo>
                <a:lnTo>
                  <a:pt x="4330" y="5292"/>
                </a:lnTo>
                <a:lnTo>
                  <a:pt x="4330" y="5256"/>
                </a:lnTo>
                <a:lnTo>
                  <a:pt x="4332" y="5220"/>
                </a:lnTo>
                <a:lnTo>
                  <a:pt x="4335" y="5183"/>
                </a:lnTo>
                <a:lnTo>
                  <a:pt x="4340" y="5146"/>
                </a:lnTo>
                <a:lnTo>
                  <a:pt x="4340" y="5146"/>
                </a:lnTo>
                <a:lnTo>
                  <a:pt x="4344" y="5107"/>
                </a:lnTo>
                <a:lnTo>
                  <a:pt x="4346" y="5066"/>
                </a:lnTo>
                <a:lnTo>
                  <a:pt x="4346" y="5026"/>
                </a:lnTo>
                <a:lnTo>
                  <a:pt x="4343" y="4985"/>
                </a:lnTo>
                <a:lnTo>
                  <a:pt x="4337" y="4945"/>
                </a:lnTo>
                <a:lnTo>
                  <a:pt x="4330" y="4905"/>
                </a:lnTo>
                <a:lnTo>
                  <a:pt x="4319" y="4867"/>
                </a:lnTo>
                <a:lnTo>
                  <a:pt x="4307" y="4827"/>
                </a:lnTo>
                <a:lnTo>
                  <a:pt x="4293" y="4790"/>
                </a:lnTo>
                <a:lnTo>
                  <a:pt x="4276" y="4751"/>
                </a:lnTo>
                <a:lnTo>
                  <a:pt x="4256" y="4715"/>
                </a:lnTo>
                <a:lnTo>
                  <a:pt x="4235" y="4679"/>
                </a:lnTo>
                <a:lnTo>
                  <a:pt x="4212" y="4644"/>
                </a:lnTo>
                <a:lnTo>
                  <a:pt x="4185" y="4610"/>
                </a:lnTo>
                <a:lnTo>
                  <a:pt x="4159" y="4578"/>
                </a:lnTo>
                <a:lnTo>
                  <a:pt x="4129" y="4546"/>
                </a:lnTo>
                <a:lnTo>
                  <a:pt x="3821" y="4240"/>
                </a:lnTo>
                <a:lnTo>
                  <a:pt x="3821" y="4240"/>
                </a:lnTo>
                <a:lnTo>
                  <a:pt x="3812" y="4233"/>
                </a:lnTo>
                <a:lnTo>
                  <a:pt x="3802" y="4226"/>
                </a:lnTo>
                <a:lnTo>
                  <a:pt x="3792" y="4220"/>
                </a:lnTo>
                <a:lnTo>
                  <a:pt x="3781" y="4215"/>
                </a:lnTo>
                <a:lnTo>
                  <a:pt x="3771" y="4210"/>
                </a:lnTo>
                <a:lnTo>
                  <a:pt x="3758" y="4208"/>
                </a:lnTo>
                <a:lnTo>
                  <a:pt x="3748" y="4207"/>
                </a:lnTo>
                <a:lnTo>
                  <a:pt x="3736" y="4206"/>
                </a:lnTo>
                <a:lnTo>
                  <a:pt x="3723" y="4207"/>
                </a:lnTo>
                <a:lnTo>
                  <a:pt x="3713" y="4208"/>
                </a:lnTo>
                <a:lnTo>
                  <a:pt x="3702" y="4210"/>
                </a:lnTo>
                <a:lnTo>
                  <a:pt x="3690" y="4215"/>
                </a:lnTo>
                <a:lnTo>
                  <a:pt x="3680" y="4220"/>
                </a:lnTo>
                <a:lnTo>
                  <a:pt x="3669" y="4226"/>
                </a:lnTo>
                <a:lnTo>
                  <a:pt x="3660" y="4233"/>
                </a:lnTo>
                <a:lnTo>
                  <a:pt x="3650" y="4242"/>
                </a:lnTo>
                <a:lnTo>
                  <a:pt x="3650" y="4242"/>
                </a:lnTo>
                <a:lnTo>
                  <a:pt x="3643" y="4250"/>
                </a:lnTo>
                <a:lnTo>
                  <a:pt x="3635" y="4260"/>
                </a:lnTo>
                <a:lnTo>
                  <a:pt x="3629" y="4271"/>
                </a:lnTo>
                <a:lnTo>
                  <a:pt x="3625" y="4281"/>
                </a:lnTo>
                <a:lnTo>
                  <a:pt x="3620" y="4292"/>
                </a:lnTo>
                <a:lnTo>
                  <a:pt x="3617" y="4303"/>
                </a:lnTo>
                <a:lnTo>
                  <a:pt x="3616" y="4315"/>
                </a:lnTo>
                <a:lnTo>
                  <a:pt x="3615" y="4327"/>
                </a:lnTo>
                <a:lnTo>
                  <a:pt x="3616" y="4338"/>
                </a:lnTo>
                <a:lnTo>
                  <a:pt x="3617" y="4350"/>
                </a:lnTo>
                <a:lnTo>
                  <a:pt x="3620" y="4361"/>
                </a:lnTo>
                <a:lnTo>
                  <a:pt x="3625" y="4372"/>
                </a:lnTo>
                <a:lnTo>
                  <a:pt x="3629" y="4383"/>
                </a:lnTo>
                <a:lnTo>
                  <a:pt x="3635" y="4393"/>
                </a:lnTo>
                <a:lnTo>
                  <a:pt x="3643" y="4403"/>
                </a:lnTo>
                <a:lnTo>
                  <a:pt x="3651" y="4412"/>
                </a:lnTo>
                <a:lnTo>
                  <a:pt x="3959" y="4718"/>
                </a:lnTo>
                <a:lnTo>
                  <a:pt x="3959" y="4718"/>
                </a:lnTo>
                <a:lnTo>
                  <a:pt x="3978" y="4738"/>
                </a:lnTo>
                <a:lnTo>
                  <a:pt x="3997" y="4760"/>
                </a:lnTo>
                <a:lnTo>
                  <a:pt x="4014" y="4783"/>
                </a:lnTo>
                <a:lnTo>
                  <a:pt x="4030" y="4805"/>
                </a:lnTo>
                <a:lnTo>
                  <a:pt x="4044" y="4830"/>
                </a:lnTo>
                <a:lnTo>
                  <a:pt x="4058" y="4854"/>
                </a:lnTo>
                <a:lnTo>
                  <a:pt x="4068" y="4879"/>
                </a:lnTo>
                <a:lnTo>
                  <a:pt x="4078" y="4904"/>
                </a:lnTo>
                <a:lnTo>
                  <a:pt x="4086" y="4930"/>
                </a:lnTo>
                <a:lnTo>
                  <a:pt x="4094" y="4955"/>
                </a:lnTo>
                <a:lnTo>
                  <a:pt x="4098" y="4981"/>
                </a:lnTo>
                <a:lnTo>
                  <a:pt x="4102" y="5007"/>
                </a:lnTo>
                <a:lnTo>
                  <a:pt x="4105" y="5033"/>
                </a:lnTo>
                <a:lnTo>
                  <a:pt x="4106" y="5060"/>
                </a:lnTo>
                <a:lnTo>
                  <a:pt x="4105" y="5085"/>
                </a:lnTo>
                <a:lnTo>
                  <a:pt x="4101" y="5111"/>
                </a:lnTo>
                <a:lnTo>
                  <a:pt x="4101" y="5111"/>
                </a:lnTo>
                <a:lnTo>
                  <a:pt x="4095" y="5156"/>
                </a:lnTo>
                <a:lnTo>
                  <a:pt x="4091" y="5199"/>
                </a:lnTo>
                <a:lnTo>
                  <a:pt x="4089" y="5244"/>
                </a:lnTo>
                <a:lnTo>
                  <a:pt x="4089" y="5289"/>
                </a:lnTo>
                <a:lnTo>
                  <a:pt x="4089" y="5332"/>
                </a:lnTo>
                <a:lnTo>
                  <a:pt x="4092" y="5376"/>
                </a:lnTo>
                <a:lnTo>
                  <a:pt x="4096" y="5420"/>
                </a:lnTo>
                <a:lnTo>
                  <a:pt x="4102" y="5464"/>
                </a:lnTo>
                <a:lnTo>
                  <a:pt x="4109" y="5508"/>
                </a:lnTo>
                <a:lnTo>
                  <a:pt x="4118" y="5550"/>
                </a:lnTo>
                <a:lnTo>
                  <a:pt x="4129" y="5593"/>
                </a:lnTo>
                <a:lnTo>
                  <a:pt x="4141" y="5635"/>
                </a:lnTo>
                <a:lnTo>
                  <a:pt x="4155" y="5678"/>
                </a:lnTo>
                <a:lnTo>
                  <a:pt x="4170" y="5720"/>
                </a:lnTo>
                <a:lnTo>
                  <a:pt x="4187" y="5761"/>
                </a:lnTo>
                <a:lnTo>
                  <a:pt x="4206" y="5802"/>
                </a:lnTo>
                <a:lnTo>
                  <a:pt x="4206" y="5802"/>
                </a:lnTo>
                <a:lnTo>
                  <a:pt x="4226" y="5843"/>
                </a:lnTo>
                <a:lnTo>
                  <a:pt x="4248" y="5882"/>
                </a:lnTo>
                <a:lnTo>
                  <a:pt x="4271" y="5921"/>
                </a:lnTo>
                <a:lnTo>
                  <a:pt x="4296" y="5960"/>
                </a:lnTo>
                <a:lnTo>
                  <a:pt x="4323" y="5997"/>
                </a:lnTo>
                <a:lnTo>
                  <a:pt x="4349" y="6032"/>
                </a:lnTo>
                <a:lnTo>
                  <a:pt x="4378" y="6067"/>
                </a:lnTo>
                <a:lnTo>
                  <a:pt x="4408" y="6101"/>
                </a:lnTo>
                <a:lnTo>
                  <a:pt x="4440" y="6133"/>
                </a:lnTo>
                <a:lnTo>
                  <a:pt x="4472" y="6164"/>
                </a:lnTo>
                <a:lnTo>
                  <a:pt x="4506" y="6194"/>
                </a:lnTo>
                <a:lnTo>
                  <a:pt x="4541" y="6223"/>
                </a:lnTo>
                <a:lnTo>
                  <a:pt x="4577" y="6251"/>
                </a:lnTo>
                <a:lnTo>
                  <a:pt x="4615" y="6278"/>
                </a:lnTo>
                <a:lnTo>
                  <a:pt x="4653" y="6303"/>
                </a:lnTo>
                <a:lnTo>
                  <a:pt x="4693" y="6327"/>
                </a:lnTo>
                <a:lnTo>
                  <a:pt x="4693" y="6327"/>
                </a:lnTo>
                <a:lnTo>
                  <a:pt x="4728" y="6346"/>
                </a:lnTo>
                <a:lnTo>
                  <a:pt x="4763" y="6364"/>
                </a:lnTo>
                <a:lnTo>
                  <a:pt x="4799" y="6381"/>
                </a:lnTo>
                <a:lnTo>
                  <a:pt x="4835" y="6397"/>
                </a:lnTo>
                <a:lnTo>
                  <a:pt x="4871" y="6411"/>
                </a:lnTo>
                <a:lnTo>
                  <a:pt x="4909" y="6423"/>
                </a:lnTo>
                <a:lnTo>
                  <a:pt x="4946" y="6435"/>
                </a:lnTo>
                <a:lnTo>
                  <a:pt x="4984" y="6446"/>
                </a:lnTo>
                <a:lnTo>
                  <a:pt x="5021" y="6456"/>
                </a:lnTo>
                <a:lnTo>
                  <a:pt x="5060" y="6464"/>
                </a:lnTo>
                <a:lnTo>
                  <a:pt x="5098" y="6470"/>
                </a:lnTo>
                <a:lnTo>
                  <a:pt x="5137" y="6476"/>
                </a:lnTo>
                <a:lnTo>
                  <a:pt x="5175" y="6481"/>
                </a:lnTo>
                <a:lnTo>
                  <a:pt x="5214" y="6484"/>
                </a:lnTo>
                <a:lnTo>
                  <a:pt x="5252" y="6486"/>
                </a:lnTo>
                <a:lnTo>
                  <a:pt x="5291" y="6486"/>
                </a:lnTo>
                <a:lnTo>
                  <a:pt x="5291" y="6486"/>
                </a:lnTo>
                <a:lnTo>
                  <a:pt x="5348" y="6485"/>
                </a:lnTo>
                <a:lnTo>
                  <a:pt x="5403" y="6481"/>
                </a:lnTo>
                <a:lnTo>
                  <a:pt x="5460" y="6475"/>
                </a:lnTo>
                <a:lnTo>
                  <a:pt x="5515" y="6466"/>
                </a:lnTo>
                <a:lnTo>
                  <a:pt x="5571" y="6453"/>
                </a:lnTo>
                <a:lnTo>
                  <a:pt x="5626" y="6439"/>
                </a:lnTo>
                <a:lnTo>
                  <a:pt x="5682" y="6422"/>
                </a:lnTo>
                <a:lnTo>
                  <a:pt x="5736" y="6403"/>
                </a:lnTo>
                <a:lnTo>
                  <a:pt x="5736" y="6403"/>
                </a:lnTo>
                <a:lnTo>
                  <a:pt x="5746" y="6398"/>
                </a:lnTo>
                <a:lnTo>
                  <a:pt x="5754" y="6393"/>
                </a:lnTo>
                <a:lnTo>
                  <a:pt x="5762" y="6388"/>
                </a:lnTo>
                <a:lnTo>
                  <a:pt x="5771" y="6382"/>
                </a:lnTo>
                <a:lnTo>
                  <a:pt x="5778" y="6375"/>
                </a:lnTo>
                <a:lnTo>
                  <a:pt x="5785" y="6368"/>
                </a:lnTo>
                <a:lnTo>
                  <a:pt x="5791" y="6360"/>
                </a:lnTo>
                <a:lnTo>
                  <a:pt x="5796" y="6351"/>
                </a:lnTo>
                <a:lnTo>
                  <a:pt x="5894" y="6182"/>
                </a:lnTo>
                <a:lnTo>
                  <a:pt x="5894" y="6182"/>
                </a:lnTo>
                <a:lnTo>
                  <a:pt x="5900" y="6172"/>
                </a:lnTo>
                <a:lnTo>
                  <a:pt x="5904" y="6161"/>
                </a:lnTo>
                <a:lnTo>
                  <a:pt x="5907" y="6150"/>
                </a:lnTo>
                <a:lnTo>
                  <a:pt x="5910" y="6138"/>
                </a:lnTo>
                <a:lnTo>
                  <a:pt x="5911" y="6126"/>
                </a:lnTo>
                <a:lnTo>
                  <a:pt x="5910" y="6115"/>
                </a:lnTo>
                <a:lnTo>
                  <a:pt x="5908" y="6103"/>
                </a:lnTo>
                <a:lnTo>
                  <a:pt x="5906" y="6091"/>
                </a:lnTo>
                <a:lnTo>
                  <a:pt x="5906" y="6091"/>
                </a:lnTo>
                <a:lnTo>
                  <a:pt x="5902" y="6080"/>
                </a:lnTo>
                <a:lnTo>
                  <a:pt x="5898" y="6069"/>
                </a:lnTo>
                <a:lnTo>
                  <a:pt x="5893" y="6058"/>
                </a:lnTo>
                <a:lnTo>
                  <a:pt x="5885" y="6049"/>
                </a:lnTo>
                <a:lnTo>
                  <a:pt x="5878" y="6040"/>
                </a:lnTo>
                <a:lnTo>
                  <a:pt x="5870" y="6032"/>
                </a:lnTo>
                <a:lnTo>
                  <a:pt x="5860" y="6025"/>
                </a:lnTo>
                <a:lnTo>
                  <a:pt x="5851" y="6017"/>
                </a:lnTo>
                <a:lnTo>
                  <a:pt x="5148" y="5614"/>
                </a:lnTo>
                <a:lnTo>
                  <a:pt x="5148" y="5614"/>
                </a:lnTo>
                <a:lnTo>
                  <a:pt x="5139" y="5609"/>
                </a:lnTo>
                <a:lnTo>
                  <a:pt x="5131" y="5603"/>
                </a:lnTo>
                <a:lnTo>
                  <a:pt x="5123" y="5597"/>
                </a:lnTo>
                <a:lnTo>
                  <a:pt x="5117" y="5590"/>
                </a:lnTo>
                <a:lnTo>
                  <a:pt x="5105" y="5575"/>
                </a:lnTo>
                <a:lnTo>
                  <a:pt x="5096" y="5558"/>
                </a:lnTo>
                <a:lnTo>
                  <a:pt x="5090" y="5542"/>
                </a:lnTo>
                <a:lnTo>
                  <a:pt x="5087" y="5533"/>
                </a:lnTo>
                <a:lnTo>
                  <a:pt x="5086" y="5523"/>
                </a:lnTo>
                <a:lnTo>
                  <a:pt x="5085" y="5514"/>
                </a:lnTo>
                <a:lnTo>
                  <a:pt x="5085" y="5505"/>
                </a:lnTo>
                <a:lnTo>
                  <a:pt x="5086" y="5496"/>
                </a:lnTo>
                <a:lnTo>
                  <a:pt x="5088" y="5486"/>
                </a:lnTo>
                <a:lnTo>
                  <a:pt x="5088" y="5486"/>
                </a:lnTo>
                <a:lnTo>
                  <a:pt x="5096" y="5454"/>
                </a:lnTo>
                <a:lnTo>
                  <a:pt x="5105" y="5420"/>
                </a:lnTo>
                <a:lnTo>
                  <a:pt x="5116" y="5387"/>
                </a:lnTo>
                <a:lnTo>
                  <a:pt x="5128" y="5355"/>
                </a:lnTo>
                <a:lnTo>
                  <a:pt x="5143" y="5322"/>
                </a:lnTo>
                <a:lnTo>
                  <a:pt x="5157" y="5290"/>
                </a:lnTo>
                <a:lnTo>
                  <a:pt x="5173" y="5257"/>
                </a:lnTo>
                <a:lnTo>
                  <a:pt x="5191" y="5227"/>
                </a:lnTo>
                <a:lnTo>
                  <a:pt x="5209" y="5196"/>
                </a:lnTo>
                <a:lnTo>
                  <a:pt x="5228" y="5166"/>
                </a:lnTo>
                <a:lnTo>
                  <a:pt x="5249" y="5137"/>
                </a:lnTo>
                <a:lnTo>
                  <a:pt x="5271" y="5109"/>
                </a:lnTo>
                <a:lnTo>
                  <a:pt x="5292" y="5081"/>
                </a:lnTo>
                <a:lnTo>
                  <a:pt x="5315" y="5055"/>
                </a:lnTo>
                <a:lnTo>
                  <a:pt x="5339" y="5031"/>
                </a:lnTo>
                <a:lnTo>
                  <a:pt x="5365" y="5007"/>
                </a:lnTo>
                <a:lnTo>
                  <a:pt x="5365" y="5007"/>
                </a:lnTo>
                <a:lnTo>
                  <a:pt x="5372" y="4999"/>
                </a:lnTo>
                <a:lnTo>
                  <a:pt x="5380" y="4993"/>
                </a:lnTo>
                <a:lnTo>
                  <a:pt x="5389" y="4989"/>
                </a:lnTo>
                <a:lnTo>
                  <a:pt x="5398" y="4984"/>
                </a:lnTo>
                <a:lnTo>
                  <a:pt x="5407" y="4980"/>
                </a:lnTo>
                <a:lnTo>
                  <a:pt x="5416" y="4977"/>
                </a:lnTo>
                <a:lnTo>
                  <a:pt x="5426" y="4975"/>
                </a:lnTo>
                <a:lnTo>
                  <a:pt x="5436" y="4973"/>
                </a:lnTo>
                <a:lnTo>
                  <a:pt x="5445" y="4973"/>
                </a:lnTo>
                <a:lnTo>
                  <a:pt x="5455" y="4973"/>
                </a:lnTo>
                <a:lnTo>
                  <a:pt x="5465" y="4973"/>
                </a:lnTo>
                <a:lnTo>
                  <a:pt x="5474" y="4975"/>
                </a:lnTo>
                <a:lnTo>
                  <a:pt x="5484" y="4977"/>
                </a:lnTo>
                <a:lnTo>
                  <a:pt x="5492" y="4980"/>
                </a:lnTo>
                <a:lnTo>
                  <a:pt x="5502" y="4984"/>
                </a:lnTo>
                <a:lnTo>
                  <a:pt x="5512" y="4989"/>
                </a:lnTo>
                <a:lnTo>
                  <a:pt x="6215" y="5392"/>
                </a:lnTo>
                <a:lnTo>
                  <a:pt x="6215" y="5392"/>
                </a:lnTo>
                <a:lnTo>
                  <a:pt x="6226" y="5398"/>
                </a:lnTo>
                <a:lnTo>
                  <a:pt x="6236" y="5402"/>
                </a:lnTo>
                <a:lnTo>
                  <a:pt x="6247" y="5405"/>
                </a:lnTo>
                <a:lnTo>
                  <a:pt x="6259" y="5408"/>
                </a:lnTo>
                <a:lnTo>
                  <a:pt x="6271" y="5408"/>
                </a:lnTo>
                <a:lnTo>
                  <a:pt x="6282" y="5408"/>
                </a:lnTo>
                <a:lnTo>
                  <a:pt x="6294" y="5407"/>
                </a:lnTo>
                <a:lnTo>
                  <a:pt x="6305" y="5404"/>
                </a:lnTo>
                <a:lnTo>
                  <a:pt x="6316" y="5401"/>
                </a:lnTo>
                <a:lnTo>
                  <a:pt x="6327" y="5396"/>
                </a:lnTo>
                <a:lnTo>
                  <a:pt x="6338" y="5391"/>
                </a:lnTo>
                <a:lnTo>
                  <a:pt x="6347" y="5384"/>
                </a:lnTo>
                <a:lnTo>
                  <a:pt x="6356" y="5376"/>
                </a:lnTo>
                <a:lnTo>
                  <a:pt x="6364" y="5368"/>
                </a:lnTo>
                <a:lnTo>
                  <a:pt x="6371" y="5358"/>
                </a:lnTo>
                <a:lnTo>
                  <a:pt x="6379" y="5349"/>
                </a:lnTo>
                <a:lnTo>
                  <a:pt x="6476" y="5180"/>
                </a:lnTo>
                <a:lnTo>
                  <a:pt x="6476" y="5180"/>
                </a:lnTo>
                <a:lnTo>
                  <a:pt x="6481" y="5172"/>
                </a:lnTo>
                <a:lnTo>
                  <a:pt x="6485" y="5162"/>
                </a:lnTo>
                <a:lnTo>
                  <a:pt x="6488" y="5152"/>
                </a:lnTo>
                <a:lnTo>
                  <a:pt x="6490" y="5143"/>
                </a:lnTo>
                <a:lnTo>
                  <a:pt x="6492" y="5132"/>
                </a:lnTo>
                <a:lnTo>
                  <a:pt x="6492" y="5122"/>
                </a:lnTo>
                <a:lnTo>
                  <a:pt x="6492" y="5111"/>
                </a:lnTo>
                <a:lnTo>
                  <a:pt x="6491" y="5102"/>
                </a:lnTo>
                <a:lnTo>
                  <a:pt x="6491" y="5102"/>
                </a:lnTo>
                <a:close/>
                <a:moveTo>
                  <a:pt x="3742" y="3492"/>
                </a:moveTo>
                <a:lnTo>
                  <a:pt x="3742" y="3492"/>
                </a:lnTo>
                <a:lnTo>
                  <a:pt x="3740" y="3530"/>
                </a:lnTo>
                <a:lnTo>
                  <a:pt x="3738" y="3567"/>
                </a:lnTo>
                <a:lnTo>
                  <a:pt x="3733" y="3603"/>
                </a:lnTo>
                <a:lnTo>
                  <a:pt x="3727" y="3639"/>
                </a:lnTo>
                <a:lnTo>
                  <a:pt x="3720" y="3674"/>
                </a:lnTo>
                <a:lnTo>
                  <a:pt x="3710" y="3710"/>
                </a:lnTo>
                <a:lnTo>
                  <a:pt x="3698" y="3744"/>
                </a:lnTo>
                <a:lnTo>
                  <a:pt x="3685" y="3778"/>
                </a:lnTo>
                <a:lnTo>
                  <a:pt x="3670" y="3812"/>
                </a:lnTo>
                <a:lnTo>
                  <a:pt x="3655" y="3844"/>
                </a:lnTo>
                <a:lnTo>
                  <a:pt x="3637" y="3875"/>
                </a:lnTo>
                <a:lnTo>
                  <a:pt x="3617" y="3906"/>
                </a:lnTo>
                <a:lnTo>
                  <a:pt x="3596" y="3936"/>
                </a:lnTo>
                <a:lnTo>
                  <a:pt x="3573" y="3965"/>
                </a:lnTo>
                <a:lnTo>
                  <a:pt x="3549" y="3992"/>
                </a:lnTo>
                <a:lnTo>
                  <a:pt x="3523" y="4020"/>
                </a:lnTo>
                <a:lnTo>
                  <a:pt x="1523" y="6019"/>
                </a:lnTo>
                <a:lnTo>
                  <a:pt x="1523" y="6019"/>
                </a:lnTo>
                <a:lnTo>
                  <a:pt x="1495" y="6045"/>
                </a:lnTo>
                <a:lnTo>
                  <a:pt x="1466" y="6069"/>
                </a:lnTo>
                <a:lnTo>
                  <a:pt x="1436" y="6092"/>
                </a:lnTo>
                <a:lnTo>
                  <a:pt x="1406" y="6114"/>
                </a:lnTo>
                <a:lnTo>
                  <a:pt x="1375" y="6133"/>
                </a:lnTo>
                <a:lnTo>
                  <a:pt x="1342" y="6151"/>
                </a:lnTo>
                <a:lnTo>
                  <a:pt x="1309" y="6167"/>
                </a:lnTo>
                <a:lnTo>
                  <a:pt x="1276" y="6181"/>
                </a:lnTo>
                <a:lnTo>
                  <a:pt x="1242" y="6194"/>
                </a:lnTo>
                <a:lnTo>
                  <a:pt x="1208" y="6205"/>
                </a:lnTo>
                <a:lnTo>
                  <a:pt x="1173" y="6215"/>
                </a:lnTo>
                <a:lnTo>
                  <a:pt x="1138" y="6222"/>
                </a:lnTo>
                <a:lnTo>
                  <a:pt x="1102" y="6228"/>
                </a:lnTo>
                <a:lnTo>
                  <a:pt x="1067" y="6233"/>
                </a:lnTo>
                <a:lnTo>
                  <a:pt x="1031" y="6235"/>
                </a:lnTo>
                <a:lnTo>
                  <a:pt x="996" y="6237"/>
                </a:lnTo>
                <a:lnTo>
                  <a:pt x="996" y="6237"/>
                </a:lnTo>
                <a:lnTo>
                  <a:pt x="960" y="6235"/>
                </a:lnTo>
                <a:lnTo>
                  <a:pt x="924" y="6233"/>
                </a:lnTo>
                <a:lnTo>
                  <a:pt x="889" y="6228"/>
                </a:lnTo>
                <a:lnTo>
                  <a:pt x="852" y="6222"/>
                </a:lnTo>
                <a:lnTo>
                  <a:pt x="818" y="6215"/>
                </a:lnTo>
                <a:lnTo>
                  <a:pt x="783" y="6205"/>
                </a:lnTo>
                <a:lnTo>
                  <a:pt x="749" y="6194"/>
                </a:lnTo>
                <a:lnTo>
                  <a:pt x="715" y="6181"/>
                </a:lnTo>
                <a:lnTo>
                  <a:pt x="681" y="6167"/>
                </a:lnTo>
                <a:lnTo>
                  <a:pt x="649" y="6151"/>
                </a:lnTo>
                <a:lnTo>
                  <a:pt x="616" y="6133"/>
                </a:lnTo>
                <a:lnTo>
                  <a:pt x="585" y="6114"/>
                </a:lnTo>
                <a:lnTo>
                  <a:pt x="555" y="6092"/>
                </a:lnTo>
                <a:lnTo>
                  <a:pt x="525" y="6069"/>
                </a:lnTo>
                <a:lnTo>
                  <a:pt x="496" y="6045"/>
                </a:lnTo>
                <a:lnTo>
                  <a:pt x="468" y="6019"/>
                </a:lnTo>
                <a:lnTo>
                  <a:pt x="468" y="6019"/>
                </a:lnTo>
                <a:lnTo>
                  <a:pt x="443" y="5991"/>
                </a:lnTo>
                <a:lnTo>
                  <a:pt x="418" y="5963"/>
                </a:lnTo>
                <a:lnTo>
                  <a:pt x="396" y="5934"/>
                </a:lnTo>
                <a:lnTo>
                  <a:pt x="375" y="5904"/>
                </a:lnTo>
                <a:lnTo>
                  <a:pt x="356" y="5874"/>
                </a:lnTo>
                <a:lnTo>
                  <a:pt x="338" y="5843"/>
                </a:lnTo>
                <a:lnTo>
                  <a:pt x="321" y="5810"/>
                </a:lnTo>
                <a:lnTo>
                  <a:pt x="306" y="5776"/>
                </a:lnTo>
                <a:lnTo>
                  <a:pt x="293" y="5743"/>
                </a:lnTo>
                <a:lnTo>
                  <a:pt x="282" y="5709"/>
                </a:lnTo>
                <a:lnTo>
                  <a:pt x="273" y="5673"/>
                </a:lnTo>
                <a:lnTo>
                  <a:pt x="264" y="5638"/>
                </a:lnTo>
                <a:lnTo>
                  <a:pt x="258" y="5602"/>
                </a:lnTo>
                <a:lnTo>
                  <a:pt x="253" y="5566"/>
                </a:lnTo>
                <a:lnTo>
                  <a:pt x="251" y="5528"/>
                </a:lnTo>
                <a:lnTo>
                  <a:pt x="250" y="5491"/>
                </a:lnTo>
                <a:lnTo>
                  <a:pt x="250" y="5491"/>
                </a:lnTo>
                <a:lnTo>
                  <a:pt x="251" y="5455"/>
                </a:lnTo>
                <a:lnTo>
                  <a:pt x="253" y="5417"/>
                </a:lnTo>
                <a:lnTo>
                  <a:pt x="258" y="5381"/>
                </a:lnTo>
                <a:lnTo>
                  <a:pt x="264" y="5345"/>
                </a:lnTo>
                <a:lnTo>
                  <a:pt x="273" y="5309"/>
                </a:lnTo>
                <a:lnTo>
                  <a:pt x="282" y="5274"/>
                </a:lnTo>
                <a:lnTo>
                  <a:pt x="293" y="5240"/>
                </a:lnTo>
                <a:lnTo>
                  <a:pt x="306" y="5207"/>
                </a:lnTo>
                <a:lnTo>
                  <a:pt x="321" y="5173"/>
                </a:lnTo>
                <a:lnTo>
                  <a:pt x="338" y="5140"/>
                </a:lnTo>
                <a:lnTo>
                  <a:pt x="356" y="5109"/>
                </a:lnTo>
                <a:lnTo>
                  <a:pt x="375" y="5078"/>
                </a:lnTo>
                <a:lnTo>
                  <a:pt x="396" y="5049"/>
                </a:lnTo>
                <a:lnTo>
                  <a:pt x="418" y="5020"/>
                </a:lnTo>
                <a:lnTo>
                  <a:pt x="443" y="4991"/>
                </a:lnTo>
                <a:lnTo>
                  <a:pt x="468" y="4964"/>
                </a:lnTo>
                <a:lnTo>
                  <a:pt x="2468" y="2966"/>
                </a:lnTo>
                <a:lnTo>
                  <a:pt x="2468" y="2966"/>
                </a:lnTo>
                <a:lnTo>
                  <a:pt x="2496" y="2941"/>
                </a:lnTo>
                <a:lnTo>
                  <a:pt x="2524" y="2917"/>
                </a:lnTo>
                <a:lnTo>
                  <a:pt x="2553" y="2894"/>
                </a:lnTo>
                <a:lnTo>
                  <a:pt x="2583" y="2872"/>
                </a:lnTo>
                <a:lnTo>
                  <a:pt x="2613" y="2853"/>
                </a:lnTo>
                <a:lnTo>
                  <a:pt x="2644" y="2835"/>
                </a:lnTo>
                <a:lnTo>
                  <a:pt x="2677" y="2819"/>
                </a:lnTo>
                <a:lnTo>
                  <a:pt x="2711" y="2804"/>
                </a:lnTo>
                <a:lnTo>
                  <a:pt x="2744" y="2791"/>
                </a:lnTo>
                <a:lnTo>
                  <a:pt x="2778" y="2779"/>
                </a:lnTo>
                <a:lnTo>
                  <a:pt x="2814" y="2770"/>
                </a:lnTo>
                <a:lnTo>
                  <a:pt x="2849" y="2762"/>
                </a:lnTo>
                <a:lnTo>
                  <a:pt x="2885" y="2756"/>
                </a:lnTo>
                <a:lnTo>
                  <a:pt x="2922" y="2751"/>
                </a:lnTo>
                <a:lnTo>
                  <a:pt x="2959" y="2749"/>
                </a:lnTo>
                <a:lnTo>
                  <a:pt x="2996" y="2748"/>
                </a:lnTo>
                <a:lnTo>
                  <a:pt x="2996" y="2748"/>
                </a:lnTo>
                <a:lnTo>
                  <a:pt x="3041" y="2749"/>
                </a:lnTo>
                <a:lnTo>
                  <a:pt x="3087" y="2753"/>
                </a:lnTo>
                <a:lnTo>
                  <a:pt x="3131" y="2760"/>
                </a:lnTo>
                <a:lnTo>
                  <a:pt x="3175" y="2770"/>
                </a:lnTo>
                <a:lnTo>
                  <a:pt x="4625" y="1319"/>
                </a:lnTo>
                <a:lnTo>
                  <a:pt x="4625" y="995"/>
                </a:lnTo>
                <a:lnTo>
                  <a:pt x="4625" y="995"/>
                </a:lnTo>
                <a:lnTo>
                  <a:pt x="4627" y="979"/>
                </a:lnTo>
                <a:lnTo>
                  <a:pt x="4630" y="964"/>
                </a:lnTo>
                <a:lnTo>
                  <a:pt x="4634" y="949"/>
                </a:lnTo>
                <a:lnTo>
                  <a:pt x="4641" y="936"/>
                </a:lnTo>
                <a:lnTo>
                  <a:pt x="4650" y="924"/>
                </a:lnTo>
                <a:lnTo>
                  <a:pt x="4659" y="912"/>
                </a:lnTo>
                <a:lnTo>
                  <a:pt x="4670" y="901"/>
                </a:lnTo>
                <a:lnTo>
                  <a:pt x="4682" y="893"/>
                </a:lnTo>
                <a:lnTo>
                  <a:pt x="5683" y="267"/>
                </a:lnTo>
                <a:lnTo>
                  <a:pt x="5683" y="267"/>
                </a:lnTo>
                <a:lnTo>
                  <a:pt x="5691" y="263"/>
                </a:lnTo>
                <a:lnTo>
                  <a:pt x="5701" y="259"/>
                </a:lnTo>
                <a:lnTo>
                  <a:pt x="5711" y="255"/>
                </a:lnTo>
                <a:lnTo>
                  <a:pt x="5720" y="253"/>
                </a:lnTo>
                <a:lnTo>
                  <a:pt x="5730" y="251"/>
                </a:lnTo>
                <a:lnTo>
                  <a:pt x="5741" y="249"/>
                </a:lnTo>
                <a:lnTo>
                  <a:pt x="5750" y="249"/>
                </a:lnTo>
                <a:lnTo>
                  <a:pt x="5760" y="251"/>
                </a:lnTo>
                <a:lnTo>
                  <a:pt x="5770" y="252"/>
                </a:lnTo>
                <a:lnTo>
                  <a:pt x="5779" y="254"/>
                </a:lnTo>
                <a:lnTo>
                  <a:pt x="5789" y="258"/>
                </a:lnTo>
                <a:lnTo>
                  <a:pt x="5799" y="261"/>
                </a:lnTo>
                <a:lnTo>
                  <a:pt x="5807" y="266"/>
                </a:lnTo>
                <a:lnTo>
                  <a:pt x="5816" y="271"/>
                </a:lnTo>
                <a:lnTo>
                  <a:pt x="5824" y="278"/>
                </a:lnTo>
                <a:lnTo>
                  <a:pt x="5831" y="284"/>
                </a:lnTo>
                <a:lnTo>
                  <a:pt x="6207" y="660"/>
                </a:lnTo>
                <a:lnTo>
                  <a:pt x="6207" y="660"/>
                </a:lnTo>
                <a:lnTo>
                  <a:pt x="6213" y="667"/>
                </a:lnTo>
                <a:lnTo>
                  <a:pt x="6221" y="676"/>
                </a:lnTo>
                <a:lnTo>
                  <a:pt x="6226" y="684"/>
                </a:lnTo>
                <a:lnTo>
                  <a:pt x="6230" y="693"/>
                </a:lnTo>
                <a:lnTo>
                  <a:pt x="6234" y="702"/>
                </a:lnTo>
                <a:lnTo>
                  <a:pt x="6238" y="712"/>
                </a:lnTo>
                <a:lnTo>
                  <a:pt x="6240" y="722"/>
                </a:lnTo>
                <a:lnTo>
                  <a:pt x="6241" y="731"/>
                </a:lnTo>
                <a:lnTo>
                  <a:pt x="6242" y="741"/>
                </a:lnTo>
                <a:lnTo>
                  <a:pt x="6242" y="751"/>
                </a:lnTo>
                <a:lnTo>
                  <a:pt x="6241" y="761"/>
                </a:lnTo>
                <a:lnTo>
                  <a:pt x="6239" y="771"/>
                </a:lnTo>
                <a:lnTo>
                  <a:pt x="6236" y="781"/>
                </a:lnTo>
                <a:lnTo>
                  <a:pt x="6233" y="790"/>
                </a:lnTo>
                <a:lnTo>
                  <a:pt x="6229" y="800"/>
                </a:lnTo>
                <a:lnTo>
                  <a:pt x="6224" y="808"/>
                </a:lnTo>
                <a:lnTo>
                  <a:pt x="5599" y="1808"/>
                </a:lnTo>
                <a:lnTo>
                  <a:pt x="5599" y="1808"/>
                </a:lnTo>
                <a:lnTo>
                  <a:pt x="5590" y="1820"/>
                </a:lnTo>
                <a:lnTo>
                  <a:pt x="5579" y="1831"/>
                </a:lnTo>
                <a:lnTo>
                  <a:pt x="5567" y="1841"/>
                </a:lnTo>
                <a:lnTo>
                  <a:pt x="5555" y="1849"/>
                </a:lnTo>
                <a:lnTo>
                  <a:pt x="5542" y="1856"/>
                </a:lnTo>
                <a:lnTo>
                  <a:pt x="5527" y="1861"/>
                </a:lnTo>
                <a:lnTo>
                  <a:pt x="5512" y="1864"/>
                </a:lnTo>
                <a:lnTo>
                  <a:pt x="5496" y="1865"/>
                </a:lnTo>
                <a:lnTo>
                  <a:pt x="5172" y="1865"/>
                </a:lnTo>
                <a:lnTo>
                  <a:pt x="3720" y="3314"/>
                </a:lnTo>
                <a:lnTo>
                  <a:pt x="3720" y="3314"/>
                </a:lnTo>
                <a:lnTo>
                  <a:pt x="3730" y="3357"/>
                </a:lnTo>
                <a:lnTo>
                  <a:pt x="3737" y="3402"/>
                </a:lnTo>
                <a:lnTo>
                  <a:pt x="3740" y="3448"/>
                </a:lnTo>
                <a:lnTo>
                  <a:pt x="3742" y="3492"/>
                </a:lnTo>
                <a:lnTo>
                  <a:pt x="3742" y="3492"/>
                </a:lnTo>
                <a:close/>
                <a:moveTo>
                  <a:pt x="3411" y="2873"/>
                </a:moveTo>
                <a:lnTo>
                  <a:pt x="3411" y="2873"/>
                </a:lnTo>
                <a:lnTo>
                  <a:pt x="3440" y="2895"/>
                </a:lnTo>
                <a:lnTo>
                  <a:pt x="3469" y="2917"/>
                </a:lnTo>
                <a:lnTo>
                  <a:pt x="3497" y="2941"/>
                </a:lnTo>
                <a:lnTo>
                  <a:pt x="3523" y="2966"/>
                </a:lnTo>
                <a:lnTo>
                  <a:pt x="3523" y="2966"/>
                </a:lnTo>
                <a:lnTo>
                  <a:pt x="3549" y="2992"/>
                </a:lnTo>
                <a:lnTo>
                  <a:pt x="3573" y="3020"/>
                </a:lnTo>
                <a:lnTo>
                  <a:pt x="3594" y="3049"/>
                </a:lnTo>
                <a:lnTo>
                  <a:pt x="3616" y="3078"/>
                </a:lnTo>
                <a:lnTo>
                  <a:pt x="5037" y="1659"/>
                </a:lnTo>
                <a:lnTo>
                  <a:pt x="5037" y="1659"/>
                </a:lnTo>
                <a:lnTo>
                  <a:pt x="5045" y="1650"/>
                </a:lnTo>
                <a:lnTo>
                  <a:pt x="5055" y="1644"/>
                </a:lnTo>
                <a:lnTo>
                  <a:pt x="5064" y="1638"/>
                </a:lnTo>
                <a:lnTo>
                  <a:pt x="5075" y="1632"/>
                </a:lnTo>
                <a:lnTo>
                  <a:pt x="5086" y="1629"/>
                </a:lnTo>
                <a:lnTo>
                  <a:pt x="5098" y="1626"/>
                </a:lnTo>
                <a:lnTo>
                  <a:pt x="5109" y="1624"/>
                </a:lnTo>
                <a:lnTo>
                  <a:pt x="5121" y="1624"/>
                </a:lnTo>
                <a:lnTo>
                  <a:pt x="5430" y="1624"/>
                </a:lnTo>
                <a:lnTo>
                  <a:pt x="5969" y="763"/>
                </a:lnTo>
                <a:lnTo>
                  <a:pt x="5729" y="523"/>
                </a:lnTo>
                <a:lnTo>
                  <a:pt x="4867" y="1061"/>
                </a:lnTo>
                <a:lnTo>
                  <a:pt x="4867" y="1370"/>
                </a:lnTo>
                <a:lnTo>
                  <a:pt x="4867" y="1370"/>
                </a:lnTo>
                <a:lnTo>
                  <a:pt x="4867" y="1382"/>
                </a:lnTo>
                <a:lnTo>
                  <a:pt x="4864" y="1393"/>
                </a:lnTo>
                <a:lnTo>
                  <a:pt x="4862" y="1405"/>
                </a:lnTo>
                <a:lnTo>
                  <a:pt x="4858" y="1415"/>
                </a:lnTo>
                <a:lnTo>
                  <a:pt x="4852" y="1426"/>
                </a:lnTo>
                <a:lnTo>
                  <a:pt x="4846" y="1436"/>
                </a:lnTo>
                <a:lnTo>
                  <a:pt x="4840" y="1446"/>
                </a:lnTo>
                <a:lnTo>
                  <a:pt x="4832" y="1454"/>
                </a:lnTo>
                <a:lnTo>
                  <a:pt x="3411" y="2873"/>
                </a:lnTo>
                <a:close/>
                <a:moveTo>
                  <a:pt x="3500" y="3492"/>
                </a:moveTo>
                <a:lnTo>
                  <a:pt x="3500" y="3492"/>
                </a:lnTo>
                <a:lnTo>
                  <a:pt x="3500" y="3468"/>
                </a:lnTo>
                <a:lnTo>
                  <a:pt x="3498" y="3443"/>
                </a:lnTo>
                <a:lnTo>
                  <a:pt x="3496" y="3418"/>
                </a:lnTo>
                <a:lnTo>
                  <a:pt x="3491" y="3394"/>
                </a:lnTo>
                <a:lnTo>
                  <a:pt x="3486" y="3369"/>
                </a:lnTo>
                <a:lnTo>
                  <a:pt x="3479" y="3345"/>
                </a:lnTo>
                <a:lnTo>
                  <a:pt x="3471" y="3323"/>
                </a:lnTo>
                <a:lnTo>
                  <a:pt x="3462" y="3300"/>
                </a:lnTo>
                <a:lnTo>
                  <a:pt x="3452" y="3278"/>
                </a:lnTo>
                <a:lnTo>
                  <a:pt x="3441" y="3255"/>
                </a:lnTo>
                <a:lnTo>
                  <a:pt x="3429" y="3235"/>
                </a:lnTo>
                <a:lnTo>
                  <a:pt x="3416" y="3213"/>
                </a:lnTo>
                <a:lnTo>
                  <a:pt x="3402" y="3194"/>
                </a:lnTo>
                <a:lnTo>
                  <a:pt x="3386" y="3173"/>
                </a:lnTo>
                <a:lnTo>
                  <a:pt x="3370" y="3155"/>
                </a:lnTo>
                <a:lnTo>
                  <a:pt x="3353" y="3137"/>
                </a:lnTo>
                <a:lnTo>
                  <a:pt x="3353" y="3137"/>
                </a:lnTo>
                <a:lnTo>
                  <a:pt x="3334" y="3119"/>
                </a:lnTo>
                <a:lnTo>
                  <a:pt x="3316" y="3103"/>
                </a:lnTo>
                <a:lnTo>
                  <a:pt x="3295" y="3088"/>
                </a:lnTo>
                <a:lnTo>
                  <a:pt x="3276" y="3073"/>
                </a:lnTo>
                <a:lnTo>
                  <a:pt x="3254" y="3060"/>
                </a:lnTo>
                <a:lnTo>
                  <a:pt x="3234" y="3048"/>
                </a:lnTo>
                <a:lnTo>
                  <a:pt x="3211" y="3037"/>
                </a:lnTo>
                <a:lnTo>
                  <a:pt x="3189" y="3027"/>
                </a:lnTo>
                <a:lnTo>
                  <a:pt x="3166" y="3018"/>
                </a:lnTo>
                <a:lnTo>
                  <a:pt x="3144" y="3010"/>
                </a:lnTo>
                <a:lnTo>
                  <a:pt x="3119" y="3003"/>
                </a:lnTo>
                <a:lnTo>
                  <a:pt x="3095" y="2998"/>
                </a:lnTo>
                <a:lnTo>
                  <a:pt x="3071" y="2994"/>
                </a:lnTo>
                <a:lnTo>
                  <a:pt x="3046" y="2991"/>
                </a:lnTo>
                <a:lnTo>
                  <a:pt x="3021" y="2989"/>
                </a:lnTo>
                <a:lnTo>
                  <a:pt x="2996" y="2989"/>
                </a:lnTo>
                <a:lnTo>
                  <a:pt x="2996" y="2989"/>
                </a:lnTo>
                <a:lnTo>
                  <a:pt x="2971" y="2989"/>
                </a:lnTo>
                <a:lnTo>
                  <a:pt x="2946" y="2991"/>
                </a:lnTo>
                <a:lnTo>
                  <a:pt x="2922" y="2994"/>
                </a:lnTo>
                <a:lnTo>
                  <a:pt x="2896" y="2998"/>
                </a:lnTo>
                <a:lnTo>
                  <a:pt x="2872" y="3003"/>
                </a:lnTo>
                <a:lnTo>
                  <a:pt x="2849" y="3010"/>
                </a:lnTo>
                <a:lnTo>
                  <a:pt x="2825" y="3018"/>
                </a:lnTo>
                <a:lnTo>
                  <a:pt x="2802" y="3027"/>
                </a:lnTo>
                <a:lnTo>
                  <a:pt x="2781" y="3037"/>
                </a:lnTo>
                <a:lnTo>
                  <a:pt x="2759" y="3048"/>
                </a:lnTo>
                <a:lnTo>
                  <a:pt x="2737" y="3060"/>
                </a:lnTo>
                <a:lnTo>
                  <a:pt x="2717" y="3073"/>
                </a:lnTo>
                <a:lnTo>
                  <a:pt x="2696" y="3088"/>
                </a:lnTo>
                <a:lnTo>
                  <a:pt x="2677" y="3103"/>
                </a:lnTo>
                <a:lnTo>
                  <a:pt x="2658" y="3119"/>
                </a:lnTo>
                <a:lnTo>
                  <a:pt x="2639" y="3136"/>
                </a:lnTo>
                <a:lnTo>
                  <a:pt x="639" y="5136"/>
                </a:lnTo>
                <a:lnTo>
                  <a:pt x="639" y="5136"/>
                </a:lnTo>
                <a:lnTo>
                  <a:pt x="621" y="5154"/>
                </a:lnTo>
                <a:lnTo>
                  <a:pt x="605" y="5172"/>
                </a:lnTo>
                <a:lnTo>
                  <a:pt x="590" y="5192"/>
                </a:lnTo>
                <a:lnTo>
                  <a:pt x="575" y="5211"/>
                </a:lnTo>
                <a:lnTo>
                  <a:pt x="562" y="5233"/>
                </a:lnTo>
                <a:lnTo>
                  <a:pt x="550" y="5254"/>
                </a:lnTo>
                <a:lnTo>
                  <a:pt x="539" y="5277"/>
                </a:lnTo>
                <a:lnTo>
                  <a:pt x="529" y="5298"/>
                </a:lnTo>
                <a:lnTo>
                  <a:pt x="520" y="5321"/>
                </a:lnTo>
                <a:lnTo>
                  <a:pt x="512" y="5344"/>
                </a:lnTo>
                <a:lnTo>
                  <a:pt x="506" y="5368"/>
                </a:lnTo>
                <a:lnTo>
                  <a:pt x="500" y="5392"/>
                </a:lnTo>
                <a:lnTo>
                  <a:pt x="497" y="5416"/>
                </a:lnTo>
                <a:lnTo>
                  <a:pt x="493" y="5442"/>
                </a:lnTo>
                <a:lnTo>
                  <a:pt x="492" y="5467"/>
                </a:lnTo>
                <a:lnTo>
                  <a:pt x="491" y="5491"/>
                </a:lnTo>
                <a:lnTo>
                  <a:pt x="491" y="5491"/>
                </a:lnTo>
                <a:lnTo>
                  <a:pt x="492" y="5516"/>
                </a:lnTo>
                <a:lnTo>
                  <a:pt x="493" y="5542"/>
                </a:lnTo>
                <a:lnTo>
                  <a:pt x="497" y="5566"/>
                </a:lnTo>
                <a:lnTo>
                  <a:pt x="500" y="5591"/>
                </a:lnTo>
                <a:lnTo>
                  <a:pt x="506" y="5615"/>
                </a:lnTo>
                <a:lnTo>
                  <a:pt x="512" y="5638"/>
                </a:lnTo>
                <a:lnTo>
                  <a:pt x="520" y="5662"/>
                </a:lnTo>
                <a:lnTo>
                  <a:pt x="529" y="5685"/>
                </a:lnTo>
                <a:lnTo>
                  <a:pt x="539" y="5707"/>
                </a:lnTo>
                <a:lnTo>
                  <a:pt x="550" y="5728"/>
                </a:lnTo>
                <a:lnTo>
                  <a:pt x="562" y="5750"/>
                </a:lnTo>
                <a:lnTo>
                  <a:pt x="575" y="5770"/>
                </a:lnTo>
                <a:lnTo>
                  <a:pt x="590" y="5791"/>
                </a:lnTo>
                <a:lnTo>
                  <a:pt x="605" y="5810"/>
                </a:lnTo>
                <a:lnTo>
                  <a:pt x="621" y="5829"/>
                </a:lnTo>
                <a:lnTo>
                  <a:pt x="639" y="5848"/>
                </a:lnTo>
                <a:lnTo>
                  <a:pt x="639" y="5848"/>
                </a:lnTo>
                <a:lnTo>
                  <a:pt x="657" y="5866"/>
                </a:lnTo>
                <a:lnTo>
                  <a:pt x="676" y="5882"/>
                </a:lnTo>
                <a:lnTo>
                  <a:pt x="697" y="5898"/>
                </a:lnTo>
                <a:lnTo>
                  <a:pt x="717" y="5913"/>
                </a:lnTo>
                <a:lnTo>
                  <a:pt x="739" y="5926"/>
                </a:lnTo>
                <a:lnTo>
                  <a:pt x="761" y="5938"/>
                </a:lnTo>
                <a:lnTo>
                  <a:pt x="783" y="5949"/>
                </a:lnTo>
                <a:lnTo>
                  <a:pt x="805" y="5958"/>
                </a:lnTo>
                <a:lnTo>
                  <a:pt x="828" y="5967"/>
                </a:lnTo>
                <a:lnTo>
                  <a:pt x="851" y="5974"/>
                </a:lnTo>
                <a:lnTo>
                  <a:pt x="875" y="5981"/>
                </a:lnTo>
                <a:lnTo>
                  <a:pt x="900" y="5986"/>
                </a:lnTo>
                <a:lnTo>
                  <a:pt x="924" y="5990"/>
                </a:lnTo>
                <a:lnTo>
                  <a:pt x="947" y="5993"/>
                </a:lnTo>
                <a:lnTo>
                  <a:pt x="972" y="5994"/>
                </a:lnTo>
                <a:lnTo>
                  <a:pt x="996" y="5996"/>
                </a:lnTo>
                <a:lnTo>
                  <a:pt x="1020" y="5994"/>
                </a:lnTo>
                <a:lnTo>
                  <a:pt x="1044" y="5993"/>
                </a:lnTo>
                <a:lnTo>
                  <a:pt x="1068" y="5990"/>
                </a:lnTo>
                <a:lnTo>
                  <a:pt x="1092" y="5986"/>
                </a:lnTo>
                <a:lnTo>
                  <a:pt x="1115" y="5981"/>
                </a:lnTo>
                <a:lnTo>
                  <a:pt x="1139" y="5974"/>
                </a:lnTo>
                <a:lnTo>
                  <a:pt x="1162" y="5967"/>
                </a:lnTo>
                <a:lnTo>
                  <a:pt x="1185" y="5958"/>
                </a:lnTo>
                <a:lnTo>
                  <a:pt x="1208" y="5949"/>
                </a:lnTo>
                <a:lnTo>
                  <a:pt x="1230" y="5938"/>
                </a:lnTo>
                <a:lnTo>
                  <a:pt x="1252" y="5926"/>
                </a:lnTo>
                <a:lnTo>
                  <a:pt x="1273" y="5913"/>
                </a:lnTo>
                <a:lnTo>
                  <a:pt x="1294" y="5898"/>
                </a:lnTo>
                <a:lnTo>
                  <a:pt x="1314" y="5882"/>
                </a:lnTo>
                <a:lnTo>
                  <a:pt x="1334" y="5866"/>
                </a:lnTo>
                <a:lnTo>
                  <a:pt x="1352" y="5848"/>
                </a:lnTo>
                <a:lnTo>
                  <a:pt x="3353" y="3849"/>
                </a:lnTo>
                <a:lnTo>
                  <a:pt x="3353" y="3849"/>
                </a:lnTo>
                <a:lnTo>
                  <a:pt x="3370" y="3831"/>
                </a:lnTo>
                <a:lnTo>
                  <a:pt x="3386" y="3812"/>
                </a:lnTo>
                <a:lnTo>
                  <a:pt x="3402" y="3792"/>
                </a:lnTo>
                <a:lnTo>
                  <a:pt x="3416" y="3772"/>
                </a:lnTo>
                <a:lnTo>
                  <a:pt x="3429" y="3751"/>
                </a:lnTo>
                <a:lnTo>
                  <a:pt x="3441" y="3730"/>
                </a:lnTo>
                <a:lnTo>
                  <a:pt x="3452" y="3708"/>
                </a:lnTo>
                <a:lnTo>
                  <a:pt x="3462" y="3686"/>
                </a:lnTo>
                <a:lnTo>
                  <a:pt x="3471" y="3663"/>
                </a:lnTo>
                <a:lnTo>
                  <a:pt x="3479" y="3639"/>
                </a:lnTo>
                <a:lnTo>
                  <a:pt x="3486" y="3616"/>
                </a:lnTo>
                <a:lnTo>
                  <a:pt x="3491" y="3592"/>
                </a:lnTo>
                <a:lnTo>
                  <a:pt x="3496" y="3567"/>
                </a:lnTo>
                <a:lnTo>
                  <a:pt x="3498" y="3543"/>
                </a:lnTo>
                <a:lnTo>
                  <a:pt x="3500" y="3518"/>
                </a:lnTo>
                <a:lnTo>
                  <a:pt x="3500" y="3492"/>
                </a:lnTo>
                <a:lnTo>
                  <a:pt x="3500" y="3492"/>
                </a:lnTo>
                <a:close/>
              </a:path>
            </a:pathLst>
          </a:custGeom>
          <a:solidFill>
            <a:schemeClr val="tx1"/>
          </a:solidFill>
          <a:ln>
            <a:noFill/>
          </a:ln>
        </p:spPr>
        <p:txBody>
          <a:bodyPr vert="horz" wrap="square" lIns="121807" tIns="60904" rIns="121807" bIns="60904" numCol="1" anchor="t" anchorCtr="0" compatLnSpc="1">
            <a:prstTxWarp prst="textNoShape">
              <a:avLst/>
            </a:prstTxWarp>
          </a:bodyPr>
          <a:lstStyle/>
          <a:p>
            <a:endParaRPr lang="en-US" sz="2395"/>
          </a:p>
        </p:txBody>
      </p:sp>
      <p:sp>
        <p:nvSpPr>
          <p:cNvPr id="14" name="Freeform 455">
            <a:extLst>
              <a:ext uri="{FF2B5EF4-FFF2-40B4-BE49-F238E27FC236}">
                <a16:creationId xmlns:a16="http://schemas.microsoft.com/office/drawing/2014/main" id="{27BD72AE-A493-5AC4-5756-FA782D83E9EF}"/>
              </a:ext>
              <a:ext uri="{C183D7F6-B498-43B3-948B-1728B52AA6E4}">
                <adec:decorative xmlns:adec="http://schemas.microsoft.com/office/drawing/2017/decorative" val="1"/>
              </a:ext>
            </a:extLst>
          </p:cNvPr>
          <p:cNvSpPr>
            <a:spLocks noChangeAspect="1" noEditPoints="1"/>
          </p:cNvSpPr>
          <p:nvPr/>
        </p:nvSpPr>
        <p:spPr bwMode="auto">
          <a:xfrm>
            <a:off x="9387663" y="5158284"/>
            <a:ext cx="643037" cy="642442"/>
          </a:xfrm>
          <a:custGeom>
            <a:avLst/>
            <a:gdLst>
              <a:gd name="T0" fmla="*/ 5485 w 6492"/>
              <a:gd name="T1" fmla="*/ 895 h 6486"/>
              <a:gd name="T2" fmla="*/ 4205 w 6492"/>
              <a:gd name="T3" fmla="*/ 143 h 6486"/>
              <a:gd name="T4" fmla="*/ 2679 w 6492"/>
              <a:gd name="T5" fmla="*/ 49 h 6486"/>
              <a:gd name="T6" fmla="*/ 1306 w 6492"/>
              <a:gd name="T7" fmla="*/ 642 h 6486"/>
              <a:gd name="T8" fmla="*/ 355 w 6492"/>
              <a:gd name="T9" fmla="*/ 1767 h 6486"/>
              <a:gd name="T10" fmla="*/ 0 w 6492"/>
              <a:gd name="T11" fmla="*/ 3243 h 6486"/>
              <a:gd name="T12" fmla="*/ 320 w 6492"/>
              <a:gd name="T13" fmla="*/ 4649 h 6486"/>
              <a:gd name="T14" fmla="*/ 1244 w 6492"/>
              <a:gd name="T15" fmla="*/ 5797 h 6486"/>
              <a:gd name="T16" fmla="*/ 2600 w 6492"/>
              <a:gd name="T17" fmla="*/ 6422 h 6486"/>
              <a:gd name="T18" fmla="*/ 4127 w 6492"/>
              <a:gd name="T19" fmla="*/ 6366 h 6486"/>
              <a:gd name="T20" fmla="*/ 5427 w 6492"/>
              <a:gd name="T21" fmla="*/ 5645 h 6486"/>
              <a:gd name="T22" fmla="*/ 6238 w 6492"/>
              <a:gd name="T23" fmla="*/ 4506 h 6486"/>
              <a:gd name="T24" fmla="*/ 6484 w 6492"/>
              <a:gd name="T25" fmla="*/ 2998 h 6486"/>
              <a:gd name="T26" fmla="*/ 4916 w 6492"/>
              <a:gd name="T27" fmla="*/ 2825 h 6486"/>
              <a:gd name="T28" fmla="*/ 5046 w 6492"/>
              <a:gd name="T29" fmla="*/ 1525 h 6486"/>
              <a:gd name="T30" fmla="*/ 5858 w 6492"/>
              <a:gd name="T31" fmla="*/ 1760 h 6486"/>
              <a:gd name="T32" fmla="*/ 6235 w 6492"/>
              <a:gd name="T33" fmla="*/ 2931 h 6486"/>
              <a:gd name="T34" fmla="*/ 3779 w 6492"/>
              <a:gd name="T35" fmla="*/ 459 h 6486"/>
              <a:gd name="T36" fmla="*/ 4264 w 6492"/>
              <a:gd name="T37" fmla="*/ 1131 h 6486"/>
              <a:gd name="T38" fmla="*/ 3433 w 6492"/>
              <a:gd name="T39" fmla="*/ 1558 h 6486"/>
              <a:gd name="T40" fmla="*/ 2156 w 6492"/>
              <a:gd name="T41" fmla="*/ 1461 h 6486"/>
              <a:gd name="T42" fmla="*/ 2548 w 6492"/>
              <a:gd name="T43" fmla="*/ 625 h 6486"/>
              <a:gd name="T44" fmla="*/ 3125 w 6492"/>
              <a:gd name="T45" fmla="*/ 252 h 6486"/>
              <a:gd name="T46" fmla="*/ 3125 w 6492"/>
              <a:gd name="T47" fmla="*/ 3123 h 6486"/>
              <a:gd name="T48" fmla="*/ 3125 w 6492"/>
              <a:gd name="T49" fmla="*/ 3363 h 6486"/>
              <a:gd name="T50" fmla="*/ 1994 w 6492"/>
              <a:gd name="T51" fmla="*/ 4725 h 6486"/>
              <a:gd name="T52" fmla="*/ 3095 w 6492"/>
              <a:gd name="T53" fmla="*/ 6228 h 6486"/>
              <a:gd name="T54" fmla="*/ 2521 w 6492"/>
              <a:gd name="T55" fmla="*/ 5829 h 6486"/>
              <a:gd name="T56" fmla="*/ 2217 w 6492"/>
              <a:gd name="T57" fmla="*/ 5014 h 6486"/>
              <a:gd name="T58" fmla="*/ 3500 w 6492"/>
              <a:gd name="T59" fmla="*/ 4930 h 6486"/>
              <a:gd name="T60" fmla="*/ 4243 w 6492"/>
              <a:gd name="T61" fmla="*/ 5397 h 6486"/>
              <a:gd name="T62" fmla="*/ 3751 w 6492"/>
              <a:gd name="T63" fmla="*/ 6051 h 6486"/>
              <a:gd name="T64" fmla="*/ 4206 w 6492"/>
              <a:gd name="T65" fmla="*/ 4757 h 6486"/>
              <a:gd name="T66" fmla="*/ 4659 w 6492"/>
              <a:gd name="T67" fmla="*/ 3839 h 6486"/>
              <a:gd name="T68" fmla="*/ 3722 w 6492"/>
              <a:gd name="T69" fmla="*/ 1784 h 6486"/>
              <a:gd name="T70" fmla="*/ 4625 w 6492"/>
              <a:gd name="T71" fmla="*/ 2370 h 6486"/>
              <a:gd name="T72" fmla="*/ 4634 w 6492"/>
              <a:gd name="T73" fmla="*/ 1395 h 6486"/>
              <a:gd name="T74" fmla="*/ 4158 w 6492"/>
              <a:gd name="T75" fmla="*/ 505 h 6486"/>
              <a:gd name="T76" fmla="*/ 4660 w 6492"/>
              <a:gd name="T77" fmla="*/ 595 h 6486"/>
              <a:gd name="T78" fmla="*/ 2489 w 6492"/>
              <a:gd name="T79" fmla="*/ 337 h 6486"/>
              <a:gd name="T80" fmla="*/ 1986 w 6492"/>
              <a:gd name="T81" fmla="*/ 1079 h 6486"/>
              <a:gd name="T82" fmla="*/ 1259 w 6492"/>
              <a:gd name="T83" fmla="*/ 993 h 6486"/>
              <a:gd name="T84" fmla="*/ 2104 w 6492"/>
              <a:gd name="T85" fmla="*/ 466 h 6486"/>
              <a:gd name="T86" fmla="*/ 1393 w 6492"/>
              <a:gd name="T87" fmla="*/ 1506 h 6486"/>
              <a:gd name="T88" fmla="*/ 1583 w 6492"/>
              <a:gd name="T89" fmla="*/ 2727 h 6486"/>
              <a:gd name="T90" fmla="*/ 406 w 6492"/>
              <a:gd name="T91" fmla="*/ 2261 h 6486"/>
              <a:gd name="T92" fmla="*/ 244 w 6492"/>
              <a:gd name="T93" fmla="*/ 3363 h 6486"/>
              <a:gd name="T94" fmla="*/ 1725 w 6492"/>
              <a:gd name="T95" fmla="*/ 4877 h 6486"/>
              <a:gd name="T96" fmla="*/ 797 w 6492"/>
              <a:gd name="T97" fmla="*/ 4981 h 6486"/>
              <a:gd name="T98" fmla="*/ 306 w 6492"/>
              <a:gd name="T99" fmla="*/ 3867 h 6486"/>
              <a:gd name="T100" fmla="*/ 1858 w 6492"/>
              <a:gd name="T101" fmla="*/ 5091 h 6486"/>
              <a:gd name="T102" fmla="*/ 2334 w 6492"/>
              <a:gd name="T103" fmla="*/ 5981 h 6486"/>
              <a:gd name="T104" fmla="*/ 1832 w 6492"/>
              <a:gd name="T105" fmla="*/ 5891 h 6486"/>
              <a:gd name="T106" fmla="*/ 4003 w 6492"/>
              <a:gd name="T107" fmla="*/ 6149 h 6486"/>
              <a:gd name="T108" fmla="*/ 4506 w 6492"/>
              <a:gd name="T109" fmla="*/ 5407 h 6486"/>
              <a:gd name="T110" fmla="*/ 5233 w 6492"/>
              <a:gd name="T111" fmla="*/ 5493 h 6486"/>
              <a:gd name="T112" fmla="*/ 4388 w 6492"/>
              <a:gd name="T113" fmla="*/ 6020 h 6486"/>
              <a:gd name="T114" fmla="*/ 5099 w 6492"/>
              <a:gd name="T115" fmla="*/ 4980 h 6486"/>
              <a:gd name="T116" fmla="*/ 4909 w 6492"/>
              <a:gd name="T117" fmla="*/ 3759 h 6486"/>
              <a:gd name="T118" fmla="*/ 6086 w 6492"/>
              <a:gd name="T119" fmla="*/ 4225 h 6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492" h="6486">
                <a:moveTo>
                  <a:pt x="6238" y="1980"/>
                </a:moveTo>
                <a:lnTo>
                  <a:pt x="6238" y="1980"/>
                </a:lnTo>
                <a:lnTo>
                  <a:pt x="6205" y="1908"/>
                </a:lnTo>
                <a:lnTo>
                  <a:pt x="6172" y="1837"/>
                </a:lnTo>
                <a:lnTo>
                  <a:pt x="6137" y="1767"/>
                </a:lnTo>
                <a:lnTo>
                  <a:pt x="6101" y="1699"/>
                </a:lnTo>
                <a:lnTo>
                  <a:pt x="6063" y="1630"/>
                </a:lnTo>
                <a:lnTo>
                  <a:pt x="6024" y="1564"/>
                </a:lnTo>
                <a:lnTo>
                  <a:pt x="5982" y="1497"/>
                </a:lnTo>
                <a:lnTo>
                  <a:pt x="5940" y="1432"/>
                </a:lnTo>
                <a:lnTo>
                  <a:pt x="5895" y="1369"/>
                </a:lnTo>
                <a:lnTo>
                  <a:pt x="5849" y="1305"/>
                </a:lnTo>
                <a:lnTo>
                  <a:pt x="5802" y="1243"/>
                </a:lnTo>
                <a:lnTo>
                  <a:pt x="5753" y="1182"/>
                </a:lnTo>
                <a:lnTo>
                  <a:pt x="5702" y="1123"/>
                </a:lnTo>
                <a:lnTo>
                  <a:pt x="5650" y="1064"/>
                </a:lnTo>
                <a:lnTo>
                  <a:pt x="5596" y="1006"/>
                </a:lnTo>
                <a:lnTo>
                  <a:pt x="5542" y="949"/>
                </a:lnTo>
                <a:lnTo>
                  <a:pt x="5542" y="949"/>
                </a:lnTo>
                <a:lnTo>
                  <a:pt x="5485" y="895"/>
                </a:lnTo>
                <a:lnTo>
                  <a:pt x="5427" y="841"/>
                </a:lnTo>
                <a:lnTo>
                  <a:pt x="5368" y="789"/>
                </a:lnTo>
                <a:lnTo>
                  <a:pt x="5309" y="738"/>
                </a:lnTo>
                <a:lnTo>
                  <a:pt x="5248" y="689"/>
                </a:lnTo>
                <a:lnTo>
                  <a:pt x="5186" y="642"/>
                </a:lnTo>
                <a:lnTo>
                  <a:pt x="5122" y="596"/>
                </a:lnTo>
                <a:lnTo>
                  <a:pt x="5058" y="552"/>
                </a:lnTo>
                <a:lnTo>
                  <a:pt x="4993" y="510"/>
                </a:lnTo>
                <a:lnTo>
                  <a:pt x="4927" y="467"/>
                </a:lnTo>
                <a:lnTo>
                  <a:pt x="4861" y="429"/>
                </a:lnTo>
                <a:lnTo>
                  <a:pt x="4792" y="390"/>
                </a:lnTo>
                <a:lnTo>
                  <a:pt x="4723" y="354"/>
                </a:lnTo>
                <a:lnTo>
                  <a:pt x="4653" y="319"/>
                </a:lnTo>
                <a:lnTo>
                  <a:pt x="4582" y="287"/>
                </a:lnTo>
                <a:lnTo>
                  <a:pt x="4510" y="254"/>
                </a:lnTo>
                <a:lnTo>
                  <a:pt x="4510" y="254"/>
                </a:lnTo>
                <a:lnTo>
                  <a:pt x="4434" y="224"/>
                </a:lnTo>
                <a:lnTo>
                  <a:pt x="4358" y="195"/>
                </a:lnTo>
                <a:lnTo>
                  <a:pt x="4282" y="169"/>
                </a:lnTo>
                <a:lnTo>
                  <a:pt x="4205" y="143"/>
                </a:lnTo>
                <a:lnTo>
                  <a:pt x="4127" y="120"/>
                </a:lnTo>
                <a:lnTo>
                  <a:pt x="4049" y="100"/>
                </a:lnTo>
                <a:lnTo>
                  <a:pt x="3971" y="81"/>
                </a:lnTo>
                <a:lnTo>
                  <a:pt x="3892" y="64"/>
                </a:lnTo>
                <a:lnTo>
                  <a:pt x="3813" y="49"/>
                </a:lnTo>
                <a:lnTo>
                  <a:pt x="3733" y="36"/>
                </a:lnTo>
                <a:lnTo>
                  <a:pt x="3652" y="25"/>
                </a:lnTo>
                <a:lnTo>
                  <a:pt x="3572" y="16"/>
                </a:lnTo>
                <a:lnTo>
                  <a:pt x="3491" y="8"/>
                </a:lnTo>
                <a:lnTo>
                  <a:pt x="3410" y="4"/>
                </a:lnTo>
                <a:lnTo>
                  <a:pt x="3328" y="1"/>
                </a:lnTo>
                <a:lnTo>
                  <a:pt x="3246" y="0"/>
                </a:lnTo>
                <a:lnTo>
                  <a:pt x="3246" y="0"/>
                </a:lnTo>
                <a:lnTo>
                  <a:pt x="3164" y="1"/>
                </a:lnTo>
                <a:lnTo>
                  <a:pt x="3082" y="4"/>
                </a:lnTo>
                <a:lnTo>
                  <a:pt x="3001" y="8"/>
                </a:lnTo>
                <a:lnTo>
                  <a:pt x="2920" y="16"/>
                </a:lnTo>
                <a:lnTo>
                  <a:pt x="2840" y="25"/>
                </a:lnTo>
                <a:lnTo>
                  <a:pt x="2759" y="36"/>
                </a:lnTo>
                <a:lnTo>
                  <a:pt x="2679" y="49"/>
                </a:lnTo>
                <a:lnTo>
                  <a:pt x="2600" y="64"/>
                </a:lnTo>
                <a:lnTo>
                  <a:pt x="2521" y="81"/>
                </a:lnTo>
                <a:lnTo>
                  <a:pt x="2443" y="100"/>
                </a:lnTo>
                <a:lnTo>
                  <a:pt x="2365" y="120"/>
                </a:lnTo>
                <a:lnTo>
                  <a:pt x="2287" y="143"/>
                </a:lnTo>
                <a:lnTo>
                  <a:pt x="2210" y="169"/>
                </a:lnTo>
                <a:lnTo>
                  <a:pt x="2134" y="195"/>
                </a:lnTo>
                <a:lnTo>
                  <a:pt x="2058" y="224"/>
                </a:lnTo>
                <a:lnTo>
                  <a:pt x="1982" y="254"/>
                </a:lnTo>
                <a:lnTo>
                  <a:pt x="1982" y="254"/>
                </a:lnTo>
                <a:lnTo>
                  <a:pt x="1910" y="287"/>
                </a:lnTo>
                <a:lnTo>
                  <a:pt x="1839" y="319"/>
                </a:lnTo>
                <a:lnTo>
                  <a:pt x="1769" y="354"/>
                </a:lnTo>
                <a:lnTo>
                  <a:pt x="1700" y="390"/>
                </a:lnTo>
                <a:lnTo>
                  <a:pt x="1631" y="429"/>
                </a:lnTo>
                <a:lnTo>
                  <a:pt x="1565" y="467"/>
                </a:lnTo>
                <a:lnTo>
                  <a:pt x="1499" y="510"/>
                </a:lnTo>
                <a:lnTo>
                  <a:pt x="1434" y="552"/>
                </a:lnTo>
                <a:lnTo>
                  <a:pt x="1370" y="596"/>
                </a:lnTo>
                <a:lnTo>
                  <a:pt x="1306" y="642"/>
                </a:lnTo>
                <a:lnTo>
                  <a:pt x="1244" y="689"/>
                </a:lnTo>
                <a:lnTo>
                  <a:pt x="1183" y="738"/>
                </a:lnTo>
                <a:lnTo>
                  <a:pt x="1124" y="789"/>
                </a:lnTo>
                <a:lnTo>
                  <a:pt x="1065" y="841"/>
                </a:lnTo>
                <a:lnTo>
                  <a:pt x="1007" y="895"/>
                </a:lnTo>
                <a:lnTo>
                  <a:pt x="950" y="949"/>
                </a:lnTo>
                <a:lnTo>
                  <a:pt x="950" y="949"/>
                </a:lnTo>
                <a:lnTo>
                  <a:pt x="896" y="1006"/>
                </a:lnTo>
                <a:lnTo>
                  <a:pt x="842" y="1064"/>
                </a:lnTo>
                <a:lnTo>
                  <a:pt x="790" y="1123"/>
                </a:lnTo>
                <a:lnTo>
                  <a:pt x="739" y="1182"/>
                </a:lnTo>
                <a:lnTo>
                  <a:pt x="690" y="1243"/>
                </a:lnTo>
                <a:lnTo>
                  <a:pt x="643" y="1305"/>
                </a:lnTo>
                <a:lnTo>
                  <a:pt x="597" y="1369"/>
                </a:lnTo>
                <a:lnTo>
                  <a:pt x="552" y="1432"/>
                </a:lnTo>
                <a:lnTo>
                  <a:pt x="510" y="1497"/>
                </a:lnTo>
                <a:lnTo>
                  <a:pt x="469" y="1564"/>
                </a:lnTo>
                <a:lnTo>
                  <a:pt x="429" y="1630"/>
                </a:lnTo>
                <a:lnTo>
                  <a:pt x="391" y="1699"/>
                </a:lnTo>
                <a:lnTo>
                  <a:pt x="355" y="1767"/>
                </a:lnTo>
                <a:lnTo>
                  <a:pt x="320" y="1837"/>
                </a:lnTo>
                <a:lnTo>
                  <a:pt x="287" y="1908"/>
                </a:lnTo>
                <a:lnTo>
                  <a:pt x="256" y="1980"/>
                </a:lnTo>
                <a:lnTo>
                  <a:pt x="256" y="1980"/>
                </a:lnTo>
                <a:lnTo>
                  <a:pt x="224" y="2056"/>
                </a:lnTo>
                <a:lnTo>
                  <a:pt x="195" y="2131"/>
                </a:lnTo>
                <a:lnTo>
                  <a:pt x="169" y="2208"/>
                </a:lnTo>
                <a:lnTo>
                  <a:pt x="143" y="2285"/>
                </a:lnTo>
                <a:lnTo>
                  <a:pt x="121" y="2362"/>
                </a:lnTo>
                <a:lnTo>
                  <a:pt x="100" y="2441"/>
                </a:lnTo>
                <a:lnTo>
                  <a:pt x="81" y="2519"/>
                </a:lnTo>
                <a:lnTo>
                  <a:pt x="64" y="2597"/>
                </a:lnTo>
                <a:lnTo>
                  <a:pt x="49" y="2677"/>
                </a:lnTo>
                <a:lnTo>
                  <a:pt x="36" y="2756"/>
                </a:lnTo>
                <a:lnTo>
                  <a:pt x="25" y="2837"/>
                </a:lnTo>
                <a:lnTo>
                  <a:pt x="16" y="2918"/>
                </a:lnTo>
                <a:lnTo>
                  <a:pt x="10" y="2998"/>
                </a:lnTo>
                <a:lnTo>
                  <a:pt x="4" y="3079"/>
                </a:lnTo>
                <a:lnTo>
                  <a:pt x="1" y="3161"/>
                </a:lnTo>
                <a:lnTo>
                  <a:pt x="0" y="3243"/>
                </a:lnTo>
                <a:lnTo>
                  <a:pt x="0" y="3243"/>
                </a:lnTo>
                <a:lnTo>
                  <a:pt x="1" y="3325"/>
                </a:lnTo>
                <a:lnTo>
                  <a:pt x="4" y="3407"/>
                </a:lnTo>
                <a:lnTo>
                  <a:pt x="10" y="3488"/>
                </a:lnTo>
                <a:lnTo>
                  <a:pt x="16" y="3568"/>
                </a:lnTo>
                <a:lnTo>
                  <a:pt x="25" y="3649"/>
                </a:lnTo>
                <a:lnTo>
                  <a:pt x="36" y="3730"/>
                </a:lnTo>
                <a:lnTo>
                  <a:pt x="49" y="3809"/>
                </a:lnTo>
                <a:lnTo>
                  <a:pt x="64" y="3889"/>
                </a:lnTo>
                <a:lnTo>
                  <a:pt x="81" y="3967"/>
                </a:lnTo>
                <a:lnTo>
                  <a:pt x="100" y="4045"/>
                </a:lnTo>
                <a:lnTo>
                  <a:pt x="121" y="4124"/>
                </a:lnTo>
                <a:lnTo>
                  <a:pt x="143" y="4201"/>
                </a:lnTo>
                <a:lnTo>
                  <a:pt x="169" y="4278"/>
                </a:lnTo>
                <a:lnTo>
                  <a:pt x="195" y="4355"/>
                </a:lnTo>
                <a:lnTo>
                  <a:pt x="224" y="4430"/>
                </a:lnTo>
                <a:lnTo>
                  <a:pt x="256" y="4506"/>
                </a:lnTo>
                <a:lnTo>
                  <a:pt x="256" y="4506"/>
                </a:lnTo>
                <a:lnTo>
                  <a:pt x="287" y="4578"/>
                </a:lnTo>
                <a:lnTo>
                  <a:pt x="320" y="4649"/>
                </a:lnTo>
                <a:lnTo>
                  <a:pt x="355" y="4719"/>
                </a:lnTo>
                <a:lnTo>
                  <a:pt x="391" y="4787"/>
                </a:lnTo>
                <a:lnTo>
                  <a:pt x="429" y="4856"/>
                </a:lnTo>
                <a:lnTo>
                  <a:pt x="469" y="4922"/>
                </a:lnTo>
                <a:lnTo>
                  <a:pt x="510" y="4989"/>
                </a:lnTo>
                <a:lnTo>
                  <a:pt x="552" y="5054"/>
                </a:lnTo>
                <a:lnTo>
                  <a:pt x="597" y="5119"/>
                </a:lnTo>
                <a:lnTo>
                  <a:pt x="643" y="5181"/>
                </a:lnTo>
                <a:lnTo>
                  <a:pt x="690" y="5243"/>
                </a:lnTo>
                <a:lnTo>
                  <a:pt x="739" y="5304"/>
                </a:lnTo>
                <a:lnTo>
                  <a:pt x="790" y="5363"/>
                </a:lnTo>
                <a:lnTo>
                  <a:pt x="842" y="5422"/>
                </a:lnTo>
                <a:lnTo>
                  <a:pt x="896" y="5480"/>
                </a:lnTo>
                <a:lnTo>
                  <a:pt x="950" y="5537"/>
                </a:lnTo>
                <a:lnTo>
                  <a:pt x="950" y="5537"/>
                </a:lnTo>
                <a:lnTo>
                  <a:pt x="1007" y="5591"/>
                </a:lnTo>
                <a:lnTo>
                  <a:pt x="1065" y="5645"/>
                </a:lnTo>
                <a:lnTo>
                  <a:pt x="1124" y="5697"/>
                </a:lnTo>
                <a:lnTo>
                  <a:pt x="1183" y="5748"/>
                </a:lnTo>
                <a:lnTo>
                  <a:pt x="1244" y="5797"/>
                </a:lnTo>
                <a:lnTo>
                  <a:pt x="1306" y="5844"/>
                </a:lnTo>
                <a:lnTo>
                  <a:pt x="1370" y="5890"/>
                </a:lnTo>
                <a:lnTo>
                  <a:pt x="1434" y="5934"/>
                </a:lnTo>
                <a:lnTo>
                  <a:pt x="1499" y="5976"/>
                </a:lnTo>
                <a:lnTo>
                  <a:pt x="1565" y="6019"/>
                </a:lnTo>
                <a:lnTo>
                  <a:pt x="1631" y="6057"/>
                </a:lnTo>
                <a:lnTo>
                  <a:pt x="1700" y="6096"/>
                </a:lnTo>
                <a:lnTo>
                  <a:pt x="1769" y="6132"/>
                </a:lnTo>
                <a:lnTo>
                  <a:pt x="1839" y="6167"/>
                </a:lnTo>
                <a:lnTo>
                  <a:pt x="1910" y="6199"/>
                </a:lnTo>
                <a:lnTo>
                  <a:pt x="1982" y="6232"/>
                </a:lnTo>
                <a:lnTo>
                  <a:pt x="1982" y="6232"/>
                </a:lnTo>
                <a:lnTo>
                  <a:pt x="2058" y="6262"/>
                </a:lnTo>
                <a:lnTo>
                  <a:pt x="2134" y="6291"/>
                </a:lnTo>
                <a:lnTo>
                  <a:pt x="2210" y="6317"/>
                </a:lnTo>
                <a:lnTo>
                  <a:pt x="2287" y="6343"/>
                </a:lnTo>
                <a:lnTo>
                  <a:pt x="2365" y="6366"/>
                </a:lnTo>
                <a:lnTo>
                  <a:pt x="2443" y="6386"/>
                </a:lnTo>
                <a:lnTo>
                  <a:pt x="2521" y="6405"/>
                </a:lnTo>
                <a:lnTo>
                  <a:pt x="2600" y="6422"/>
                </a:lnTo>
                <a:lnTo>
                  <a:pt x="2679" y="6437"/>
                </a:lnTo>
                <a:lnTo>
                  <a:pt x="2759" y="6450"/>
                </a:lnTo>
                <a:lnTo>
                  <a:pt x="2840" y="6461"/>
                </a:lnTo>
                <a:lnTo>
                  <a:pt x="2920" y="6470"/>
                </a:lnTo>
                <a:lnTo>
                  <a:pt x="3001" y="6478"/>
                </a:lnTo>
                <a:lnTo>
                  <a:pt x="3082" y="6482"/>
                </a:lnTo>
                <a:lnTo>
                  <a:pt x="3164" y="6485"/>
                </a:lnTo>
                <a:lnTo>
                  <a:pt x="3246" y="6486"/>
                </a:lnTo>
                <a:lnTo>
                  <a:pt x="3246" y="6486"/>
                </a:lnTo>
                <a:lnTo>
                  <a:pt x="3328" y="6485"/>
                </a:lnTo>
                <a:lnTo>
                  <a:pt x="3410" y="6482"/>
                </a:lnTo>
                <a:lnTo>
                  <a:pt x="3491" y="6478"/>
                </a:lnTo>
                <a:lnTo>
                  <a:pt x="3572" y="6470"/>
                </a:lnTo>
                <a:lnTo>
                  <a:pt x="3652" y="6461"/>
                </a:lnTo>
                <a:lnTo>
                  <a:pt x="3733" y="6450"/>
                </a:lnTo>
                <a:lnTo>
                  <a:pt x="3813" y="6437"/>
                </a:lnTo>
                <a:lnTo>
                  <a:pt x="3892" y="6422"/>
                </a:lnTo>
                <a:lnTo>
                  <a:pt x="3971" y="6405"/>
                </a:lnTo>
                <a:lnTo>
                  <a:pt x="4049" y="6386"/>
                </a:lnTo>
                <a:lnTo>
                  <a:pt x="4127" y="6366"/>
                </a:lnTo>
                <a:lnTo>
                  <a:pt x="4205" y="6343"/>
                </a:lnTo>
                <a:lnTo>
                  <a:pt x="4282" y="6317"/>
                </a:lnTo>
                <a:lnTo>
                  <a:pt x="4358" y="6291"/>
                </a:lnTo>
                <a:lnTo>
                  <a:pt x="4434" y="6262"/>
                </a:lnTo>
                <a:lnTo>
                  <a:pt x="4510" y="6232"/>
                </a:lnTo>
                <a:lnTo>
                  <a:pt x="4510" y="6232"/>
                </a:lnTo>
                <a:lnTo>
                  <a:pt x="4582" y="6199"/>
                </a:lnTo>
                <a:lnTo>
                  <a:pt x="4653" y="6167"/>
                </a:lnTo>
                <a:lnTo>
                  <a:pt x="4723" y="6132"/>
                </a:lnTo>
                <a:lnTo>
                  <a:pt x="4792" y="6096"/>
                </a:lnTo>
                <a:lnTo>
                  <a:pt x="4861" y="6057"/>
                </a:lnTo>
                <a:lnTo>
                  <a:pt x="4927" y="6019"/>
                </a:lnTo>
                <a:lnTo>
                  <a:pt x="4993" y="5976"/>
                </a:lnTo>
                <a:lnTo>
                  <a:pt x="5058" y="5934"/>
                </a:lnTo>
                <a:lnTo>
                  <a:pt x="5122" y="5890"/>
                </a:lnTo>
                <a:lnTo>
                  <a:pt x="5186" y="5844"/>
                </a:lnTo>
                <a:lnTo>
                  <a:pt x="5248" y="5797"/>
                </a:lnTo>
                <a:lnTo>
                  <a:pt x="5309" y="5748"/>
                </a:lnTo>
                <a:lnTo>
                  <a:pt x="5368" y="5697"/>
                </a:lnTo>
                <a:lnTo>
                  <a:pt x="5427" y="5645"/>
                </a:lnTo>
                <a:lnTo>
                  <a:pt x="5485" y="5591"/>
                </a:lnTo>
                <a:lnTo>
                  <a:pt x="5542" y="5537"/>
                </a:lnTo>
                <a:lnTo>
                  <a:pt x="5542" y="5537"/>
                </a:lnTo>
                <a:lnTo>
                  <a:pt x="5596" y="5480"/>
                </a:lnTo>
                <a:lnTo>
                  <a:pt x="5650" y="5422"/>
                </a:lnTo>
                <a:lnTo>
                  <a:pt x="5702" y="5363"/>
                </a:lnTo>
                <a:lnTo>
                  <a:pt x="5753" y="5304"/>
                </a:lnTo>
                <a:lnTo>
                  <a:pt x="5802" y="5243"/>
                </a:lnTo>
                <a:lnTo>
                  <a:pt x="5849" y="5181"/>
                </a:lnTo>
                <a:lnTo>
                  <a:pt x="5895" y="5119"/>
                </a:lnTo>
                <a:lnTo>
                  <a:pt x="5940" y="5054"/>
                </a:lnTo>
                <a:lnTo>
                  <a:pt x="5982" y="4989"/>
                </a:lnTo>
                <a:lnTo>
                  <a:pt x="6024" y="4922"/>
                </a:lnTo>
                <a:lnTo>
                  <a:pt x="6063" y="4856"/>
                </a:lnTo>
                <a:lnTo>
                  <a:pt x="6101" y="4787"/>
                </a:lnTo>
                <a:lnTo>
                  <a:pt x="6137" y="4719"/>
                </a:lnTo>
                <a:lnTo>
                  <a:pt x="6172" y="4649"/>
                </a:lnTo>
                <a:lnTo>
                  <a:pt x="6205" y="4578"/>
                </a:lnTo>
                <a:lnTo>
                  <a:pt x="6238" y="4506"/>
                </a:lnTo>
                <a:lnTo>
                  <a:pt x="6238" y="4506"/>
                </a:lnTo>
                <a:lnTo>
                  <a:pt x="6268" y="4430"/>
                </a:lnTo>
                <a:lnTo>
                  <a:pt x="6297" y="4355"/>
                </a:lnTo>
                <a:lnTo>
                  <a:pt x="6323" y="4278"/>
                </a:lnTo>
                <a:lnTo>
                  <a:pt x="6349" y="4201"/>
                </a:lnTo>
                <a:lnTo>
                  <a:pt x="6371" y="4124"/>
                </a:lnTo>
                <a:lnTo>
                  <a:pt x="6392" y="4045"/>
                </a:lnTo>
                <a:lnTo>
                  <a:pt x="6411" y="3967"/>
                </a:lnTo>
                <a:lnTo>
                  <a:pt x="6428" y="3889"/>
                </a:lnTo>
                <a:lnTo>
                  <a:pt x="6443" y="3809"/>
                </a:lnTo>
                <a:lnTo>
                  <a:pt x="6456" y="3730"/>
                </a:lnTo>
                <a:lnTo>
                  <a:pt x="6467" y="3649"/>
                </a:lnTo>
                <a:lnTo>
                  <a:pt x="6476" y="3568"/>
                </a:lnTo>
                <a:lnTo>
                  <a:pt x="6484" y="3488"/>
                </a:lnTo>
                <a:lnTo>
                  <a:pt x="6488" y="3407"/>
                </a:lnTo>
                <a:lnTo>
                  <a:pt x="6491" y="3325"/>
                </a:lnTo>
                <a:lnTo>
                  <a:pt x="6492" y="3243"/>
                </a:lnTo>
                <a:lnTo>
                  <a:pt x="6492" y="3243"/>
                </a:lnTo>
                <a:lnTo>
                  <a:pt x="6491" y="3161"/>
                </a:lnTo>
                <a:lnTo>
                  <a:pt x="6488" y="3079"/>
                </a:lnTo>
                <a:lnTo>
                  <a:pt x="6484" y="2998"/>
                </a:lnTo>
                <a:lnTo>
                  <a:pt x="6476" y="2918"/>
                </a:lnTo>
                <a:lnTo>
                  <a:pt x="6467" y="2837"/>
                </a:lnTo>
                <a:lnTo>
                  <a:pt x="6456" y="2756"/>
                </a:lnTo>
                <a:lnTo>
                  <a:pt x="6443" y="2677"/>
                </a:lnTo>
                <a:lnTo>
                  <a:pt x="6428" y="2597"/>
                </a:lnTo>
                <a:lnTo>
                  <a:pt x="6411" y="2519"/>
                </a:lnTo>
                <a:lnTo>
                  <a:pt x="6392" y="2441"/>
                </a:lnTo>
                <a:lnTo>
                  <a:pt x="6371" y="2362"/>
                </a:lnTo>
                <a:lnTo>
                  <a:pt x="6349" y="2285"/>
                </a:lnTo>
                <a:lnTo>
                  <a:pt x="6323" y="2208"/>
                </a:lnTo>
                <a:lnTo>
                  <a:pt x="6297" y="2131"/>
                </a:lnTo>
                <a:lnTo>
                  <a:pt x="6268" y="2056"/>
                </a:lnTo>
                <a:lnTo>
                  <a:pt x="6238" y="1980"/>
                </a:lnTo>
                <a:lnTo>
                  <a:pt x="6238" y="1980"/>
                </a:lnTo>
                <a:close/>
                <a:moveTo>
                  <a:pt x="6248" y="3123"/>
                </a:moveTo>
                <a:lnTo>
                  <a:pt x="4928" y="3123"/>
                </a:lnTo>
                <a:lnTo>
                  <a:pt x="4928" y="3123"/>
                </a:lnTo>
                <a:lnTo>
                  <a:pt x="4926" y="3023"/>
                </a:lnTo>
                <a:lnTo>
                  <a:pt x="4921" y="2924"/>
                </a:lnTo>
                <a:lnTo>
                  <a:pt x="4916" y="2825"/>
                </a:lnTo>
                <a:lnTo>
                  <a:pt x="4909" y="2727"/>
                </a:lnTo>
                <a:lnTo>
                  <a:pt x="4900" y="2630"/>
                </a:lnTo>
                <a:lnTo>
                  <a:pt x="4889" y="2533"/>
                </a:lnTo>
                <a:lnTo>
                  <a:pt x="4879" y="2438"/>
                </a:lnTo>
                <a:lnTo>
                  <a:pt x="4865" y="2343"/>
                </a:lnTo>
                <a:lnTo>
                  <a:pt x="4851" y="2249"/>
                </a:lnTo>
                <a:lnTo>
                  <a:pt x="4834" y="2156"/>
                </a:lnTo>
                <a:lnTo>
                  <a:pt x="4817" y="2065"/>
                </a:lnTo>
                <a:lnTo>
                  <a:pt x="4798" y="1974"/>
                </a:lnTo>
                <a:lnTo>
                  <a:pt x="4779" y="1885"/>
                </a:lnTo>
                <a:lnTo>
                  <a:pt x="4757" y="1797"/>
                </a:lnTo>
                <a:lnTo>
                  <a:pt x="4734" y="1711"/>
                </a:lnTo>
                <a:lnTo>
                  <a:pt x="4709" y="1625"/>
                </a:lnTo>
                <a:lnTo>
                  <a:pt x="4709" y="1625"/>
                </a:lnTo>
                <a:lnTo>
                  <a:pt x="4767" y="1609"/>
                </a:lnTo>
                <a:lnTo>
                  <a:pt x="4824" y="1594"/>
                </a:lnTo>
                <a:lnTo>
                  <a:pt x="4881" y="1577"/>
                </a:lnTo>
                <a:lnTo>
                  <a:pt x="4937" y="1560"/>
                </a:lnTo>
                <a:lnTo>
                  <a:pt x="4992" y="1543"/>
                </a:lnTo>
                <a:lnTo>
                  <a:pt x="5046" y="1525"/>
                </a:lnTo>
                <a:lnTo>
                  <a:pt x="5099" y="1506"/>
                </a:lnTo>
                <a:lnTo>
                  <a:pt x="5152" y="1487"/>
                </a:lnTo>
                <a:lnTo>
                  <a:pt x="5204" y="1467"/>
                </a:lnTo>
                <a:lnTo>
                  <a:pt x="5256" y="1447"/>
                </a:lnTo>
                <a:lnTo>
                  <a:pt x="5307" y="1426"/>
                </a:lnTo>
                <a:lnTo>
                  <a:pt x="5356" y="1405"/>
                </a:lnTo>
                <a:lnTo>
                  <a:pt x="5404" y="1383"/>
                </a:lnTo>
                <a:lnTo>
                  <a:pt x="5453" y="1360"/>
                </a:lnTo>
                <a:lnTo>
                  <a:pt x="5500" y="1337"/>
                </a:lnTo>
                <a:lnTo>
                  <a:pt x="5547" y="1313"/>
                </a:lnTo>
                <a:lnTo>
                  <a:pt x="5547" y="1313"/>
                </a:lnTo>
                <a:lnTo>
                  <a:pt x="5585" y="1360"/>
                </a:lnTo>
                <a:lnTo>
                  <a:pt x="5623" y="1408"/>
                </a:lnTo>
                <a:lnTo>
                  <a:pt x="5659" y="1456"/>
                </a:lnTo>
                <a:lnTo>
                  <a:pt x="5695" y="1505"/>
                </a:lnTo>
                <a:lnTo>
                  <a:pt x="5730" y="1554"/>
                </a:lnTo>
                <a:lnTo>
                  <a:pt x="5764" y="1605"/>
                </a:lnTo>
                <a:lnTo>
                  <a:pt x="5796" y="1656"/>
                </a:lnTo>
                <a:lnTo>
                  <a:pt x="5828" y="1708"/>
                </a:lnTo>
                <a:lnTo>
                  <a:pt x="5858" y="1760"/>
                </a:lnTo>
                <a:lnTo>
                  <a:pt x="5888" y="1813"/>
                </a:lnTo>
                <a:lnTo>
                  <a:pt x="5917" y="1867"/>
                </a:lnTo>
                <a:lnTo>
                  <a:pt x="5945" y="1921"/>
                </a:lnTo>
                <a:lnTo>
                  <a:pt x="5970" y="1977"/>
                </a:lnTo>
                <a:lnTo>
                  <a:pt x="5995" y="2032"/>
                </a:lnTo>
                <a:lnTo>
                  <a:pt x="6021" y="2089"/>
                </a:lnTo>
                <a:lnTo>
                  <a:pt x="6043" y="2146"/>
                </a:lnTo>
                <a:lnTo>
                  <a:pt x="6065" y="2203"/>
                </a:lnTo>
                <a:lnTo>
                  <a:pt x="6086" y="2261"/>
                </a:lnTo>
                <a:lnTo>
                  <a:pt x="6105" y="2319"/>
                </a:lnTo>
                <a:lnTo>
                  <a:pt x="6124" y="2378"/>
                </a:lnTo>
                <a:lnTo>
                  <a:pt x="6141" y="2438"/>
                </a:lnTo>
                <a:lnTo>
                  <a:pt x="6157" y="2499"/>
                </a:lnTo>
                <a:lnTo>
                  <a:pt x="6172" y="2559"/>
                </a:lnTo>
                <a:lnTo>
                  <a:pt x="6186" y="2619"/>
                </a:lnTo>
                <a:lnTo>
                  <a:pt x="6198" y="2680"/>
                </a:lnTo>
                <a:lnTo>
                  <a:pt x="6210" y="2743"/>
                </a:lnTo>
                <a:lnTo>
                  <a:pt x="6219" y="2804"/>
                </a:lnTo>
                <a:lnTo>
                  <a:pt x="6228" y="2868"/>
                </a:lnTo>
                <a:lnTo>
                  <a:pt x="6235" y="2931"/>
                </a:lnTo>
                <a:lnTo>
                  <a:pt x="6241" y="2995"/>
                </a:lnTo>
                <a:lnTo>
                  <a:pt x="6245" y="3059"/>
                </a:lnTo>
                <a:lnTo>
                  <a:pt x="6248" y="3123"/>
                </a:lnTo>
                <a:lnTo>
                  <a:pt x="6248" y="3123"/>
                </a:lnTo>
                <a:close/>
                <a:moveTo>
                  <a:pt x="3367" y="252"/>
                </a:moveTo>
                <a:lnTo>
                  <a:pt x="3367" y="252"/>
                </a:lnTo>
                <a:lnTo>
                  <a:pt x="3397" y="258"/>
                </a:lnTo>
                <a:lnTo>
                  <a:pt x="3427" y="265"/>
                </a:lnTo>
                <a:lnTo>
                  <a:pt x="3457" y="273"/>
                </a:lnTo>
                <a:lnTo>
                  <a:pt x="3487" y="284"/>
                </a:lnTo>
                <a:lnTo>
                  <a:pt x="3517" y="295"/>
                </a:lnTo>
                <a:lnTo>
                  <a:pt x="3547" y="308"/>
                </a:lnTo>
                <a:lnTo>
                  <a:pt x="3578" y="323"/>
                </a:lnTo>
                <a:lnTo>
                  <a:pt x="3607" y="339"/>
                </a:lnTo>
                <a:lnTo>
                  <a:pt x="3635" y="355"/>
                </a:lnTo>
                <a:lnTo>
                  <a:pt x="3664" y="373"/>
                </a:lnTo>
                <a:lnTo>
                  <a:pt x="3693" y="393"/>
                </a:lnTo>
                <a:lnTo>
                  <a:pt x="3722" y="413"/>
                </a:lnTo>
                <a:lnTo>
                  <a:pt x="3751" y="435"/>
                </a:lnTo>
                <a:lnTo>
                  <a:pt x="3779" y="459"/>
                </a:lnTo>
                <a:lnTo>
                  <a:pt x="3808" y="483"/>
                </a:lnTo>
                <a:lnTo>
                  <a:pt x="3836" y="510"/>
                </a:lnTo>
                <a:lnTo>
                  <a:pt x="3863" y="536"/>
                </a:lnTo>
                <a:lnTo>
                  <a:pt x="3890" y="565"/>
                </a:lnTo>
                <a:lnTo>
                  <a:pt x="3918" y="594"/>
                </a:lnTo>
                <a:lnTo>
                  <a:pt x="3944" y="625"/>
                </a:lnTo>
                <a:lnTo>
                  <a:pt x="3971" y="657"/>
                </a:lnTo>
                <a:lnTo>
                  <a:pt x="3997" y="690"/>
                </a:lnTo>
                <a:lnTo>
                  <a:pt x="4024" y="725"/>
                </a:lnTo>
                <a:lnTo>
                  <a:pt x="4049" y="760"/>
                </a:lnTo>
                <a:lnTo>
                  <a:pt x="4074" y="797"/>
                </a:lnTo>
                <a:lnTo>
                  <a:pt x="4100" y="836"/>
                </a:lnTo>
                <a:lnTo>
                  <a:pt x="4125" y="875"/>
                </a:lnTo>
                <a:lnTo>
                  <a:pt x="4149" y="916"/>
                </a:lnTo>
                <a:lnTo>
                  <a:pt x="4173" y="957"/>
                </a:lnTo>
                <a:lnTo>
                  <a:pt x="4196" y="1000"/>
                </a:lnTo>
                <a:lnTo>
                  <a:pt x="4220" y="1043"/>
                </a:lnTo>
                <a:lnTo>
                  <a:pt x="4243" y="1089"/>
                </a:lnTo>
                <a:lnTo>
                  <a:pt x="4243" y="1089"/>
                </a:lnTo>
                <a:lnTo>
                  <a:pt x="4264" y="1131"/>
                </a:lnTo>
                <a:lnTo>
                  <a:pt x="4284" y="1175"/>
                </a:lnTo>
                <a:lnTo>
                  <a:pt x="4324" y="1264"/>
                </a:lnTo>
                <a:lnTo>
                  <a:pt x="4361" y="1355"/>
                </a:lnTo>
                <a:lnTo>
                  <a:pt x="4398" y="1449"/>
                </a:lnTo>
                <a:lnTo>
                  <a:pt x="4398" y="1449"/>
                </a:lnTo>
                <a:lnTo>
                  <a:pt x="4336" y="1461"/>
                </a:lnTo>
                <a:lnTo>
                  <a:pt x="4275" y="1472"/>
                </a:lnTo>
                <a:lnTo>
                  <a:pt x="4212" y="1483"/>
                </a:lnTo>
                <a:lnTo>
                  <a:pt x="4149" y="1493"/>
                </a:lnTo>
                <a:lnTo>
                  <a:pt x="4086" y="1502"/>
                </a:lnTo>
                <a:lnTo>
                  <a:pt x="4023" y="1511"/>
                </a:lnTo>
                <a:lnTo>
                  <a:pt x="3959" y="1519"/>
                </a:lnTo>
                <a:lnTo>
                  <a:pt x="3894" y="1526"/>
                </a:lnTo>
                <a:lnTo>
                  <a:pt x="3830" y="1534"/>
                </a:lnTo>
                <a:lnTo>
                  <a:pt x="3764" y="1540"/>
                </a:lnTo>
                <a:lnTo>
                  <a:pt x="3698" y="1544"/>
                </a:lnTo>
                <a:lnTo>
                  <a:pt x="3633" y="1549"/>
                </a:lnTo>
                <a:lnTo>
                  <a:pt x="3567" y="1553"/>
                </a:lnTo>
                <a:lnTo>
                  <a:pt x="3500" y="1555"/>
                </a:lnTo>
                <a:lnTo>
                  <a:pt x="3433" y="1558"/>
                </a:lnTo>
                <a:lnTo>
                  <a:pt x="3367" y="1560"/>
                </a:lnTo>
                <a:lnTo>
                  <a:pt x="3367" y="252"/>
                </a:lnTo>
                <a:close/>
                <a:moveTo>
                  <a:pt x="3125" y="252"/>
                </a:moveTo>
                <a:lnTo>
                  <a:pt x="3125" y="1560"/>
                </a:lnTo>
                <a:lnTo>
                  <a:pt x="3125" y="1560"/>
                </a:lnTo>
                <a:lnTo>
                  <a:pt x="3059" y="1558"/>
                </a:lnTo>
                <a:lnTo>
                  <a:pt x="2992" y="1555"/>
                </a:lnTo>
                <a:lnTo>
                  <a:pt x="2925" y="1553"/>
                </a:lnTo>
                <a:lnTo>
                  <a:pt x="2859" y="1549"/>
                </a:lnTo>
                <a:lnTo>
                  <a:pt x="2794" y="1544"/>
                </a:lnTo>
                <a:lnTo>
                  <a:pt x="2728" y="1540"/>
                </a:lnTo>
                <a:lnTo>
                  <a:pt x="2662" y="1534"/>
                </a:lnTo>
                <a:lnTo>
                  <a:pt x="2597" y="1526"/>
                </a:lnTo>
                <a:lnTo>
                  <a:pt x="2533" y="1519"/>
                </a:lnTo>
                <a:lnTo>
                  <a:pt x="2469" y="1511"/>
                </a:lnTo>
                <a:lnTo>
                  <a:pt x="2406" y="1502"/>
                </a:lnTo>
                <a:lnTo>
                  <a:pt x="2343" y="1493"/>
                </a:lnTo>
                <a:lnTo>
                  <a:pt x="2280" y="1483"/>
                </a:lnTo>
                <a:lnTo>
                  <a:pt x="2217" y="1472"/>
                </a:lnTo>
                <a:lnTo>
                  <a:pt x="2156" y="1461"/>
                </a:lnTo>
                <a:lnTo>
                  <a:pt x="2094" y="1449"/>
                </a:lnTo>
                <a:lnTo>
                  <a:pt x="2094" y="1449"/>
                </a:lnTo>
                <a:lnTo>
                  <a:pt x="2131" y="1355"/>
                </a:lnTo>
                <a:lnTo>
                  <a:pt x="2168" y="1264"/>
                </a:lnTo>
                <a:lnTo>
                  <a:pt x="2208" y="1175"/>
                </a:lnTo>
                <a:lnTo>
                  <a:pt x="2228" y="1131"/>
                </a:lnTo>
                <a:lnTo>
                  <a:pt x="2249" y="1089"/>
                </a:lnTo>
                <a:lnTo>
                  <a:pt x="2249" y="1089"/>
                </a:lnTo>
                <a:lnTo>
                  <a:pt x="2272" y="1043"/>
                </a:lnTo>
                <a:lnTo>
                  <a:pt x="2295" y="1000"/>
                </a:lnTo>
                <a:lnTo>
                  <a:pt x="2319" y="957"/>
                </a:lnTo>
                <a:lnTo>
                  <a:pt x="2343" y="916"/>
                </a:lnTo>
                <a:lnTo>
                  <a:pt x="2367" y="875"/>
                </a:lnTo>
                <a:lnTo>
                  <a:pt x="2392" y="836"/>
                </a:lnTo>
                <a:lnTo>
                  <a:pt x="2418" y="797"/>
                </a:lnTo>
                <a:lnTo>
                  <a:pt x="2443" y="760"/>
                </a:lnTo>
                <a:lnTo>
                  <a:pt x="2468" y="725"/>
                </a:lnTo>
                <a:lnTo>
                  <a:pt x="2495" y="690"/>
                </a:lnTo>
                <a:lnTo>
                  <a:pt x="2521" y="658"/>
                </a:lnTo>
                <a:lnTo>
                  <a:pt x="2548" y="625"/>
                </a:lnTo>
                <a:lnTo>
                  <a:pt x="2574" y="594"/>
                </a:lnTo>
                <a:lnTo>
                  <a:pt x="2602" y="565"/>
                </a:lnTo>
                <a:lnTo>
                  <a:pt x="2629" y="536"/>
                </a:lnTo>
                <a:lnTo>
                  <a:pt x="2656" y="510"/>
                </a:lnTo>
                <a:lnTo>
                  <a:pt x="2684" y="483"/>
                </a:lnTo>
                <a:lnTo>
                  <a:pt x="2713" y="459"/>
                </a:lnTo>
                <a:lnTo>
                  <a:pt x="2741" y="436"/>
                </a:lnTo>
                <a:lnTo>
                  <a:pt x="2770" y="413"/>
                </a:lnTo>
                <a:lnTo>
                  <a:pt x="2799" y="393"/>
                </a:lnTo>
                <a:lnTo>
                  <a:pt x="2828" y="373"/>
                </a:lnTo>
                <a:lnTo>
                  <a:pt x="2857" y="355"/>
                </a:lnTo>
                <a:lnTo>
                  <a:pt x="2885" y="339"/>
                </a:lnTo>
                <a:lnTo>
                  <a:pt x="2914" y="323"/>
                </a:lnTo>
                <a:lnTo>
                  <a:pt x="2945" y="308"/>
                </a:lnTo>
                <a:lnTo>
                  <a:pt x="2975" y="295"/>
                </a:lnTo>
                <a:lnTo>
                  <a:pt x="3005" y="284"/>
                </a:lnTo>
                <a:lnTo>
                  <a:pt x="3035" y="273"/>
                </a:lnTo>
                <a:lnTo>
                  <a:pt x="3065" y="265"/>
                </a:lnTo>
                <a:lnTo>
                  <a:pt x="3095" y="258"/>
                </a:lnTo>
                <a:lnTo>
                  <a:pt x="3125" y="252"/>
                </a:lnTo>
                <a:lnTo>
                  <a:pt x="3125" y="252"/>
                </a:lnTo>
                <a:close/>
                <a:moveTo>
                  <a:pt x="2019" y="1679"/>
                </a:moveTo>
                <a:lnTo>
                  <a:pt x="2019" y="1679"/>
                </a:lnTo>
                <a:lnTo>
                  <a:pt x="2085" y="1693"/>
                </a:lnTo>
                <a:lnTo>
                  <a:pt x="2151" y="1706"/>
                </a:lnTo>
                <a:lnTo>
                  <a:pt x="2219" y="1718"/>
                </a:lnTo>
                <a:lnTo>
                  <a:pt x="2286" y="1729"/>
                </a:lnTo>
                <a:lnTo>
                  <a:pt x="2354" y="1738"/>
                </a:lnTo>
                <a:lnTo>
                  <a:pt x="2422" y="1748"/>
                </a:lnTo>
                <a:lnTo>
                  <a:pt x="2491" y="1758"/>
                </a:lnTo>
                <a:lnTo>
                  <a:pt x="2560" y="1765"/>
                </a:lnTo>
                <a:lnTo>
                  <a:pt x="2630" y="1772"/>
                </a:lnTo>
                <a:lnTo>
                  <a:pt x="2700" y="1779"/>
                </a:lnTo>
                <a:lnTo>
                  <a:pt x="2770" y="1784"/>
                </a:lnTo>
                <a:lnTo>
                  <a:pt x="2840" y="1789"/>
                </a:lnTo>
                <a:lnTo>
                  <a:pt x="2911" y="1794"/>
                </a:lnTo>
                <a:lnTo>
                  <a:pt x="2982" y="1796"/>
                </a:lnTo>
                <a:lnTo>
                  <a:pt x="3053" y="1799"/>
                </a:lnTo>
                <a:lnTo>
                  <a:pt x="3125" y="1801"/>
                </a:lnTo>
                <a:lnTo>
                  <a:pt x="3125" y="3123"/>
                </a:lnTo>
                <a:lnTo>
                  <a:pt x="1805" y="3123"/>
                </a:lnTo>
                <a:lnTo>
                  <a:pt x="1805" y="3123"/>
                </a:lnTo>
                <a:lnTo>
                  <a:pt x="1807" y="3026"/>
                </a:lnTo>
                <a:lnTo>
                  <a:pt x="1811" y="2930"/>
                </a:lnTo>
                <a:lnTo>
                  <a:pt x="1817" y="2835"/>
                </a:lnTo>
                <a:lnTo>
                  <a:pt x="1824" y="2741"/>
                </a:lnTo>
                <a:lnTo>
                  <a:pt x="1833" y="2647"/>
                </a:lnTo>
                <a:lnTo>
                  <a:pt x="1842" y="2553"/>
                </a:lnTo>
                <a:lnTo>
                  <a:pt x="1853" y="2461"/>
                </a:lnTo>
                <a:lnTo>
                  <a:pt x="1867" y="2370"/>
                </a:lnTo>
                <a:lnTo>
                  <a:pt x="1881" y="2279"/>
                </a:lnTo>
                <a:lnTo>
                  <a:pt x="1897" y="2190"/>
                </a:lnTo>
                <a:lnTo>
                  <a:pt x="1914" y="2102"/>
                </a:lnTo>
                <a:lnTo>
                  <a:pt x="1932" y="2015"/>
                </a:lnTo>
                <a:lnTo>
                  <a:pt x="1951" y="1930"/>
                </a:lnTo>
                <a:lnTo>
                  <a:pt x="1971" y="1844"/>
                </a:lnTo>
                <a:lnTo>
                  <a:pt x="1994" y="1761"/>
                </a:lnTo>
                <a:lnTo>
                  <a:pt x="2019" y="1679"/>
                </a:lnTo>
                <a:lnTo>
                  <a:pt x="2019" y="1679"/>
                </a:lnTo>
                <a:close/>
                <a:moveTo>
                  <a:pt x="3125" y="3363"/>
                </a:moveTo>
                <a:lnTo>
                  <a:pt x="3125" y="4685"/>
                </a:lnTo>
                <a:lnTo>
                  <a:pt x="3125" y="4685"/>
                </a:lnTo>
                <a:lnTo>
                  <a:pt x="3053" y="4686"/>
                </a:lnTo>
                <a:lnTo>
                  <a:pt x="2982" y="4689"/>
                </a:lnTo>
                <a:lnTo>
                  <a:pt x="2911" y="4692"/>
                </a:lnTo>
                <a:lnTo>
                  <a:pt x="2840" y="4697"/>
                </a:lnTo>
                <a:lnTo>
                  <a:pt x="2770" y="4702"/>
                </a:lnTo>
                <a:lnTo>
                  <a:pt x="2700" y="4707"/>
                </a:lnTo>
                <a:lnTo>
                  <a:pt x="2630" y="4714"/>
                </a:lnTo>
                <a:lnTo>
                  <a:pt x="2560" y="4721"/>
                </a:lnTo>
                <a:lnTo>
                  <a:pt x="2491" y="4728"/>
                </a:lnTo>
                <a:lnTo>
                  <a:pt x="2422" y="4738"/>
                </a:lnTo>
                <a:lnTo>
                  <a:pt x="2354" y="4746"/>
                </a:lnTo>
                <a:lnTo>
                  <a:pt x="2286" y="4757"/>
                </a:lnTo>
                <a:lnTo>
                  <a:pt x="2219" y="4768"/>
                </a:lnTo>
                <a:lnTo>
                  <a:pt x="2151" y="4780"/>
                </a:lnTo>
                <a:lnTo>
                  <a:pt x="2085" y="4793"/>
                </a:lnTo>
                <a:lnTo>
                  <a:pt x="2019" y="4807"/>
                </a:lnTo>
                <a:lnTo>
                  <a:pt x="2019" y="4807"/>
                </a:lnTo>
                <a:lnTo>
                  <a:pt x="1994" y="4725"/>
                </a:lnTo>
                <a:lnTo>
                  <a:pt x="1971" y="4642"/>
                </a:lnTo>
                <a:lnTo>
                  <a:pt x="1951" y="4556"/>
                </a:lnTo>
                <a:lnTo>
                  <a:pt x="1932" y="4471"/>
                </a:lnTo>
                <a:lnTo>
                  <a:pt x="1914" y="4384"/>
                </a:lnTo>
                <a:lnTo>
                  <a:pt x="1897" y="4296"/>
                </a:lnTo>
                <a:lnTo>
                  <a:pt x="1881" y="4207"/>
                </a:lnTo>
                <a:lnTo>
                  <a:pt x="1867" y="4116"/>
                </a:lnTo>
                <a:lnTo>
                  <a:pt x="1853" y="4025"/>
                </a:lnTo>
                <a:lnTo>
                  <a:pt x="1842" y="3933"/>
                </a:lnTo>
                <a:lnTo>
                  <a:pt x="1833" y="3839"/>
                </a:lnTo>
                <a:lnTo>
                  <a:pt x="1824" y="3745"/>
                </a:lnTo>
                <a:lnTo>
                  <a:pt x="1817" y="3651"/>
                </a:lnTo>
                <a:lnTo>
                  <a:pt x="1811" y="3556"/>
                </a:lnTo>
                <a:lnTo>
                  <a:pt x="1807" y="3460"/>
                </a:lnTo>
                <a:lnTo>
                  <a:pt x="1805" y="3363"/>
                </a:lnTo>
                <a:lnTo>
                  <a:pt x="3125" y="3363"/>
                </a:lnTo>
                <a:close/>
                <a:moveTo>
                  <a:pt x="3125" y="4926"/>
                </a:moveTo>
                <a:lnTo>
                  <a:pt x="3125" y="6234"/>
                </a:lnTo>
                <a:lnTo>
                  <a:pt x="3125" y="6234"/>
                </a:lnTo>
                <a:lnTo>
                  <a:pt x="3095" y="6228"/>
                </a:lnTo>
                <a:lnTo>
                  <a:pt x="3065" y="6221"/>
                </a:lnTo>
                <a:lnTo>
                  <a:pt x="3035" y="6213"/>
                </a:lnTo>
                <a:lnTo>
                  <a:pt x="3005" y="6202"/>
                </a:lnTo>
                <a:lnTo>
                  <a:pt x="2975" y="6191"/>
                </a:lnTo>
                <a:lnTo>
                  <a:pt x="2945" y="6178"/>
                </a:lnTo>
                <a:lnTo>
                  <a:pt x="2914" y="6163"/>
                </a:lnTo>
                <a:lnTo>
                  <a:pt x="2885" y="6147"/>
                </a:lnTo>
                <a:lnTo>
                  <a:pt x="2857" y="6131"/>
                </a:lnTo>
                <a:lnTo>
                  <a:pt x="2828" y="6113"/>
                </a:lnTo>
                <a:lnTo>
                  <a:pt x="2799" y="6093"/>
                </a:lnTo>
                <a:lnTo>
                  <a:pt x="2770" y="6073"/>
                </a:lnTo>
                <a:lnTo>
                  <a:pt x="2741" y="6050"/>
                </a:lnTo>
                <a:lnTo>
                  <a:pt x="2713" y="6027"/>
                </a:lnTo>
                <a:lnTo>
                  <a:pt x="2684" y="6003"/>
                </a:lnTo>
                <a:lnTo>
                  <a:pt x="2656" y="5976"/>
                </a:lnTo>
                <a:lnTo>
                  <a:pt x="2629" y="5950"/>
                </a:lnTo>
                <a:lnTo>
                  <a:pt x="2602" y="5921"/>
                </a:lnTo>
                <a:lnTo>
                  <a:pt x="2574" y="5892"/>
                </a:lnTo>
                <a:lnTo>
                  <a:pt x="2548" y="5861"/>
                </a:lnTo>
                <a:lnTo>
                  <a:pt x="2521" y="5829"/>
                </a:lnTo>
                <a:lnTo>
                  <a:pt x="2495" y="5796"/>
                </a:lnTo>
                <a:lnTo>
                  <a:pt x="2468" y="5761"/>
                </a:lnTo>
                <a:lnTo>
                  <a:pt x="2443" y="5726"/>
                </a:lnTo>
                <a:lnTo>
                  <a:pt x="2418" y="5689"/>
                </a:lnTo>
                <a:lnTo>
                  <a:pt x="2392" y="5650"/>
                </a:lnTo>
                <a:lnTo>
                  <a:pt x="2367" y="5611"/>
                </a:lnTo>
                <a:lnTo>
                  <a:pt x="2343" y="5570"/>
                </a:lnTo>
                <a:lnTo>
                  <a:pt x="2319" y="5529"/>
                </a:lnTo>
                <a:lnTo>
                  <a:pt x="2295" y="5486"/>
                </a:lnTo>
                <a:lnTo>
                  <a:pt x="2272" y="5443"/>
                </a:lnTo>
                <a:lnTo>
                  <a:pt x="2249" y="5397"/>
                </a:lnTo>
                <a:lnTo>
                  <a:pt x="2249" y="5397"/>
                </a:lnTo>
                <a:lnTo>
                  <a:pt x="2228" y="5355"/>
                </a:lnTo>
                <a:lnTo>
                  <a:pt x="2208" y="5311"/>
                </a:lnTo>
                <a:lnTo>
                  <a:pt x="2168" y="5222"/>
                </a:lnTo>
                <a:lnTo>
                  <a:pt x="2131" y="5131"/>
                </a:lnTo>
                <a:lnTo>
                  <a:pt x="2094" y="5037"/>
                </a:lnTo>
                <a:lnTo>
                  <a:pt x="2094" y="5037"/>
                </a:lnTo>
                <a:lnTo>
                  <a:pt x="2156" y="5025"/>
                </a:lnTo>
                <a:lnTo>
                  <a:pt x="2217" y="5014"/>
                </a:lnTo>
                <a:lnTo>
                  <a:pt x="2280" y="5003"/>
                </a:lnTo>
                <a:lnTo>
                  <a:pt x="2343" y="4993"/>
                </a:lnTo>
                <a:lnTo>
                  <a:pt x="2406" y="4984"/>
                </a:lnTo>
                <a:lnTo>
                  <a:pt x="2469" y="4975"/>
                </a:lnTo>
                <a:lnTo>
                  <a:pt x="2533" y="4967"/>
                </a:lnTo>
                <a:lnTo>
                  <a:pt x="2598" y="4960"/>
                </a:lnTo>
                <a:lnTo>
                  <a:pt x="2662" y="4952"/>
                </a:lnTo>
                <a:lnTo>
                  <a:pt x="2728" y="4946"/>
                </a:lnTo>
                <a:lnTo>
                  <a:pt x="2794" y="4942"/>
                </a:lnTo>
                <a:lnTo>
                  <a:pt x="2859" y="4937"/>
                </a:lnTo>
                <a:lnTo>
                  <a:pt x="2925" y="4933"/>
                </a:lnTo>
                <a:lnTo>
                  <a:pt x="2992" y="4930"/>
                </a:lnTo>
                <a:lnTo>
                  <a:pt x="3059" y="4927"/>
                </a:lnTo>
                <a:lnTo>
                  <a:pt x="3125" y="4926"/>
                </a:lnTo>
                <a:lnTo>
                  <a:pt x="3125" y="4926"/>
                </a:lnTo>
                <a:close/>
                <a:moveTo>
                  <a:pt x="3367" y="6234"/>
                </a:moveTo>
                <a:lnTo>
                  <a:pt x="3367" y="4926"/>
                </a:lnTo>
                <a:lnTo>
                  <a:pt x="3367" y="4926"/>
                </a:lnTo>
                <a:lnTo>
                  <a:pt x="3433" y="4927"/>
                </a:lnTo>
                <a:lnTo>
                  <a:pt x="3500" y="4930"/>
                </a:lnTo>
                <a:lnTo>
                  <a:pt x="3567" y="4933"/>
                </a:lnTo>
                <a:lnTo>
                  <a:pt x="3633" y="4937"/>
                </a:lnTo>
                <a:lnTo>
                  <a:pt x="3698" y="4942"/>
                </a:lnTo>
                <a:lnTo>
                  <a:pt x="3764" y="4946"/>
                </a:lnTo>
                <a:lnTo>
                  <a:pt x="3830" y="4952"/>
                </a:lnTo>
                <a:lnTo>
                  <a:pt x="3895" y="4960"/>
                </a:lnTo>
                <a:lnTo>
                  <a:pt x="3959" y="4967"/>
                </a:lnTo>
                <a:lnTo>
                  <a:pt x="4023" y="4975"/>
                </a:lnTo>
                <a:lnTo>
                  <a:pt x="4086" y="4984"/>
                </a:lnTo>
                <a:lnTo>
                  <a:pt x="4149" y="4993"/>
                </a:lnTo>
                <a:lnTo>
                  <a:pt x="4212" y="5003"/>
                </a:lnTo>
                <a:lnTo>
                  <a:pt x="4275" y="5014"/>
                </a:lnTo>
                <a:lnTo>
                  <a:pt x="4336" y="5025"/>
                </a:lnTo>
                <a:lnTo>
                  <a:pt x="4398" y="5037"/>
                </a:lnTo>
                <a:lnTo>
                  <a:pt x="4398" y="5037"/>
                </a:lnTo>
                <a:lnTo>
                  <a:pt x="4361" y="5131"/>
                </a:lnTo>
                <a:lnTo>
                  <a:pt x="4324" y="5222"/>
                </a:lnTo>
                <a:lnTo>
                  <a:pt x="4284" y="5311"/>
                </a:lnTo>
                <a:lnTo>
                  <a:pt x="4264" y="5355"/>
                </a:lnTo>
                <a:lnTo>
                  <a:pt x="4243" y="5397"/>
                </a:lnTo>
                <a:lnTo>
                  <a:pt x="4243" y="5397"/>
                </a:lnTo>
                <a:lnTo>
                  <a:pt x="4220" y="5443"/>
                </a:lnTo>
                <a:lnTo>
                  <a:pt x="4196" y="5486"/>
                </a:lnTo>
                <a:lnTo>
                  <a:pt x="4173" y="5529"/>
                </a:lnTo>
                <a:lnTo>
                  <a:pt x="4149" y="5570"/>
                </a:lnTo>
                <a:lnTo>
                  <a:pt x="4125" y="5611"/>
                </a:lnTo>
                <a:lnTo>
                  <a:pt x="4100" y="5650"/>
                </a:lnTo>
                <a:lnTo>
                  <a:pt x="4074" y="5689"/>
                </a:lnTo>
                <a:lnTo>
                  <a:pt x="4049" y="5726"/>
                </a:lnTo>
                <a:lnTo>
                  <a:pt x="4024" y="5761"/>
                </a:lnTo>
                <a:lnTo>
                  <a:pt x="3997" y="5796"/>
                </a:lnTo>
                <a:lnTo>
                  <a:pt x="3971" y="5829"/>
                </a:lnTo>
                <a:lnTo>
                  <a:pt x="3944" y="5861"/>
                </a:lnTo>
                <a:lnTo>
                  <a:pt x="3918" y="5892"/>
                </a:lnTo>
                <a:lnTo>
                  <a:pt x="3890" y="5921"/>
                </a:lnTo>
                <a:lnTo>
                  <a:pt x="3863" y="5950"/>
                </a:lnTo>
                <a:lnTo>
                  <a:pt x="3836" y="5976"/>
                </a:lnTo>
                <a:lnTo>
                  <a:pt x="3808" y="6003"/>
                </a:lnTo>
                <a:lnTo>
                  <a:pt x="3779" y="6027"/>
                </a:lnTo>
                <a:lnTo>
                  <a:pt x="3751" y="6051"/>
                </a:lnTo>
                <a:lnTo>
                  <a:pt x="3722" y="6073"/>
                </a:lnTo>
                <a:lnTo>
                  <a:pt x="3693" y="6093"/>
                </a:lnTo>
                <a:lnTo>
                  <a:pt x="3664" y="6113"/>
                </a:lnTo>
                <a:lnTo>
                  <a:pt x="3635" y="6131"/>
                </a:lnTo>
                <a:lnTo>
                  <a:pt x="3607" y="6147"/>
                </a:lnTo>
                <a:lnTo>
                  <a:pt x="3578" y="6163"/>
                </a:lnTo>
                <a:lnTo>
                  <a:pt x="3547" y="6178"/>
                </a:lnTo>
                <a:lnTo>
                  <a:pt x="3517" y="6191"/>
                </a:lnTo>
                <a:lnTo>
                  <a:pt x="3487" y="6202"/>
                </a:lnTo>
                <a:lnTo>
                  <a:pt x="3457" y="6213"/>
                </a:lnTo>
                <a:lnTo>
                  <a:pt x="3427" y="6221"/>
                </a:lnTo>
                <a:lnTo>
                  <a:pt x="3397" y="6228"/>
                </a:lnTo>
                <a:lnTo>
                  <a:pt x="3367" y="6234"/>
                </a:lnTo>
                <a:lnTo>
                  <a:pt x="3367" y="6234"/>
                </a:lnTo>
                <a:close/>
                <a:moveTo>
                  <a:pt x="4473" y="4807"/>
                </a:moveTo>
                <a:lnTo>
                  <a:pt x="4473" y="4807"/>
                </a:lnTo>
                <a:lnTo>
                  <a:pt x="4407" y="4793"/>
                </a:lnTo>
                <a:lnTo>
                  <a:pt x="4341" y="4780"/>
                </a:lnTo>
                <a:lnTo>
                  <a:pt x="4273" y="4768"/>
                </a:lnTo>
                <a:lnTo>
                  <a:pt x="4206" y="4757"/>
                </a:lnTo>
                <a:lnTo>
                  <a:pt x="4138" y="4746"/>
                </a:lnTo>
                <a:lnTo>
                  <a:pt x="4070" y="4738"/>
                </a:lnTo>
                <a:lnTo>
                  <a:pt x="4001" y="4728"/>
                </a:lnTo>
                <a:lnTo>
                  <a:pt x="3932" y="4721"/>
                </a:lnTo>
                <a:lnTo>
                  <a:pt x="3862" y="4714"/>
                </a:lnTo>
                <a:lnTo>
                  <a:pt x="3792" y="4707"/>
                </a:lnTo>
                <a:lnTo>
                  <a:pt x="3722" y="4702"/>
                </a:lnTo>
                <a:lnTo>
                  <a:pt x="3652" y="4697"/>
                </a:lnTo>
                <a:lnTo>
                  <a:pt x="3581" y="4692"/>
                </a:lnTo>
                <a:lnTo>
                  <a:pt x="3510" y="4689"/>
                </a:lnTo>
                <a:lnTo>
                  <a:pt x="3438" y="4686"/>
                </a:lnTo>
                <a:lnTo>
                  <a:pt x="3367" y="4685"/>
                </a:lnTo>
                <a:lnTo>
                  <a:pt x="3367" y="3363"/>
                </a:lnTo>
                <a:lnTo>
                  <a:pt x="4687" y="3363"/>
                </a:lnTo>
                <a:lnTo>
                  <a:pt x="4687" y="3363"/>
                </a:lnTo>
                <a:lnTo>
                  <a:pt x="4685" y="3460"/>
                </a:lnTo>
                <a:lnTo>
                  <a:pt x="4680" y="3556"/>
                </a:lnTo>
                <a:lnTo>
                  <a:pt x="4675" y="3651"/>
                </a:lnTo>
                <a:lnTo>
                  <a:pt x="4668" y="3745"/>
                </a:lnTo>
                <a:lnTo>
                  <a:pt x="4659" y="3839"/>
                </a:lnTo>
                <a:lnTo>
                  <a:pt x="4650" y="3933"/>
                </a:lnTo>
                <a:lnTo>
                  <a:pt x="4637" y="4025"/>
                </a:lnTo>
                <a:lnTo>
                  <a:pt x="4625" y="4116"/>
                </a:lnTo>
                <a:lnTo>
                  <a:pt x="4611" y="4207"/>
                </a:lnTo>
                <a:lnTo>
                  <a:pt x="4595" y="4296"/>
                </a:lnTo>
                <a:lnTo>
                  <a:pt x="4578" y="4384"/>
                </a:lnTo>
                <a:lnTo>
                  <a:pt x="4560" y="4471"/>
                </a:lnTo>
                <a:lnTo>
                  <a:pt x="4541" y="4556"/>
                </a:lnTo>
                <a:lnTo>
                  <a:pt x="4519" y="4642"/>
                </a:lnTo>
                <a:lnTo>
                  <a:pt x="4498" y="4725"/>
                </a:lnTo>
                <a:lnTo>
                  <a:pt x="4473" y="4807"/>
                </a:lnTo>
                <a:lnTo>
                  <a:pt x="4473" y="4807"/>
                </a:lnTo>
                <a:close/>
                <a:moveTo>
                  <a:pt x="3367" y="3123"/>
                </a:moveTo>
                <a:lnTo>
                  <a:pt x="3367" y="1801"/>
                </a:lnTo>
                <a:lnTo>
                  <a:pt x="3367" y="1801"/>
                </a:lnTo>
                <a:lnTo>
                  <a:pt x="3438" y="1799"/>
                </a:lnTo>
                <a:lnTo>
                  <a:pt x="3510" y="1796"/>
                </a:lnTo>
                <a:lnTo>
                  <a:pt x="3581" y="1794"/>
                </a:lnTo>
                <a:lnTo>
                  <a:pt x="3652" y="1789"/>
                </a:lnTo>
                <a:lnTo>
                  <a:pt x="3722" y="1784"/>
                </a:lnTo>
                <a:lnTo>
                  <a:pt x="3792" y="1779"/>
                </a:lnTo>
                <a:lnTo>
                  <a:pt x="3862" y="1772"/>
                </a:lnTo>
                <a:lnTo>
                  <a:pt x="3932" y="1765"/>
                </a:lnTo>
                <a:lnTo>
                  <a:pt x="4001" y="1758"/>
                </a:lnTo>
                <a:lnTo>
                  <a:pt x="4070" y="1748"/>
                </a:lnTo>
                <a:lnTo>
                  <a:pt x="4138" y="1738"/>
                </a:lnTo>
                <a:lnTo>
                  <a:pt x="4206" y="1729"/>
                </a:lnTo>
                <a:lnTo>
                  <a:pt x="4273" y="1718"/>
                </a:lnTo>
                <a:lnTo>
                  <a:pt x="4341" y="1706"/>
                </a:lnTo>
                <a:lnTo>
                  <a:pt x="4407" y="1693"/>
                </a:lnTo>
                <a:lnTo>
                  <a:pt x="4473" y="1679"/>
                </a:lnTo>
                <a:lnTo>
                  <a:pt x="4473" y="1679"/>
                </a:lnTo>
                <a:lnTo>
                  <a:pt x="4498" y="1761"/>
                </a:lnTo>
                <a:lnTo>
                  <a:pt x="4519" y="1844"/>
                </a:lnTo>
                <a:lnTo>
                  <a:pt x="4541" y="1930"/>
                </a:lnTo>
                <a:lnTo>
                  <a:pt x="4560" y="2015"/>
                </a:lnTo>
                <a:lnTo>
                  <a:pt x="4578" y="2102"/>
                </a:lnTo>
                <a:lnTo>
                  <a:pt x="4595" y="2190"/>
                </a:lnTo>
                <a:lnTo>
                  <a:pt x="4611" y="2279"/>
                </a:lnTo>
                <a:lnTo>
                  <a:pt x="4625" y="2370"/>
                </a:lnTo>
                <a:lnTo>
                  <a:pt x="4637" y="2461"/>
                </a:lnTo>
                <a:lnTo>
                  <a:pt x="4650" y="2553"/>
                </a:lnTo>
                <a:lnTo>
                  <a:pt x="4659" y="2647"/>
                </a:lnTo>
                <a:lnTo>
                  <a:pt x="4668" y="2741"/>
                </a:lnTo>
                <a:lnTo>
                  <a:pt x="4675" y="2835"/>
                </a:lnTo>
                <a:lnTo>
                  <a:pt x="4680" y="2930"/>
                </a:lnTo>
                <a:lnTo>
                  <a:pt x="4685" y="3026"/>
                </a:lnTo>
                <a:lnTo>
                  <a:pt x="4687" y="3123"/>
                </a:lnTo>
                <a:lnTo>
                  <a:pt x="3367" y="3123"/>
                </a:lnTo>
                <a:close/>
                <a:moveTo>
                  <a:pt x="5378" y="1129"/>
                </a:moveTo>
                <a:lnTo>
                  <a:pt x="5378" y="1129"/>
                </a:lnTo>
                <a:lnTo>
                  <a:pt x="5293" y="1169"/>
                </a:lnTo>
                <a:lnTo>
                  <a:pt x="5207" y="1206"/>
                </a:lnTo>
                <a:lnTo>
                  <a:pt x="5117" y="1242"/>
                </a:lnTo>
                <a:lnTo>
                  <a:pt x="5025" y="1276"/>
                </a:lnTo>
                <a:lnTo>
                  <a:pt x="4930" y="1308"/>
                </a:lnTo>
                <a:lnTo>
                  <a:pt x="4834" y="1340"/>
                </a:lnTo>
                <a:lnTo>
                  <a:pt x="4735" y="1369"/>
                </a:lnTo>
                <a:lnTo>
                  <a:pt x="4634" y="1395"/>
                </a:lnTo>
                <a:lnTo>
                  <a:pt x="4634" y="1395"/>
                </a:lnTo>
                <a:lnTo>
                  <a:pt x="4615" y="1341"/>
                </a:lnTo>
                <a:lnTo>
                  <a:pt x="4594" y="1287"/>
                </a:lnTo>
                <a:lnTo>
                  <a:pt x="4572" y="1234"/>
                </a:lnTo>
                <a:lnTo>
                  <a:pt x="4552" y="1182"/>
                </a:lnTo>
                <a:lnTo>
                  <a:pt x="4529" y="1130"/>
                </a:lnTo>
                <a:lnTo>
                  <a:pt x="4506" y="1079"/>
                </a:lnTo>
                <a:lnTo>
                  <a:pt x="4483" y="1030"/>
                </a:lnTo>
                <a:lnTo>
                  <a:pt x="4459" y="981"/>
                </a:lnTo>
                <a:lnTo>
                  <a:pt x="4459" y="981"/>
                </a:lnTo>
                <a:lnTo>
                  <a:pt x="4434" y="932"/>
                </a:lnTo>
                <a:lnTo>
                  <a:pt x="4408" y="884"/>
                </a:lnTo>
                <a:lnTo>
                  <a:pt x="4382" y="837"/>
                </a:lnTo>
                <a:lnTo>
                  <a:pt x="4355" y="791"/>
                </a:lnTo>
                <a:lnTo>
                  <a:pt x="4329" y="747"/>
                </a:lnTo>
                <a:lnTo>
                  <a:pt x="4301" y="704"/>
                </a:lnTo>
                <a:lnTo>
                  <a:pt x="4273" y="661"/>
                </a:lnTo>
                <a:lnTo>
                  <a:pt x="4244" y="620"/>
                </a:lnTo>
                <a:lnTo>
                  <a:pt x="4217" y="581"/>
                </a:lnTo>
                <a:lnTo>
                  <a:pt x="4187" y="542"/>
                </a:lnTo>
                <a:lnTo>
                  <a:pt x="4158" y="505"/>
                </a:lnTo>
                <a:lnTo>
                  <a:pt x="4127" y="469"/>
                </a:lnTo>
                <a:lnTo>
                  <a:pt x="4096" y="434"/>
                </a:lnTo>
                <a:lnTo>
                  <a:pt x="4066" y="401"/>
                </a:lnTo>
                <a:lnTo>
                  <a:pt x="4035" y="369"/>
                </a:lnTo>
                <a:lnTo>
                  <a:pt x="4003" y="337"/>
                </a:lnTo>
                <a:lnTo>
                  <a:pt x="4003" y="337"/>
                </a:lnTo>
                <a:lnTo>
                  <a:pt x="4053" y="351"/>
                </a:lnTo>
                <a:lnTo>
                  <a:pt x="4101" y="365"/>
                </a:lnTo>
                <a:lnTo>
                  <a:pt x="4150" y="379"/>
                </a:lnTo>
                <a:lnTo>
                  <a:pt x="4199" y="395"/>
                </a:lnTo>
                <a:lnTo>
                  <a:pt x="4247" y="412"/>
                </a:lnTo>
                <a:lnTo>
                  <a:pt x="4294" y="429"/>
                </a:lnTo>
                <a:lnTo>
                  <a:pt x="4341" y="447"/>
                </a:lnTo>
                <a:lnTo>
                  <a:pt x="4388" y="466"/>
                </a:lnTo>
                <a:lnTo>
                  <a:pt x="4435" y="485"/>
                </a:lnTo>
                <a:lnTo>
                  <a:pt x="4481" y="506"/>
                </a:lnTo>
                <a:lnTo>
                  <a:pt x="4527" y="526"/>
                </a:lnTo>
                <a:lnTo>
                  <a:pt x="4571" y="549"/>
                </a:lnTo>
                <a:lnTo>
                  <a:pt x="4616" y="571"/>
                </a:lnTo>
                <a:lnTo>
                  <a:pt x="4660" y="595"/>
                </a:lnTo>
                <a:lnTo>
                  <a:pt x="4705" y="619"/>
                </a:lnTo>
                <a:lnTo>
                  <a:pt x="4748" y="643"/>
                </a:lnTo>
                <a:lnTo>
                  <a:pt x="4792" y="669"/>
                </a:lnTo>
                <a:lnTo>
                  <a:pt x="4834" y="695"/>
                </a:lnTo>
                <a:lnTo>
                  <a:pt x="4876" y="722"/>
                </a:lnTo>
                <a:lnTo>
                  <a:pt x="4917" y="749"/>
                </a:lnTo>
                <a:lnTo>
                  <a:pt x="4959" y="777"/>
                </a:lnTo>
                <a:lnTo>
                  <a:pt x="4999" y="806"/>
                </a:lnTo>
                <a:lnTo>
                  <a:pt x="5040" y="836"/>
                </a:lnTo>
                <a:lnTo>
                  <a:pt x="5079" y="866"/>
                </a:lnTo>
                <a:lnTo>
                  <a:pt x="5119" y="896"/>
                </a:lnTo>
                <a:lnTo>
                  <a:pt x="5157" y="928"/>
                </a:lnTo>
                <a:lnTo>
                  <a:pt x="5196" y="960"/>
                </a:lnTo>
                <a:lnTo>
                  <a:pt x="5233" y="993"/>
                </a:lnTo>
                <a:lnTo>
                  <a:pt x="5269" y="1025"/>
                </a:lnTo>
                <a:lnTo>
                  <a:pt x="5307" y="1059"/>
                </a:lnTo>
                <a:lnTo>
                  <a:pt x="5342" y="1094"/>
                </a:lnTo>
                <a:lnTo>
                  <a:pt x="5378" y="1129"/>
                </a:lnTo>
                <a:lnTo>
                  <a:pt x="5378" y="1129"/>
                </a:lnTo>
                <a:close/>
                <a:moveTo>
                  <a:pt x="2489" y="337"/>
                </a:moveTo>
                <a:lnTo>
                  <a:pt x="2489" y="337"/>
                </a:lnTo>
                <a:lnTo>
                  <a:pt x="2457" y="369"/>
                </a:lnTo>
                <a:lnTo>
                  <a:pt x="2426" y="401"/>
                </a:lnTo>
                <a:lnTo>
                  <a:pt x="2396" y="434"/>
                </a:lnTo>
                <a:lnTo>
                  <a:pt x="2365" y="469"/>
                </a:lnTo>
                <a:lnTo>
                  <a:pt x="2334" y="505"/>
                </a:lnTo>
                <a:lnTo>
                  <a:pt x="2305" y="542"/>
                </a:lnTo>
                <a:lnTo>
                  <a:pt x="2275" y="581"/>
                </a:lnTo>
                <a:lnTo>
                  <a:pt x="2248" y="620"/>
                </a:lnTo>
                <a:lnTo>
                  <a:pt x="2219" y="661"/>
                </a:lnTo>
                <a:lnTo>
                  <a:pt x="2191" y="704"/>
                </a:lnTo>
                <a:lnTo>
                  <a:pt x="2163" y="747"/>
                </a:lnTo>
                <a:lnTo>
                  <a:pt x="2137" y="791"/>
                </a:lnTo>
                <a:lnTo>
                  <a:pt x="2110" y="837"/>
                </a:lnTo>
                <a:lnTo>
                  <a:pt x="2084" y="884"/>
                </a:lnTo>
                <a:lnTo>
                  <a:pt x="2058" y="932"/>
                </a:lnTo>
                <a:lnTo>
                  <a:pt x="2033" y="981"/>
                </a:lnTo>
                <a:lnTo>
                  <a:pt x="2033" y="981"/>
                </a:lnTo>
                <a:lnTo>
                  <a:pt x="2009" y="1030"/>
                </a:lnTo>
                <a:lnTo>
                  <a:pt x="1986" y="1079"/>
                </a:lnTo>
                <a:lnTo>
                  <a:pt x="1963" y="1130"/>
                </a:lnTo>
                <a:lnTo>
                  <a:pt x="1940" y="1182"/>
                </a:lnTo>
                <a:lnTo>
                  <a:pt x="1918" y="1234"/>
                </a:lnTo>
                <a:lnTo>
                  <a:pt x="1898" y="1287"/>
                </a:lnTo>
                <a:lnTo>
                  <a:pt x="1877" y="1341"/>
                </a:lnTo>
                <a:lnTo>
                  <a:pt x="1858" y="1395"/>
                </a:lnTo>
                <a:lnTo>
                  <a:pt x="1858" y="1395"/>
                </a:lnTo>
                <a:lnTo>
                  <a:pt x="1757" y="1369"/>
                </a:lnTo>
                <a:lnTo>
                  <a:pt x="1658" y="1340"/>
                </a:lnTo>
                <a:lnTo>
                  <a:pt x="1562" y="1308"/>
                </a:lnTo>
                <a:lnTo>
                  <a:pt x="1467" y="1276"/>
                </a:lnTo>
                <a:lnTo>
                  <a:pt x="1375" y="1242"/>
                </a:lnTo>
                <a:lnTo>
                  <a:pt x="1285" y="1206"/>
                </a:lnTo>
                <a:lnTo>
                  <a:pt x="1199" y="1169"/>
                </a:lnTo>
                <a:lnTo>
                  <a:pt x="1114" y="1129"/>
                </a:lnTo>
                <a:lnTo>
                  <a:pt x="1114" y="1129"/>
                </a:lnTo>
                <a:lnTo>
                  <a:pt x="1150" y="1094"/>
                </a:lnTo>
                <a:lnTo>
                  <a:pt x="1187" y="1059"/>
                </a:lnTo>
                <a:lnTo>
                  <a:pt x="1223" y="1025"/>
                </a:lnTo>
                <a:lnTo>
                  <a:pt x="1259" y="993"/>
                </a:lnTo>
                <a:lnTo>
                  <a:pt x="1297" y="960"/>
                </a:lnTo>
                <a:lnTo>
                  <a:pt x="1335" y="928"/>
                </a:lnTo>
                <a:lnTo>
                  <a:pt x="1373" y="896"/>
                </a:lnTo>
                <a:lnTo>
                  <a:pt x="1413" y="866"/>
                </a:lnTo>
                <a:lnTo>
                  <a:pt x="1453" y="836"/>
                </a:lnTo>
                <a:lnTo>
                  <a:pt x="1493" y="806"/>
                </a:lnTo>
                <a:lnTo>
                  <a:pt x="1534" y="777"/>
                </a:lnTo>
                <a:lnTo>
                  <a:pt x="1575" y="749"/>
                </a:lnTo>
                <a:lnTo>
                  <a:pt x="1616" y="722"/>
                </a:lnTo>
                <a:lnTo>
                  <a:pt x="1658" y="695"/>
                </a:lnTo>
                <a:lnTo>
                  <a:pt x="1701" y="669"/>
                </a:lnTo>
                <a:lnTo>
                  <a:pt x="1744" y="643"/>
                </a:lnTo>
                <a:lnTo>
                  <a:pt x="1787" y="619"/>
                </a:lnTo>
                <a:lnTo>
                  <a:pt x="1832" y="595"/>
                </a:lnTo>
                <a:lnTo>
                  <a:pt x="1876" y="571"/>
                </a:lnTo>
                <a:lnTo>
                  <a:pt x="1921" y="549"/>
                </a:lnTo>
                <a:lnTo>
                  <a:pt x="1965" y="526"/>
                </a:lnTo>
                <a:lnTo>
                  <a:pt x="2011" y="506"/>
                </a:lnTo>
                <a:lnTo>
                  <a:pt x="2057" y="485"/>
                </a:lnTo>
                <a:lnTo>
                  <a:pt x="2104" y="466"/>
                </a:lnTo>
                <a:lnTo>
                  <a:pt x="2151" y="447"/>
                </a:lnTo>
                <a:lnTo>
                  <a:pt x="2198" y="429"/>
                </a:lnTo>
                <a:lnTo>
                  <a:pt x="2246" y="412"/>
                </a:lnTo>
                <a:lnTo>
                  <a:pt x="2293" y="395"/>
                </a:lnTo>
                <a:lnTo>
                  <a:pt x="2342" y="379"/>
                </a:lnTo>
                <a:lnTo>
                  <a:pt x="2391" y="365"/>
                </a:lnTo>
                <a:lnTo>
                  <a:pt x="2439" y="351"/>
                </a:lnTo>
                <a:lnTo>
                  <a:pt x="2489" y="337"/>
                </a:lnTo>
                <a:lnTo>
                  <a:pt x="2489" y="337"/>
                </a:lnTo>
                <a:close/>
                <a:moveTo>
                  <a:pt x="945" y="1313"/>
                </a:moveTo>
                <a:lnTo>
                  <a:pt x="945" y="1313"/>
                </a:lnTo>
                <a:lnTo>
                  <a:pt x="992" y="1337"/>
                </a:lnTo>
                <a:lnTo>
                  <a:pt x="1039" y="1360"/>
                </a:lnTo>
                <a:lnTo>
                  <a:pt x="1088" y="1383"/>
                </a:lnTo>
                <a:lnTo>
                  <a:pt x="1136" y="1405"/>
                </a:lnTo>
                <a:lnTo>
                  <a:pt x="1187" y="1426"/>
                </a:lnTo>
                <a:lnTo>
                  <a:pt x="1236" y="1447"/>
                </a:lnTo>
                <a:lnTo>
                  <a:pt x="1288" y="1467"/>
                </a:lnTo>
                <a:lnTo>
                  <a:pt x="1340" y="1487"/>
                </a:lnTo>
                <a:lnTo>
                  <a:pt x="1393" y="1506"/>
                </a:lnTo>
                <a:lnTo>
                  <a:pt x="1446" y="1525"/>
                </a:lnTo>
                <a:lnTo>
                  <a:pt x="1500" y="1543"/>
                </a:lnTo>
                <a:lnTo>
                  <a:pt x="1555" y="1560"/>
                </a:lnTo>
                <a:lnTo>
                  <a:pt x="1611" y="1577"/>
                </a:lnTo>
                <a:lnTo>
                  <a:pt x="1668" y="1594"/>
                </a:lnTo>
                <a:lnTo>
                  <a:pt x="1725" y="1609"/>
                </a:lnTo>
                <a:lnTo>
                  <a:pt x="1783" y="1625"/>
                </a:lnTo>
                <a:lnTo>
                  <a:pt x="1783" y="1625"/>
                </a:lnTo>
                <a:lnTo>
                  <a:pt x="1758" y="1711"/>
                </a:lnTo>
                <a:lnTo>
                  <a:pt x="1735" y="1797"/>
                </a:lnTo>
                <a:lnTo>
                  <a:pt x="1713" y="1885"/>
                </a:lnTo>
                <a:lnTo>
                  <a:pt x="1694" y="1974"/>
                </a:lnTo>
                <a:lnTo>
                  <a:pt x="1675" y="2065"/>
                </a:lnTo>
                <a:lnTo>
                  <a:pt x="1658" y="2156"/>
                </a:lnTo>
                <a:lnTo>
                  <a:pt x="1641" y="2249"/>
                </a:lnTo>
                <a:lnTo>
                  <a:pt x="1627" y="2343"/>
                </a:lnTo>
                <a:lnTo>
                  <a:pt x="1613" y="2438"/>
                </a:lnTo>
                <a:lnTo>
                  <a:pt x="1603" y="2533"/>
                </a:lnTo>
                <a:lnTo>
                  <a:pt x="1592" y="2630"/>
                </a:lnTo>
                <a:lnTo>
                  <a:pt x="1583" y="2727"/>
                </a:lnTo>
                <a:lnTo>
                  <a:pt x="1576" y="2825"/>
                </a:lnTo>
                <a:lnTo>
                  <a:pt x="1570" y="2924"/>
                </a:lnTo>
                <a:lnTo>
                  <a:pt x="1566" y="3023"/>
                </a:lnTo>
                <a:lnTo>
                  <a:pt x="1564" y="3123"/>
                </a:lnTo>
                <a:lnTo>
                  <a:pt x="244" y="3123"/>
                </a:lnTo>
                <a:lnTo>
                  <a:pt x="244" y="3123"/>
                </a:lnTo>
                <a:lnTo>
                  <a:pt x="247" y="3059"/>
                </a:lnTo>
                <a:lnTo>
                  <a:pt x="252" y="2995"/>
                </a:lnTo>
                <a:lnTo>
                  <a:pt x="257" y="2931"/>
                </a:lnTo>
                <a:lnTo>
                  <a:pt x="264" y="2868"/>
                </a:lnTo>
                <a:lnTo>
                  <a:pt x="274" y="2804"/>
                </a:lnTo>
                <a:lnTo>
                  <a:pt x="283" y="2743"/>
                </a:lnTo>
                <a:lnTo>
                  <a:pt x="294" y="2680"/>
                </a:lnTo>
                <a:lnTo>
                  <a:pt x="306" y="2619"/>
                </a:lnTo>
                <a:lnTo>
                  <a:pt x="320" y="2559"/>
                </a:lnTo>
                <a:lnTo>
                  <a:pt x="335" y="2497"/>
                </a:lnTo>
                <a:lnTo>
                  <a:pt x="351" y="2438"/>
                </a:lnTo>
                <a:lnTo>
                  <a:pt x="368" y="2378"/>
                </a:lnTo>
                <a:lnTo>
                  <a:pt x="387" y="2319"/>
                </a:lnTo>
                <a:lnTo>
                  <a:pt x="406" y="2261"/>
                </a:lnTo>
                <a:lnTo>
                  <a:pt x="427" y="2203"/>
                </a:lnTo>
                <a:lnTo>
                  <a:pt x="449" y="2146"/>
                </a:lnTo>
                <a:lnTo>
                  <a:pt x="473" y="2089"/>
                </a:lnTo>
                <a:lnTo>
                  <a:pt x="497" y="2032"/>
                </a:lnTo>
                <a:lnTo>
                  <a:pt x="522" y="1977"/>
                </a:lnTo>
                <a:lnTo>
                  <a:pt x="549" y="1921"/>
                </a:lnTo>
                <a:lnTo>
                  <a:pt x="575" y="1867"/>
                </a:lnTo>
                <a:lnTo>
                  <a:pt x="604" y="1813"/>
                </a:lnTo>
                <a:lnTo>
                  <a:pt x="634" y="1760"/>
                </a:lnTo>
                <a:lnTo>
                  <a:pt x="664" y="1708"/>
                </a:lnTo>
                <a:lnTo>
                  <a:pt x="696" y="1656"/>
                </a:lnTo>
                <a:lnTo>
                  <a:pt x="730" y="1605"/>
                </a:lnTo>
                <a:lnTo>
                  <a:pt x="763" y="1554"/>
                </a:lnTo>
                <a:lnTo>
                  <a:pt x="797" y="1505"/>
                </a:lnTo>
                <a:lnTo>
                  <a:pt x="833" y="1455"/>
                </a:lnTo>
                <a:lnTo>
                  <a:pt x="869" y="1407"/>
                </a:lnTo>
                <a:lnTo>
                  <a:pt x="907" y="1360"/>
                </a:lnTo>
                <a:lnTo>
                  <a:pt x="945" y="1313"/>
                </a:lnTo>
                <a:lnTo>
                  <a:pt x="945" y="1313"/>
                </a:lnTo>
                <a:close/>
                <a:moveTo>
                  <a:pt x="244" y="3363"/>
                </a:moveTo>
                <a:lnTo>
                  <a:pt x="1564" y="3363"/>
                </a:lnTo>
                <a:lnTo>
                  <a:pt x="1564" y="3363"/>
                </a:lnTo>
                <a:lnTo>
                  <a:pt x="1566" y="3463"/>
                </a:lnTo>
                <a:lnTo>
                  <a:pt x="1570" y="3562"/>
                </a:lnTo>
                <a:lnTo>
                  <a:pt x="1576" y="3661"/>
                </a:lnTo>
                <a:lnTo>
                  <a:pt x="1583" y="3759"/>
                </a:lnTo>
                <a:lnTo>
                  <a:pt x="1592" y="3856"/>
                </a:lnTo>
                <a:lnTo>
                  <a:pt x="1603" y="3953"/>
                </a:lnTo>
                <a:lnTo>
                  <a:pt x="1613" y="4048"/>
                </a:lnTo>
                <a:lnTo>
                  <a:pt x="1627" y="4143"/>
                </a:lnTo>
                <a:lnTo>
                  <a:pt x="1641" y="4237"/>
                </a:lnTo>
                <a:lnTo>
                  <a:pt x="1657" y="4330"/>
                </a:lnTo>
                <a:lnTo>
                  <a:pt x="1675" y="4421"/>
                </a:lnTo>
                <a:lnTo>
                  <a:pt x="1694" y="4512"/>
                </a:lnTo>
                <a:lnTo>
                  <a:pt x="1713" y="4601"/>
                </a:lnTo>
                <a:lnTo>
                  <a:pt x="1735" y="4689"/>
                </a:lnTo>
                <a:lnTo>
                  <a:pt x="1758" y="4775"/>
                </a:lnTo>
                <a:lnTo>
                  <a:pt x="1783" y="4861"/>
                </a:lnTo>
                <a:lnTo>
                  <a:pt x="1783" y="4861"/>
                </a:lnTo>
                <a:lnTo>
                  <a:pt x="1725" y="4877"/>
                </a:lnTo>
                <a:lnTo>
                  <a:pt x="1668" y="4892"/>
                </a:lnTo>
                <a:lnTo>
                  <a:pt x="1611" y="4909"/>
                </a:lnTo>
                <a:lnTo>
                  <a:pt x="1555" y="4926"/>
                </a:lnTo>
                <a:lnTo>
                  <a:pt x="1500" y="4943"/>
                </a:lnTo>
                <a:lnTo>
                  <a:pt x="1446" y="4961"/>
                </a:lnTo>
                <a:lnTo>
                  <a:pt x="1393" y="4980"/>
                </a:lnTo>
                <a:lnTo>
                  <a:pt x="1340" y="4999"/>
                </a:lnTo>
                <a:lnTo>
                  <a:pt x="1288" y="5019"/>
                </a:lnTo>
                <a:lnTo>
                  <a:pt x="1236" y="5039"/>
                </a:lnTo>
                <a:lnTo>
                  <a:pt x="1187" y="5060"/>
                </a:lnTo>
                <a:lnTo>
                  <a:pt x="1136" y="5081"/>
                </a:lnTo>
                <a:lnTo>
                  <a:pt x="1088" y="5103"/>
                </a:lnTo>
                <a:lnTo>
                  <a:pt x="1039" y="5126"/>
                </a:lnTo>
                <a:lnTo>
                  <a:pt x="992" y="5149"/>
                </a:lnTo>
                <a:lnTo>
                  <a:pt x="945" y="5172"/>
                </a:lnTo>
                <a:lnTo>
                  <a:pt x="945" y="5172"/>
                </a:lnTo>
                <a:lnTo>
                  <a:pt x="907" y="5126"/>
                </a:lnTo>
                <a:lnTo>
                  <a:pt x="869" y="5078"/>
                </a:lnTo>
                <a:lnTo>
                  <a:pt x="833" y="5030"/>
                </a:lnTo>
                <a:lnTo>
                  <a:pt x="797" y="4981"/>
                </a:lnTo>
                <a:lnTo>
                  <a:pt x="762" y="4931"/>
                </a:lnTo>
                <a:lnTo>
                  <a:pt x="728" y="4881"/>
                </a:lnTo>
                <a:lnTo>
                  <a:pt x="696" y="4830"/>
                </a:lnTo>
                <a:lnTo>
                  <a:pt x="664" y="4778"/>
                </a:lnTo>
                <a:lnTo>
                  <a:pt x="634" y="4726"/>
                </a:lnTo>
                <a:lnTo>
                  <a:pt x="604" y="4673"/>
                </a:lnTo>
                <a:lnTo>
                  <a:pt x="575" y="4619"/>
                </a:lnTo>
                <a:lnTo>
                  <a:pt x="549" y="4565"/>
                </a:lnTo>
                <a:lnTo>
                  <a:pt x="522" y="4509"/>
                </a:lnTo>
                <a:lnTo>
                  <a:pt x="497" y="4454"/>
                </a:lnTo>
                <a:lnTo>
                  <a:pt x="473" y="4397"/>
                </a:lnTo>
                <a:lnTo>
                  <a:pt x="449" y="4340"/>
                </a:lnTo>
                <a:lnTo>
                  <a:pt x="427" y="4283"/>
                </a:lnTo>
                <a:lnTo>
                  <a:pt x="406" y="4225"/>
                </a:lnTo>
                <a:lnTo>
                  <a:pt x="387" y="4167"/>
                </a:lnTo>
                <a:lnTo>
                  <a:pt x="368" y="4108"/>
                </a:lnTo>
                <a:lnTo>
                  <a:pt x="351" y="4048"/>
                </a:lnTo>
                <a:lnTo>
                  <a:pt x="335" y="3987"/>
                </a:lnTo>
                <a:lnTo>
                  <a:pt x="320" y="3927"/>
                </a:lnTo>
                <a:lnTo>
                  <a:pt x="306" y="3867"/>
                </a:lnTo>
                <a:lnTo>
                  <a:pt x="294" y="3806"/>
                </a:lnTo>
                <a:lnTo>
                  <a:pt x="283" y="3743"/>
                </a:lnTo>
                <a:lnTo>
                  <a:pt x="274" y="3682"/>
                </a:lnTo>
                <a:lnTo>
                  <a:pt x="264" y="3618"/>
                </a:lnTo>
                <a:lnTo>
                  <a:pt x="257" y="3555"/>
                </a:lnTo>
                <a:lnTo>
                  <a:pt x="252" y="3491"/>
                </a:lnTo>
                <a:lnTo>
                  <a:pt x="247" y="3427"/>
                </a:lnTo>
                <a:lnTo>
                  <a:pt x="244" y="3363"/>
                </a:lnTo>
                <a:lnTo>
                  <a:pt x="244" y="3363"/>
                </a:lnTo>
                <a:close/>
                <a:moveTo>
                  <a:pt x="1114" y="5357"/>
                </a:moveTo>
                <a:lnTo>
                  <a:pt x="1114" y="5357"/>
                </a:lnTo>
                <a:lnTo>
                  <a:pt x="1199" y="5317"/>
                </a:lnTo>
                <a:lnTo>
                  <a:pt x="1285" y="5280"/>
                </a:lnTo>
                <a:lnTo>
                  <a:pt x="1375" y="5244"/>
                </a:lnTo>
                <a:lnTo>
                  <a:pt x="1467" y="5210"/>
                </a:lnTo>
                <a:lnTo>
                  <a:pt x="1562" y="5178"/>
                </a:lnTo>
                <a:lnTo>
                  <a:pt x="1658" y="5146"/>
                </a:lnTo>
                <a:lnTo>
                  <a:pt x="1757" y="5117"/>
                </a:lnTo>
                <a:lnTo>
                  <a:pt x="1858" y="5091"/>
                </a:lnTo>
                <a:lnTo>
                  <a:pt x="1858" y="5091"/>
                </a:lnTo>
                <a:lnTo>
                  <a:pt x="1877" y="5145"/>
                </a:lnTo>
                <a:lnTo>
                  <a:pt x="1898" y="5199"/>
                </a:lnTo>
                <a:lnTo>
                  <a:pt x="1918" y="5252"/>
                </a:lnTo>
                <a:lnTo>
                  <a:pt x="1940" y="5304"/>
                </a:lnTo>
                <a:lnTo>
                  <a:pt x="1963" y="5356"/>
                </a:lnTo>
                <a:lnTo>
                  <a:pt x="1986" y="5407"/>
                </a:lnTo>
                <a:lnTo>
                  <a:pt x="2009" y="5456"/>
                </a:lnTo>
                <a:lnTo>
                  <a:pt x="2033" y="5505"/>
                </a:lnTo>
                <a:lnTo>
                  <a:pt x="2033" y="5505"/>
                </a:lnTo>
                <a:lnTo>
                  <a:pt x="2058" y="5554"/>
                </a:lnTo>
                <a:lnTo>
                  <a:pt x="2084" y="5602"/>
                </a:lnTo>
                <a:lnTo>
                  <a:pt x="2110" y="5649"/>
                </a:lnTo>
                <a:lnTo>
                  <a:pt x="2137" y="5695"/>
                </a:lnTo>
                <a:lnTo>
                  <a:pt x="2163" y="5739"/>
                </a:lnTo>
                <a:lnTo>
                  <a:pt x="2191" y="5782"/>
                </a:lnTo>
                <a:lnTo>
                  <a:pt x="2219" y="5825"/>
                </a:lnTo>
                <a:lnTo>
                  <a:pt x="2248" y="5866"/>
                </a:lnTo>
                <a:lnTo>
                  <a:pt x="2275" y="5905"/>
                </a:lnTo>
                <a:lnTo>
                  <a:pt x="2305" y="5944"/>
                </a:lnTo>
                <a:lnTo>
                  <a:pt x="2334" y="5981"/>
                </a:lnTo>
                <a:lnTo>
                  <a:pt x="2365" y="6017"/>
                </a:lnTo>
                <a:lnTo>
                  <a:pt x="2396" y="6052"/>
                </a:lnTo>
                <a:lnTo>
                  <a:pt x="2426" y="6085"/>
                </a:lnTo>
                <a:lnTo>
                  <a:pt x="2457" y="6117"/>
                </a:lnTo>
                <a:lnTo>
                  <a:pt x="2489" y="6149"/>
                </a:lnTo>
                <a:lnTo>
                  <a:pt x="2489" y="6149"/>
                </a:lnTo>
                <a:lnTo>
                  <a:pt x="2439" y="6135"/>
                </a:lnTo>
                <a:lnTo>
                  <a:pt x="2391" y="6121"/>
                </a:lnTo>
                <a:lnTo>
                  <a:pt x="2342" y="6107"/>
                </a:lnTo>
                <a:lnTo>
                  <a:pt x="2293" y="6091"/>
                </a:lnTo>
                <a:lnTo>
                  <a:pt x="2245" y="6074"/>
                </a:lnTo>
                <a:lnTo>
                  <a:pt x="2198" y="6057"/>
                </a:lnTo>
                <a:lnTo>
                  <a:pt x="2151" y="6039"/>
                </a:lnTo>
                <a:lnTo>
                  <a:pt x="2104" y="6020"/>
                </a:lnTo>
                <a:lnTo>
                  <a:pt x="2057" y="6001"/>
                </a:lnTo>
                <a:lnTo>
                  <a:pt x="2011" y="5980"/>
                </a:lnTo>
                <a:lnTo>
                  <a:pt x="1965" y="5958"/>
                </a:lnTo>
                <a:lnTo>
                  <a:pt x="1921" y="5937"/>
                </a:lnTo>
                <a:lnTo>
                  <a:pt x="1876" y="5915"/>
                </a:lnTo>
                <a:lnTo>
                  <a:pt x="1832" y="5891"/>
                </a:lnTo>
                <a:lnTo>
                  <a:pt x="1787" y="5867"/>
                </a:lnTo>
                <a:lnTo>
                  <a:pt x="1744" y="5843"/>
                </a:lnTo>
                <a:lnTo>
                  <a:pt x="1700" y="5817"/>
                </a:lnTo>
                <a:lnTo>
                  <a:pt x="1658" y="5791"/>
                </a:lnTo>
                <a:lnTo>
                  <a:pt x="1616" y="5764"/>
                </a:lnTo>
                <a:lnTo>
                  <a:pt x="1575" y="5737"/>
                </a:lnTo>
                <a:lnTo>
                  <a:pt x="1533" y="5709"/>
                </a:lnTo>
                <a:lnTo>
                  <a:pt x="1493" y="5680"/>
                </a:lnTo>
                <a:lnTo>
                  <a:pt x="1452" y="5650"/>
                </a:lnTo>
                <a:lnTo>
                  <a:pt x="1413" y="5620"/>
                </a:lnTo>
                <a:lnTo>
                  <a:pt x="1373" y="5590"/>
                </a:lnTo>
                <a:lnTo>
                  <a:pt x="1335" y="5558"/>
                </a:lnTo>
                <a:lnTo>
                  <a:pt x="1296" y="5526"/>
                </a:lnTo>
                <a:lnTo>
                  <a:pt x="1259" y="5493"/>
                </a:lnTo>
                <a:lnTo>
                  <a:pt x="1223" y="5461"/>
                </a:lnTo>
                <a:lnTo>
                  <a:pt x="1185" y="5426"/>
                </a:lnTo>
                <a:lnTo>
                  <a:pt x="1150" y="5392"/>
                </a:lnTo>
                <a:lnTo>
                  <a:pt x="1114" y="5357"/>
                </a:lnTo>
                <a:lnTo>
                  <a:pt x="1114" y="5357"/>
                </a:lnTo>
                <a:close/>
                <a:moveTo>
                  <a:pt x="4003" y="6149"/>
                </a:moveTo>
                <a:lnTo>
                  <a:pt x="4003" y="6149"/>
                </a:lnTo>
                <a:lnTo>
                  <a:pt x="4035" y="6117"/>
                </a:lnTo>
                <a:lnTo>
                  <a:pt x="4066" y="6085"/>
                </a:lnTo>
                <a:lnTo>
                  <a:pt x="4096" y="6052"/>
                </a:lnTo>
                <a:lnTo>
                  <a:pt x="4127" y="6017"/>
                </a:lnTo>
                <a:lnTo>
                  <a:pt x="4158" y="5981"/>
                </a:lnTo>
                <a:lnTo>
                  <a:pt x="4187" y="5944"/>
                </a:lnTo>
                <a:lnTo>
                  <a:pt x="4217" y="5905"/>
                </a:lnTo>
                <a:lnTo>
                  <a:pt x="4244" y="5866"/>
                </a:lnTo>
                <a:lnTo>
                  <a:pt x="4273" y="5825"/>
                </a:lnTo>
                <a:lnTo>
                  <a:pt x="4301" y="5782"/>
                </a:lnTo>
                <a:lnTo>
                  <a:pt x="4329" y="5739"/>
                </a:lnTo>
                <a:lnTo>
                  <a:pt x="4355" y="5695"/>
                </a:lnTo>
                <a:lnTo>
                  <a:pt x="4382" y="5649"/>
                </a:lnTo>
                <a:lnTo>
                  <a:pt x="4408" y="5602"/>
                </a:lnTo>
                <a:lnTo>
                  <a:pt x="4434" y="5554"/>
                </a:lnTo>
                <a:lnTo>
                  <a:pt x="4459" y="5505"/>
                </a:lnTo>
                <a:lnTo>
                  <a:pt x="4459" y="5505"/>
                </a:lnTo>
                <a:lnTo>
                  <a:pt x="4483" y="5456"/>
                </a:lnTo>
                <a:lnTo>
                  <a:pt x="4506" y="5407"/>
                </a:lnTo>
                <a:lnTo>
                  <a:pt x="4529" y="5356"/>
                </a:lnTo>
                <a:lnTo>
                  <a:pt x="4552" y="5304"/>
                </a:lnTo>
                <a:lnTo>
                  <a:pt x="4574" y="5252"/>
                </a:lnTo>
                <a:lnTo>
                  <a:pt x="4594" y="5199"/>
                </a:lnTo>
                <a:lnTo>
                  <a:pt x="4615" y="5145"/>
                </a:lnTo>
                <a:lnTo>
                  <a:pt x="4634" y="5091"/>
                </a:lnTo>
                <a:lnTo>
                  <a:pt x="4634" y="5091"/>
                </a:lnTo>
                <a:lnTo>
                  <a:pt x="4735" y="5117"/>
                </a:lnTo>
                <a:lnTo>
                  <a:pt x="4834" y="5146"/>
                </a:lnTo>
                <a:lnTo>
                  <a:pt x="4930" y="5178"/>
                </a:lnTo>
                <a:lnTo>
                  <a:pt x="5025" y="5209"/>
                </a:lnTo>
                <a:lnTo>
                  <a:pt x="5117" y="5244"/>
                </a:lnTo>
                <a:lnTo>
                  <a:pt x="5207" y="5280"/>
                </a:lnTo>
                <a:lnTo>
                  <a:pt x="5293" y="5317"/>
                </a:lnTo>
                <a:lnTo>
                  <a:pt x="5378" y="5357"/>
                </a:lnTo>
                <a:lnTo>
                  <a:pt x="5378" y="5357"/>
                </a:lnTo>
                <a:lnTo>
                  <a:pt x="5342" y="5392"/>
                </a:lnTo>
                <a:lnTo>
                  <a:pt x="5307" y="5427"/>
                </a:lnTo>
                <a:lnTo>
                  <a:pt x="5269" y="5461"/>
                </a:lnTo>
                <a:lnTo>
                  <a:pt x="5233" y="5493"/>
                </a:lnTo>
                <a:lnTo>
                  <a:pt x="5196" y="5526"/>
                </a:lnTo>
                <a:lnTo>
                  <a:pt x="5157" y="5558"/>
                </a:lnTo>
                <a:lnTo>
                  <a:pt x="5119" y="5590"/>
                </a:lnTo>
                <a:lnTo>
                  <a:pt x="5079" y="5620"/>
                </a:lnTo>
                <a:lnTo>
                  <a:pt x="5040" y="5650"/>
                </a:lnTo>
                <a:lnTo>
                  <a:pt x="4999" y="5680"/>
                </a:lnTo>
                <a:lnTo>
                  <a:pt x="4959" y="5709"/>
                </a:lnTo>
                <a:lnTo>
                  <a:pt x="4917" y="5737"/>
                </a:lnTo>
                <a:lnTo>
                  <a:pt x="4876" y="5764"/>
                </a:lnTo>
                <a:lnTo>
                  <a:pt x="4834" y="5791"/>
                </a:lnTo>
                <a:lnTo>
                  <a:pt x="4792" y="5817"/>
                </a:lnTo>
                <a:lnTo>
                  <a:pt x="4748" y="5843"/>
                </a:lnTo>
                <a:lnTo>
                  <a:pt x="4705" y="5867"/>
                </a:lnTo>
                <a:lnTo>
                  <a:pt x="4660" y="5891"/>
                </a:lnTo>
                <a:lnTo>
                  <a:pt x="4616" y="5915"/>
                </a:lnTo>
                <a:lnTo>
                  <a:pt x="4571" y="5937"/>
                </a:lnTo>
                <a:lnTo>
                  <a:pt x="4527" y="5960"/>
                </a:lnTo>
                <a:lnTo>
                  <a:pt x="4481" y="5980"/>
                </a:lnTo>
                <a:lnTo>
                  <a:pt x="4435" y="6001"/>
                </a:lnTo>
                <a:lnTo>
                  <a:pt x="4388" y="6020"/>
                </a:lnTo>
                <a:lnTo>
                  <a:pt x="4341" y="6039"/>
                </a:lnTo>
                <a:lnTo>
                  <a:pt x="4294" y="6057"/>
                </a:lnTo>
                <a:lnTo>
                  <a:pt x="4247" y="6074"/>
                </a:lnTo>
                <a:lnTo>
                  <a:pt x="4199" y="6091"/>
                </a:lnTo>
                <a:lnTo>
                  <a:pt x="4150" y="6107"/>
                </a:lnTo>
                <a:lnTo>
                  <a:pt x="4101" y="6121"/>
                </a:lnTo>
                <a:lnTo>
                  <a:pt x="4053" y="6135"/>
                </a:lnTo>
                <a:lnTo>
                  <a:pt x="4003" y="6149"/>
                </a:lnTo>
                <a:lnTo>
                  <a:pt x="4003" y="6149"/>
                </a:lnTo>
                <a:close/>
                <a:moveTo>
                  <a:pt x="5547" y="5173"/>
                </a:moveTo>
                <a:lnTo>
                  <a:pt x="5547" y="5173"/>
                </a:lnTo>
                <a:lnTo>
                  <a:pt x="5500" y="5149"/>
                </a:lnTo>
                <a:lnTo>
                  <a:pt x="5453" y="5126"/>
                </a:lnTo>
                <a:lnTo>
                  <a:pt x="5404" y="5103"/>
                </a:lnTo>
                <a:lnTo>
                  <a:pt x="5356" y="5081"/>
                </a:lnTo>
                <a:lnTo>
                  <a:pt x="5307" y="5060"/>
                </a:lnTo>
                <a:lnTo>
                  <a:pt x="5256" y="5039"/>
                </a:lnTo>
                <a:lnTo>
                  <a:pt x="5204" y="5019"/>
                </a:lnTo>
                <a:lnTo>
                  <a:pt x="5152" y="4999"/>
                </a:lnTo>
                <a:lnTo>
                  <a:pt x="5099" y="4980"/>
                </a:lnTo>
                <a:lnTo>
                  <a:pt x="5046" y="4961"/>
                </a:lnTo>
                <a:lnTo>
                  <a:pt x="4992" y="4943"/>
                </a:lnTo>
                <a:lnTo>
                  <a:pt x="4937" y="4926"/>
                </a:lnTo>
                <a:lnTo>
                  <a:pt x="4881" y="4909"/>
                </a:lnTo>
                <a:lnTo>
                  <a:pt x="4824" y="4892"/>
                </a:lnTo>
                <a:lnTo>
                  <a:pt x="4767" y="4877"/>
                </a:lnTo>
                <a:lnTo>
                  <a:pt x="4709" y="4861"/>
                </a:lnTo>
                <a:lnTo>
                  <a:pt x="4709" y="4861"/>
                </a:lnTo>
                <a:lnTo>
                  <a:pt x="4734" y="4775"/>
                </a:lnTo>
                <a:lnTo>
                  <a:pt x="4757" y="4689"/>
                </a:lnTo>
                <a:lnTo>
                  <a:pt x="4779" y="4601"/>
                </a:lnTo>
                <a:lnTo>
                  <a:pt x="4798" y="4512"/>
                </a:lnTo>
                <a:lnTo>
                  <a:pt x="4817" y="4421"/>
                </a:lnTo>
                <a:lnTo>
                  <a:pt x="4834" y="4330"/>
                </a:lnTo>
                <a:lnTo>
                  <a:pt x="4851" y="4237"/>
                </a:lnTo>
                <a:lnTo>
                  <a:pt x="4865" y="4143"/>
                </a:lnTo>
                <a:lnTo>
                  <a:pt x="4879" y="4048"/>
                </a:lnTo>
                <a:lnTo>
                  <a:pt x="4889" y="3953"/>
                </a:lnTo>
                <a:lnTo>
                  <a:pt x="4900" y="3856"/>
                </a:lnTo>
                <a:lnTo>
                  <a:pt x="4909" y="3759"/>
                </a:lnTo>
                <a:lnTo>
                  <a:pt x="4916" y="3661"/>
                </a:lnTo>
                <a:lnTo>
                  <a:pt x="4921" y="3562"/>
                </a:lnTo>
                <a:lnTo>
                  <a:pt x="4926" y="3463"/>
                </a:lnTo>
                <a:lnTo>
                  <a:pt x="4928" y="3363"/>
                </a:lnTo>
                <a:lnTo>
                  <a:pt x="6248" y="3363"/>
                </a:lnTo>
                <a:lnTo>
                  <a:pt x="6248" y="3363"/>
                </a:lnTo>
                <a:lnTo>
                  <a:pt x="6245" y="3427"/>
                </a:lnTo>
                <a:lnTo>
                  <a:pt x="6241" y="3491"/>
                </a:lnTo>
                <a:lnTo>
                  <a:pt x="6235" y="3555"/>
                </a:lnTo>
                <a:lnTo>
                  <a:pt x="6228" y="3618"/>
                </a:lnTo>
                <a:lnTo>
                  <a:pt x="6219" y="3682"/>
                </a:lnTo>
                <a:lnTo>
                  <a:pt x="6210" y="3743"/>
                </a:lnTo>
                <a:lnTo>
                  <a:pt x="6198" y="3806"/>
                </a:lnTo>
                <a:lnTo>
                  <a:pt x="6186" y="3867"/>
                </a:lnTo>
                <a:lnTo>
                  <a:pt x="6172" y="3927"/>
                </a:lnTo>
                <a:lnTo>
                  <a:pt x="6157" y="3987"/>
                </a:lnTo>
                <a:lnTo>
                  <a:pt x="6141" y="4048"/>
                </a:lnTo>
                <a:lnTo>
                  <a:pt x="6124" y="4108"/>
                </a:lnTo>
                <a:lnTo>
                  <a:pt x="6105" y="4167"/>
                </a:lnTo>
                <a:lnTo>
                  <a:pt x="6086" y="4225"/>
                </a:lnTo>
                <a:lnTo>
                  <a:pt x="6065" y="4283"/>
                </a:lnTo>
                <a:lnTo>
                  <a:pt x="6043" y="4340"/>
                </a:lnTo>
                <a:lnTo>
                  <a:pt x="6021" y="4397"/>
                </a:lnTo>
                <a:lnTo>
                  <a:pt x="5995" y="4454"/>
                </a:lnTo>
                <a:lnTo>
                  <a:pt x="5970" y="4509"/>
                </a:lnTo>
                <a:lnTo>
                  <a:pt x="5945" y="4565"/>
                </a:lnTo>
                <a:lnTo>
                  <a:pt x="5917" y="4619"/>
                </a:lnTo>
                <a:lnTo>
                  <a:pt x="5888" y="4673"/>
                </a:lnTo>
                <a:lnTo>
                  <a:pt x="5858" y="4726"/>
                </a:lnTo>
                <a:lnTo>
                  <a:pt x="5828" y="4778"/>
                </a:lnTo>
                <a:lnTo>
                  <a:pt x="5796" y="4830"/>
                </a:lnTo>
                <a:lnTo>
                  <a:pt x="5764" y="4881"/>
                </a:lnTo>
                <a:lnTo>
                  <a:pt x="5730" y="4932"/>
                </a:lnTo>
                <a:lnTo>
                  <a:pt x="5695" y="4981"/>
                </a:lnTo>
                <a:lnTo>
                  <a:pt x="5659" y="5030"/>
                </a:lnTo>
                <a:lnTo>
                  <a:pt x="5623" y="5078"/>
                </a:lnTo>
                <a:lnTo>
                  <a:pt x="5585" y="5126"/>
                </a:lnTo>
                <a:lnTo>
                  <a:pt x="5547" y="5173"/>
                </a:lnTo>
                <a:lnTo>
                  <a:pt x="5547" y="5173"/>
                </a:lnTo>
                <a:close/>
              </a:path>
            </a:pathLst>
          </a:custGeom>
          <a:solidFill>
            <a:schemeClr val="tx1"/>
          </a:solidFill>
          <a:ln>
            <a:noFill/>
          </a:ln>
        </p:spPr>
        <p:txBody>
          <a:bodyPr vert="horz" wrap="square" lIns="121807" tIns="60904" rIns="121807" bIns="60904" numCol="1" anchor="t" anchorCtr="0" compatLnSpc="1">
            <a:prstTxWarp prst="textNoShape">
              <a:avLst/>
            </a:prstTxWarp>
          </a:bodyPr>
          <a:lstStyle/>
          <a:p>
            <a:endParaRPr lang="en-US" sz="2395"/>
          </a:p>
        </p:txBody>
      </p:sp>
      <p:sp>
        <p:nvSpPr>
          <p:cNvPr id="15" name="Freeform 867">
            <a:extLst>
              <a:ext uri="{FF2B5EF4-FFF2-40B4-BE49-F238E27FC236}">
                <a16:creationId xmlns:a16="http://schemas.microsoft.com/office/drawing/2014/main" id="{45EF52A8-79B1-1226-C6D3-BFAE54AA0213}"/>
              </a:ext>
              <a:ext uri="{C183D7F6-B498-43B3-948B-1728B52AA6E4}">
                <adec:decorative xmlns:adec="http://schemas.microsoft.com/office/drawing/2017/decorative" val="1"/>
              </a:ext>
            </a:extLst>
          </p:cNvPr>
          <p:cNvSpPr>
            <a:spLocks noChangeAspect="1" noEditPoints="1"/>
          </p:cNvSpPr>
          <p:nvPr/>
        </p:nvSpPr>
        <p:spPr bwMode="auto">
          <a:xfrm>
            <a:off x="1527007" y="5063978"/>
            <a:ext cx="779885" cy="779163"/>
          </a:xfrm>
          <a:custGeom>
            <a:avLst/>
            <a:gdLst>
              <a:gd name="T0" fmla="*/ 5633 w 6492"/>
              <a:gd name="T1" fmla="*/ 4139 h 6486"/>
              <a:gd name="T2" fmla="*/ 5526 w 6492"/>
              <a:gd name="T3" fmla="*/ 4134 h 6486"/>
              <a:gd name="T4" fmla="*/ 5468 w 6492"/>
              <a:gd name="T5" fmla="*/ 4069 h 6486"/>
              <a:gd name="T6" fmla="*/ 5479 w 6492"/>
              <a:gd name="T7" fmla="*/ 3953 h 6486"/>
              <a:gd name="T8" fmla="*/ 4121 w 6492"/>
              <a:gd name="T9" fmla="*/ 3355 h 6486"/>
              <a:gd name="T10" fmla="*/ 4055 w 6492"/>
              <a:gd name="T11" fmla="*/ 3256 h 6486"/>
              <a:gd name="T12" fmla="*/ 4092 w 6492"/>
              <a:gd name="T13" fmla="*/ 3154 h 6486"/>
              <a:gd name="T14" fmla="*/ 5496 w 6492"/>
              <a:gd name="T15" fmla="*/ 2554 h 6486"/>
              <a:gd name="T16" fmla="*/ 5459 w 6492"/>
              <a:gd name="T17" fmla="*/ 2452 h 6486"/>
              <a:gd name="T18" fmla="*/ 5496 w 6492"/>
              <a:gd name="T19" fmla="*/ 2374 h 6486"/>
              <a:gd name="T20" fmla="*/ 5609 w 6492"/>
              <a:gd name="T21" fmla="*/ 2339 h 6486"/>
              <a:gd name="T22" fmla="*/ 6467 w 6492"/>
              <a:gd name="T23" fmla="*/ 3166 h 6486"/>
              <a:gd name="T24" fmla="*/ 6487 w 6492"/>
              <a:gd name="T25" fmla="*/ 3207 h 6486"/>
              <a:gd name="T26" fmla="*/ 6480 w 6492"/>
              <a:gd name="T27" fmla="*/ 3296 h 6486"/>
              <a:gd name="T28" fmla="*/ 6474 w 6492"/>
              <a:gd name="T29" fmla="*/ 3309 h 6486"/>
              <a:gd name="T30" fmla="*/ 2400 w 6492"/>
              <a:gd name="T31" fmla="*/ 3154 h 6486"/>
              <a:gd name="T32" fmla="*/ 997 w 6492"/>
              <a:gd name="T33" fmla="*/ 2554 h 6486"/>
              <a:gd name="T34" fmla="*/ 1033 w 6492"/>
              <a:gd name="T35" fmla="*/ 2452 h 6486"/>
              <a:gd name="T36" fmla="*/ 996 w 6492"/>
              <a:gd name="T37" fmla="*/ 2374 h 6486"/>
              <a:gd name="T38" fmla="*/ 883 w 6492"/>
              <a:gd name="T39" fmla="*/ 2339 h 6486"/>
              <a:gd name="T40" fmla="*/ 18 w 6492"/>
              <a:gd name="T41" fmla="*/ 3177 h 6486"/>
              <a:gd name="T42" fmla="*/ 12 w 6492"/>
              <a:gd name="T43" fmla="*/ 3189 h 6486"/>
              <a:gd name="T44" fmla="*/ 5 w 6492"/>
              <a:gd name="T45" fmla="*/ 3277 h 6486"/>
              <a:gd name="T46" fmla="*/ 23 w 6492"/>
              <a:gd name="T47" fmla="*/ 3315 h 6486"/>
              <a:gd name="T48" fmla="*/ 818 w 6492"/>
              <a:gd name="T49" fmla="*/ 4113 h 6486"/>
              <a:gd name="T50" fmla="*/ 919 w 6492"/>
              <a:gd name="T51" fmla="*/ 4149 h 6486"/>
              <a:gd name="T52" fmla="*/ 997 w 6492"/>
              <a:gd name="T53" fmla="*/ 4112 h 6486"/>
              <a:gd name="T54" fmla="*/ 1031 w 6492"/>
              <a:gd name="T55" fmla="*/ 3998 h 6486"/>
              <a:gd name="T56" fmla="*/ 2324 w 6492"/>
              <a:gd name="T57" fmla="*/ 3369 h 6486"/>
              <a:gd name="T58" fmla="*/ 2422 w 6492"/>
              <a:gd name="T59" fmla="*/ 3303 h 6486"/>
              <a:gd name="T60" fmla="*/ 2396 w 6492"/>
              <a:gd name="T61" fmla="*/ 1012 h 6486"/>
              <a:gd name="T62" fmla="*/ 2514 w 6492"/>
              <a:gd name="T63" fmla="*/ 1023 h 6486"/>
              <a:gd name="T64" fmla="*/ 3124 w 6492"/>
              <a:gd name="T65" fmla="*/ 2346 h 6486"/>
              <a:gd name="T66" fmla="*/ 3209 w 6492"/>
              <a:gd name="T67" fmla="*/ 2430 h 6486"/>
              <a:gd name="T68" fmla="*/ 3317 w 6492"/>
              <a:gd name="T69" fmla="*/ 2413 h 6486"/>
              <a:gd name="T70" fmla="*/ 3373 w 6492"/>
              <a:gd name="T71" fmla="*/ 2308 h 6486"/>
              <a:gd name="T72" fmla="*/ 3989 w 6492"/>
              <a:gd name="T73" fmla="*/ 1028 h 6486"/>
              <a:gd name="T74" fmla="*/ 4096 w 6492"/>
              <a:gd name="T75" fmla="*/ 1012 h 6486"/>
              <a:gd name="T76" fmla="*/ 4148 w 6492"/>
              <a:gd name="T77" fmla="*/ 942 h 6486"/>
              <a:gd name="T78" fmla="*/ 4124 w 6492"/>
              <a:gd name="T79" fmla="*/ 825 h 6486"/>
              <a:gd name="T80" fmla="*/ 3307 w 6492"/>
              <a:gd name="T81" fmla="*/ 16 h 6486"/>
              <a:gd name="T82" fmla="*/ 3274 w 6492"/>
              <a:gd name="T83" fmla="*/ 2 h 6486"/>
              <a:gd name="T84" fmla="*/ 3176 w 6492"/>
              <a:gd name="T85" fmla="*/ 20 h 6486"/>
              <a:gd name="T86" fmla="*/ 2367 w 6492"/>
              <a:gd name="T87" fmla="*/ 826 h 6486"/>
              <a:gd name="T88" fmla="*/ 2344 w 6492"/>
              <a:gd name="T89" fmla="*/ 942 h 6486"/>
              <a:gd name="T90" fmla="*/ 4115 w 6492"/>
              <a:gd name="T91" fmla="*/ 5490 h 6486"/>
              <a:gd name="T92" fmla="*/ 4002 w 6492"/>
              <a:gd name="T93" fmla="*/ 5456 h 6486"/>
              <a:gd name="T94" fmla="*/ 3373 w 6492"/>
              <a:gd name="T95" fmla="*/ 4165 h 6486"/>
              <a:gd name="T96" fmla="*/ 3306 w 6492"/>
              <a:gd name="T97" fmla="*/ 4066 h 6486"/>
              <a:gd name="T98" fmla="*/ 3197 w 6492"/>
              <a:gd name="T99" fmla="*/ 4061 h 6486"/>
              <a:gd name="T100" fmla="*/ 3122 w 6492"/>
              <a:gd name="T101" fmla="*/ 4153 h 6486"/>
              <a:gd name="T102" fmla="*/ 2502 w 6492"/>
              <a:gd name="T103" fmla="*/ 5458 h 6486"/>
              <a:gd name="T104" fmla="*/ 2386 w 6492"/>
              <a:gd name="T105" fmla="*/ 5481 h 6486"/>
              <a:gd name="T106" fmla="*/ 2342 w 6492"/>
              <a:gd name="T107" fmla="*/ 5556 h 6486"/>
              <a:gd name="T108" fmla="*/ 2377 w 6492"/>
              <a:gd name="T109" fmla="*/ 5670 h 6486"/>
              <a:gd name="T110" fmla="*/ 3207 w 6492"/>
              <a:gd name="T111" fmla="*/ 6480 h 6486"/>
              <a:gd name="T112" fmla="*/ 3239 w 6492"/>
              <a:gd name="T113" fmla="*/ 6486 h 6486"/>
              <a:gd name="T114" fmla="*/ 3259 w 6492"/>
              <a:gd name="T115" fmla="*/ 6486 h 6486"/>
              <a:gd name="T116" fmla="*/ 3294 w 6492"/>
              <a:gd name="T117" fmla="*/ 6476 h 6486"/>
              <a:gd name="T118" fmla="*/ 4125 w 6492"/>
              <a:gd name="T119" fmla="*/ 5660 h 6486"/>
              <a:gd name="T120" fmla="*/ 4148 w 6492"/>
              <a:gd name="T121" fmla="*/ 5544 h 6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492" h="6486">
                <a:moveTo>
                  <a:pt x="6474" y="3309"/>
                </a:moveTo>
                <a:lnTo>
                  <a:pt x="6474" y="3309"/>
                </a:lnTo>
                <a:lnTo>
                  <a:pt x="6465" y="3321"/>
                </a:lnTo>
                <a:lnTo>
                  <a:pt x="6456" y="3332"/>
                </a:lnTo>
                <a:lnTo>
                  <a:pt x="5676" y="4112"/>
                </a:lnTo>
                <a:lnTo>
                  <a:pt x="5676" y="4112"/>
                </a:lnTo>
                <a:lnTo>
                  <a:pt x="5666" y="4120"/>
                </a:lnTo>
                <a:lnTo>
                  <a:pt x="5655" y="4127"/>
                </a:lnTo>
                <a:lnTo>
                  <a:pt x="5646" y="4134"/>
                </a:lnTo>
                <a:lnTo>
                  <a:pt x="5633" y="4139"/>
                </a:lnTo>
                <a:lnTo>
                  <a:pt x="5623" y="4144"/>
                </a:lnTo>
                <a:lnTo>
                  <a:pt x="5611" y="4147"/>
                </a:lnTo>
                <a:lnTo>
                  <a:pt x="5599" y="4149"/>
                </a:lnTo>
                <a:lnTo>
                  <a:pt x="5585" y="4149"/>
                </a:lnTo>
                <a:lnTo>
                  <a:pt x="5585" y="4149"/>
                </a:lnTo>
                <a:lnTo>
                  <a:pt x="5573" y="4149"/>
                </a:lnTo>
                <a:lnTo>
                  <a:pt x="5561" y="4147"/>
                </a:lnTo>
                <a:lnTo>
                  <a:pt x="5549" y="4144"/>
                </a:lnTo>
                <a:lnTo>
                  <a:pt x="5537" y="4139"/>
                </a:lnTo>
                <a:lnTo>
                  <a:pt x="5526" y="4134"/>
                </a:lnTo>
                <a:lnTo>
                  <a:pt x="5515" y="4128"/>
                </a:lnTo>
                <a:lnTo>
                  <a:pt x="5506" y="4120"/>
                </a:lnTo>
                <a:lnTo>
                  <a:pt x="5496" y="4112"/>
                </a:lnTo>
                <a:lnTo>
                  <a:pt x="5496" y="4112"/>
                </a:lnTo>
                <a:lnTo>
                  <a:pt x="5495" y="4112"/>
                </a:lnTo>
                <a:lnTo>
                  <a:pt x="5495" y="4112"/>
                </a:lnTo>
                <a:lnTo>
                  <a:pt x="5486" y="4102"/>
                </a:lnTo>
                <a:lnTo>
                  <a:pt x="5479" y="4092"/>
                </a:lnTo>
                <a:lnTo>
                  <a:pt x="5473" y="4081"/>
                </a:lnTo>
                <a:lnTo>
                  <a:pt x="5468" y="4069"/>
                </a:lnTo>
                <a:lnTo>
                  <a:pt x="5463" y="4059"/>
                </a:lnTo>
                <a:lnTo>
                  <a:pt x="5461" y="4047"/>
                </a:lnTo>
                <a:lnTo>
                  <a:pt x="5459" y="4034"/>
                </a:lnTo>
                <a:lnTo>
                  <a:pt x="5459" y="4022"/>
                </a:lnTo>
                <a:lnTo>
                  <a:pt x="5459" y="4010"/>
                </a:lnTo>
                <a:lnTo>
                  <a:pt x="5461" y="3998"/>
                </a:lnTo>
                <a:lnTo>
                  <a:pt x="5463" y="3986"/>
                </a:lnTo>
                <a:lnTo>
                  <a:pt x="5468" y="3974"/>
                </a:lnTo>
                <a:lnTo>
                  <a:pt x="5473" y="3963"/>
                </a:lnTo>
                <a:lnTo>
                  <a:pt x="5479" y="3953"/>
                </a:lnTo>
                <a:lnTo>
                  <a:pt x="5486" y="3942"/>
                </a:lnTo>
                <a:lnTo>
                  <a:pt x="5495" y="3932"/>
                </a:lnTo>
                <a:lnTo>
                  <a:pt x="6058" y="3369"/>
                </a:lnTo>
                <a:lnTo>
                  <a:pt x="4182" y="3369"/>
                </a:lnTo>
                <a:lnTo>
                  <a:pt x="4182" y="3369"/>
                </a:lnTo>
                <a:lnTo>
                  <a:pt x="4168" y="3369"/>
                </a:lnTo>
                <a:lnTo>
                  <a:pt x="4156" y="3367"/>
                </a:lnTo>
                <a:lnTo>
                  <a:pt x="4144" y="3365"/>
                </a:lnTo>
                <a:lnTo>
                  <a:pt x="4132" y="3360"/>
                </a:lnTo>
                <a:lnTo>
                  <a:pt x="4121" y="3355"/>
                </a:lnTo>
                <a:lnTo>
                  <a:pt x="4111" y="3348"/>
                </a:lnTo>
                <a:lnTo>
                  <a:pt x="4101" y="3341"/>
                </a:lnTo>
                <a:lnTo>
                  <a:pt x="4092" y="3332"/>
                </a:lnTo>
                <a:lnTo>
                  <a:pt x="4084" y="3324"/>
                </a:lnTo>
                <a:lnTo>
                  <a:pt x="4077" y="3314"/>
                </a:lnTo>
                <a:lnTo>
                  <a:pt x="4070" y="3303"/>
                </a:lnTo>
                <a:lnTo>
                  <a:pt x="4065" y="3292"/>
                </a:lnTo>
                <a:lnTo>
                  <a:pt x="4060" y="3280"/>
                </a:lnTo>
                <a:lnTo>
                  <a:pt x="4058" y="3268"/>
                </a:lnTo>
                <a:lnTo>
                  <a:pt x="4055" y="3256"/>
                </a:lnTo>
                <a:lnTo>
                  <a:pt x="4055" y="3243"/>
                </a:lnTo>
                <a:lnTo>
                  <a:pt x="4055" y="3243"/>
                </a:lnTo>
                <a:lnTo>
                  <a:pt x="4055" y="3230"/>
                </a:lnTo>
                <a:lnTo>
                  <a:pt x="4058" y="3218"/>
                </a:lnTo>
                <a:lnTo>
                  <a:pt x="4060" y="3206"/>
                </a:lnTo>
                <a:lnTo>
                  <a:pt x="4065" y="3194"/>
                </a:lnTo>
                <a:lnTo>
                  <a:pt x="4070" y="3183"/>
                </a:lnTo>
                <a:lnTo>
                  <a:pt x="4077" y="3172"/>
                </a:lnTo>
                <a:lnTo>
                  <a:pt x="4084" y="3162"/>
                </a:lnTo>
                <a:lnTo>
                  <a:pt x="4092" y="3154"/>
                </a:lnTo>
                <a:lnTo>
                  <a:pt x="4101" y="3145"/>
                </a:lnTo>
                <a:lnTo>
                  <a:pt x="4111" y="3138"/>
                </a:lnTo>
                <a:lnTo>
                  <a:pt x="4121" y="3131"/>
                </a:lnTo>
                <a:lnTo>
                  <a:pt x="4132" y="3126"/>
                </a:lnTo>
                <a:lnTo>
                  <a:pt x="4144" y="3121"/>
                </a:lnTo>
                <a:lnTo>
                  <a:pt x="4156" y="3119"/>
                </a:lnTo>
                <a:lnTo>
                  <a:pt x="4168" y="3117"/>
                </a:lnTo>
                <a:lnTo>
                  <a:pt x="4182" y="3117"/>
                </a:lnTo>
                <a:lnTo>
                  <a:pt x="6058" y="3117"/>
                </a:lnTo>
                <a:lnTo>
                  <a:pt x="5496" y="2554"/>
                </a:lnTo>
                <a:lnTo>
                  <a:pt x="5496" y="2554"/>
                </a:lnTo>
                <a:lnTo>
                  <a:pt x="5486" y="2544"/>
                </a:lnTo>
                <a:lnTo>
                  <a:pt x="5479" y="2533"/>
                </a:lnTo>
                <a:lnTo>
                  <a:pt x="5473" y="2523"/>
                </a:lnTo>
                <a:lnTo>
                  <a:pt x="5468" y="2512"/>
                </a:lnTo>
                <a:lnTo>
                  <a:pt x="5463" y="2500"/>
                </a:lnTo>
                <a:lnTo>
                  <a:pt x="5461" y="2488"/>
                </a:lnTo>
                <a:lnTo>
                  <a:pt x="5459" y="2476"/>
                </a:lnTo>
                <a:lnTo>
                  <a:pt x="5459" y="2464"/>
                </a:lnTo>
                <a:lnTo>
                  <a:pt x="5459" y="2452"/>
                </a:lnTo>
                <a:lnTo>
                  <a:pt x="5461" y="2439"/>
                </a:lnTo>
                <a:lnTo>
                  <a:pt x="5463" y="2427"/>
                </a:lnTo>
                <a:lnTo>
                  <a:pt x="5468" y="2417"/>
                </a:lnTo>
                <a:lnTo>
                  <a:pt x="5473" y="2405"/>
                </a:lnTo>
                <a:lnTo>
                  <a:pt x="5479" y="2394"/>
                </a:lnTo>
                <a:lnTo>
                  <a:pt x="5486" y="2384"/>
                </a:lnTo>
                <a:lnTo>
                  <a:pt x="5495" y="2374"/>
                </a:lnTo>
                <a:lnTo>
                  <a:pt x="5495" y="2374"/>
                </a:lnTo>
                <a:lnTo>
                  <a:pt x="5496" y="2374"/>
                </a:lnTo>
                <a:lnTo>
                  <a:pt x="5496" y="2374"/>
                </a:lnTo>
                <a:lnTo>
                  <a:pt x="5506" y="2365"/>
                </a:lnTo>
                <a:lnTo>
                  <a:pt x="5515" y="2358"/>
                </a:lnTo>
                <a:lnTo>
                  <a:pt x="5526" y="2352"/>
                </a:lnTo>
                <a:lnTo>
                  <a:pt x="5538" y="2347"/>
                </a:lnTo>
                <a:lnTo>
                  <a:pt x="5549" y="2342"/>
                </a:lnTo>
                <a:lnTo>
                  <a:pt x="5561" y="2339"/>
                </a:lnTo>
                <a:lnTo>
                  <a:pt x="5573" y="2337"/>
                </a:lnTo>
                <a:lnTo>
                  <a:pt x="5585" y="2337"/>
                </a:lnTo>
                <a:lnTo>
                  <a:pt x="5597" y="2338"/>
                </a:lnTo>
                <a:lnTo>
                  <a:pt x="5609" y="2339"/>
                </a:lnTo>
                <a:lnTo>
                  <a:pt x="5621" y="2342"/>
                </a:lnTo>
                <a:lnTo>
                  <a:pt x="5633" y="2347"/>
                </a:lnTo>
                <a:lnTo>
                  <a:pt x="5644" y="2352"/>
                </a:lnTo>
                <a:lnTo>
                  <a:pt x="5655" y="2358"/>
                </a:lnTo>
                <a:lnTo>
                  <a:pt x="5666" y="2365"/>
                </a:lnTo>
                <a:lnTo>
                  <a:pt x="5674" y="2374"/>
                </a:lnTo>
                <a:lnTo>
                  <a:pt x="6455" y="3153"/>
                </a:lnTo>
                <a:lnTo>
                  <a:pt x="6455" y="3153"/>
                </a:lnTo>
                <a:lnTo>
                  <a:pt x="6467" y="3166"/>
                </a:lnTo>
                <a:lnTo>
                  <a:pt x="6467" y="3166"/>
                </a:lnTo>
                <a:lnTo>
                  <a:pt x="6467" y="3167"/>
                </a:lnTo>
                <a:lnTo>
                  <a:pt x="6467" y="3167"/>
                </a:lnTo>
                <a:lnTo>
                  <a:pt x="6469" y="3170"/>
                </a:lnTo>
                <a:lnTo>
                  <a:pt x="6469" y="3170"/>
                </a:lnTo>
                <a:lnTo>
                  <a:pt x="6472" y="3173"/>
                </a:lnTo>
                <a:lnTo>
                  <a:pt x="6472" y="3173"/>
                </a:lnTo>
                <a:lnTo>
                  <a:pt x="6472" y="3174"/>
                </a:lnTo>
                <a:lnTo>
                  <a:pt x="6472" y="3174"/>
                </a:lnTo>
                <a:lnTo>
                  <a:pt x="6480" y="3190"/>
                </a:lnTo>
                <a:lnTo>
                  <a:pt x="6487" y="3207"/>
                </a:lnTo>
                <a:lnTo>
                  <a:pt x="6491" y="3224"/>
                </a:lnTo>
                <a:lnTo>
                  <a:pt x="6492" y="3243"/>
                </a:lnTo>
                <a:lnTo>
                  <a:pt x="6492" y="3243"/>
                </a:lnTo>
                <a:lnTo>
                  <a:pt x="6492" y="3257"/>
                </a:lnTo>
                <a:lnTo>
                  <a:pt x="6490" y="3271"/>
                </a:lnTo>
                <a:lnTo>
                  <a:pt x="6486" y="3284"/>
                </a:lnTo>
                <a:lnTo>
                  <a:pt x="6481" y="3296"/>
                </a:lnTo>
                <a:lnTo>
                  <a:pt x="6481" y="3296"/>
                </a:lnTo>
                <a:lnTo>
                  <a:pt x="6480" y="3296"/>
                </a:lnTo>
                <a:lnTo>
                  <a:pt x="6480" y="3296"/>
                </a:lnTo>
                <a:lnTo>
                  <a:pt x="6479" y="3301"/>
                </a:lnTo>
                <a:lnTo>
                  <a:pt x="6479" y="3301"/>
                </a:lnTo>
                <a:lnTo>
                  <a:pt x="6478" y="3303"/>
                </a:lnTo>
                <a:lnTo>
                  <a:pt x="6478" y="3303"/>
                </a:lnTo>
                <a:lnTo>
                  <a:pt x="6476" y="3304"/>
                </a:lnTo>
                <a:lnTo>
                  <a:pt x="6476" y="3304"/>
                </a:lnTo>
                <a:lnTo>
                  <a:pt x="6474" y="3308"/>
                </a:lnTo>
                <a:lnTo>
                  <a:pt x="6474" y="3308"/>
                </a:lnTo>
                <a:lnTo>
                  <a:pt x="6474" y="3309"/>
                </a:lnTo>
                <a:lnTo>
                  <a:pt x="6474" y="3309"/>
                </a:lnTo>
                <a:close/>
                <a:moveTo>
                  <a:pt x="2437" y="3243"/>
                </a:moveTo>
                <a:lnTo>
                  <a:pt x="2437" y="3243"/>
                </a:lnTo>
                <a:lnTo>
                  <a:pt x="2437" y="3230"/>
                </a:lnTo>
                <a:lnTo>
                  <a:pt x="2435" y="3218"/>
                </a:lnTo>
                <a:lnTo>
                  <a:pt x="2432" y="3206"/>
                </a:lnTo>
                <a:lnTo>
                  <a:pt x="2427" y="3194"/>
                </a:lnTo>
                <a:lnTo>
                  <a:pt x="2422" y="3183"/>
                </a:lnTo>
                <a:lnTo>
                  <a:pt x="2415" y="3172"/>
                </a:lnTo>
                <a:lnTo>
                  <a:pt x="2408" y="3162"/>
                </a:lnTo>
                <a:lnTo>
                  <a:pt x="2400" y="3154"/>
                </a:lnTo>
                <a:lnTo>
                  <a:pt x="2391" y="3145"/>
                </a:lnTo>
                <a:lnTo>
                  <a:pt x="2381" y="3138"/>
                </a:lnTo>
                <a:lnTo>
                  <a:pt x="2371" y="3131"/>
                </a:lnTo>
                <a:lnTo>
                  <a:pt x="2360" y="3126"/>
                </a:lnTo>
                <a:lnTo>
                  <a:pt x="2348" y="3121"/>
                </a:lnTo>
                <a:lnTo>
                  <a:pt x="2336" y="3119"/>
                </a:lnTo>
                <a:lnTo>
                  <a:pt x="2324" y="3117"/>
                </a:lnTo>
                <a:lnTo>
                  <a:pt x="2310" y="3117"/>
                </a:lnTo>
                <a:lnTo>
                  <a:pt x="434" y="3117"/>
                </a:lnTo>
                <a:lnTo>
                  <a:pt x="997" y="2554"/>
                </a:lnTo>
                <a:lnTo>
                  <a:pt x="997" y="2554"/>
                </a:lnTo>
                <a:lnTo>
                  <a:pt x="1006" y="2544"/>
                </a:lnTo>
                <a:lnTo>
                  <a:pt x="1013" y="2533"/>
                </a:lnTo>
                <a:lnTo>
                  <a:pt x="1019" y="2523"/>
                </a:lnTo>
                <a:lnTo>
                  <a:pt x="1024" y="2512"/>
                </a:lnTo>
                <a:lnTo>
                  <a:pt x="1029" y="2500"/>
                </a:lnTo>
                <a:lnTo>
                  <a:pt x="1031" y="2488"/>
                </a:lnTo>
                <a:lnTo>
                  <a:pt x="1033" y="2476"/>
                </a:lnTo>
                <a:lnTo>
                  <a:pt x="1033" y="2464"/>
                </a:lnTo>
                <a:lnTo>
                  <a:pt x="1033" y="2452"/>
                </a:lnTo>
                <a:lnTo>
                  <a:pt x="1031" y="2439"/>
                </a:lnTo>
                <a:lnTo>
                  <a:pt x="1029" y="2427"/>
                </a:lnTo>
                <a:lnTo>
                  <a:pt x="1025" y="2417"/>
                </a:lnTo>
                <a:lnTo>
                  <a:pt x="1019" y="2405"/>
                </a:lnTo>
                <a:lnTo>
                  <a:pt x="1013" y="2394"/>
                </a:lnTo>
                <a:lnTo>
                  <a:pt x="1006" y="2384"/>
                </a:lnTo>
                <a:lnTo>
                  <a:pt x="997" y="2374"/>
                </a:lnTo>
                <a:lnTo>
                  <a:pt x="997" y="2374"/>
                </a:lnTo>
                <a:lnTo>
                  <a:pt x="996" y="2374"/>
                </a:lnTo>
                <a:lnTo>
                  <a:pt x="996" y="2374"/>
                </a:lnTo>
                <a:lnTo>
                  <a:pt x="986" y="2365"/>
                </a:lnTo>
                <a:lnTo>
                  <a:pt x="977" y="2358"/>
                </a:lnTo>
                <a:lnTo>
                  <a:pt x="966" y="2352"/>
                </a:lnTo>
                <a:lnTo>
                  <a:pt x="954" y="2347"/>
                </a:lnTo>
                <a:lnTo>
                  <a:pt x="943" y="2342"/>
                </a:lnTo>
                <a:lnTo>
                  <a:pt x="931" y="2339"/>
                </a:lnTo>
                <a:lnTo>
                  <a:pt x="919" y="2338"/>
                </a:lnTo>
                <a:lnTo>
                  <a:pt x="907" y="2337"/>
                </a:lnTo>
                <a:lnTo>
                  <a:pt x="895" y="2338"/>
                </a:lnTo>
                <a:lnTo>
                  <a:pt x="883" y="2339"/>
                </a:lnTo>
                <a:lnTo>
                  <a:pt x="871" y="2342"/>
                </a:lnTo>
                <a:lnTo>
                  <a:pt x="859" y="2347"/>
                </a:lnTo>
                <a:lnTo>
                  <a:pt x="848" y="2352"/>
                </a:lnTo>
                <a:lnTo>
                  <a:pt x="837" y="2358"/>
                </a:lnTo>
                <a:lnTo>
                  <a:pt x="826" y="2366"/>
                </a:lnTo>
                <a:lnTo>
                  <a:pt x="816" y="2374"/>
                </a:lnTo>
                <a:lnTo>
                  <a:pt x="36" y="3154"/>
                </a:lnTo>
                <a:lnTo>
                  <a:pt x="36" y="3154"/>
                </a:lnTo>
                <a:lnTo>
                  <a:pt x="27" y="3165"/>
                </a:lnTo>
                <a:lnTo>
                  <a:pt x="18" y="3177"/>
                </a:lnTo>
                <a:lnTo>
                  <a:pt x="18" y="3177"/>
                </a:lnTo>
                <a:lnTo>
                  <a:pt x="18" y="3178"/>
                </a:lnTo>
                <a:lnTo>
                  <a:pt x="18" y="3178"/>
                </a:lnTo>
                <a:lnTo>
                  <a:pt x="16" y="3182"/>
                </a:lnTo>
                <a:lnTo>
                  <a:pt x="16" y="3182"/>
                </a:lnTo>
                <a:lnTo>
                  <a:pt x="14" y="3183"/>
                </a:lnTo>
                <a:lnTo>
                  <a:pt x="14" y="3183"/>
                </a:lnTo>
                <a:lnTo>
                  <a:pt x="13" y="3185"/>
                </a:lnTo>
                <a:lnTo>
                  <a:pt x="13" y="3185"/>
                </a:lnTo>
                <a:lnTo>
                  <a:pt x="12" y="3189"/>
                </a:lnTo>
                <a:lnTo>
                  <a:pt x="12" y="3189"/>
                </a:lnTo>
                <a:lnTo>
                  <a:pt x="11" y="3190"/>
                </a:lnTo>
                <a:lnTo>
                  <a:pt x="11" y="3190"/>
                </a:lnTo>
                <a:lnTo>
                  <a:pt x="6" y="3202"/>
                </a:lnTo>
                <a:lnTo>
                  <a:pt x="2" y="3215"/>
                </a:lnTo>
                <a:lnTo>
                  <a:pt x="0" y="3229"/>
                </a:lnTo>
                <a:lnTo>
                  <a:pt x="0" y="3243"/>
                </a:lnTo>
                <a:lnTo>
                  <a:pt x="0" y="3243"/>
                </a:lnTo>
                <a:lnTo>
                  <a:pt x="1" y="3260"/>
                </a:lnTo>
                <a:lnTo>
                  <a:pt x="5" y="3277"/>
                </a:lnTo>
                <a:lnTo>
                  <a:pt x="10" y="3292"/>
                </a:lnTo>
                <a:lnTo>
                  <a:pt x="17" y="3307"/>
                </a:lnTo>
                <a:lnTo>
                  <a:pt x="17" y="3307"/>
                </a:lnTo>
                <a:lnTo>
                  <a:pt x="18" y="3308"/>
                </a:lnTo>
                <a:lnTo>
                  <a:pt x="18" y="3308"/>
                </a:lnTo>
                <a:lnTo>
                  <a:pt x="19" y="3312"/>
                </a:lnTo>
                <a:lnTo>
                  <a:pt x="19" y="3312"/>
                </a:lnTo>
                <a:lnTo>
                  <a:pt x="22" y="3313"/>
                </a:lnTo>
                <a:lnTo>
                  <a:pt x="22" y="3313"/>
                </a:lnTo>
                <a:lnTo>
                  <a:pt x="23" y="3315"/>
                </a:lnTo>
                <a:lnTo>
                  <a:pt x="23" y="3315"/>
                </a:lnTo>
                <a:lnTo>
                  <a:pt x="25" y="3319"/>
                </a:lnTo>
                <a:lnTo>
                  <a:pt x="25" y="3319"/>
                </a:lnTo>
                <a:lnTo>
                  <a:pt x="25" y="3319"/>
                </a:lnTo>
                <a:lnTo>
                  <a:pt x="25" y="3319"/>
                </a:lnTo>
                <a:lnTo>
                  <a:pt x="37" y="3333"/>
                </a:lnTo>
                <a:lnTo>
                  <a:pt x="816" y="4112"/>
                </a:lnTo>
                <a:lnTo>
                  <a:pt x="816" y="4112"/>
                </a:lnTo>
                <a:lnTo>
                  <a:pt x="818" y="4113"/>
                </a:lnTo>
                <a:lnTo>
                  <a:pt x="818" y="4113"/>
                </a:lnTo>
                <a:lnTo>
                  <a:pt x="826" y="4121"/>
                </a:lnTo>
                <a:lnTo>
                  <a:pt x="837" y="4128"/>
                </a:lnTo>
                <a:lnTo>
                  <a:pt x="848" y="4134"/>
                </a:lnTo>
                <a:lnTo>
                  <a:pt x="859" y="4139"/>
                </a:lnTo>
                <a:lnTo>
                  <a:pt x="869" y="4144"/>
                </a:lnTo>
                <a:lnTo>
                  <a:pt x="881" y="4147"/>
                </a:lnTo>
                <a:lnTo>
                  <a:pt x="893" y="4149"/>
                </a:lnTo>
                <a:lnTo>
                  <a:pt x="907" y="4149"/>
                </a:lnTo>
                <a:lnTo>
                  <a:pt x="907" y="4149"/>
                </a:lnTo>
                <a:lnTo>
                  <a:pt x="919" y="4149"/>
                </a:lnTo>
                <a:lnTo>
                  <a:pt x="931" y="4147"/>
                </a:lnTo>
                <a:lnTo>
                  <a:pt x="943" y="4144"/>
                </a:lnTo>
                <a:lnTo>
                  <a:pt x="955" y="4139"/>
                </a:lnTo>
                <a:lnTo>
                  <a:pt x="966" y="4134"/>
                </a:lnTo>
                <a:lnTo>
                  <a:pt x="977" y="4128"/>
                </a:lnTo>
                <a:lnTo>
                  <a:pt x="986" y="4121"/>
                </a:lnTo>
                <a:lnTo>
                  <a:pt x="996" y="4113"/>
                </a:lnTo>
                <a:lnTo>
                  <a:pt x="996" y="4113"/>
                </a:lnTo>
                <a:lnTo>
                  <a:pt x="997" y="4112"/>
                </a:lnTo>
                <a:lnTo>
                  <a:pt x="997" y="4112"/>
                </a:lnTo>
                <a:lnTo>
                  <a:pt x="1006" y="4102"/>
                </a:lnTo>
                <a:lnTo>
                  <a:pt x="1013" y="4092"/>
                </a:lnTo>
                <a:lnTo>
                  <a:pt x="1019" y="4081"/>
                </a:lnTo>
                <a:lnTo>
                  <a:pt x="1024" y="4069"/>
                </a:lnTo>
                <a:lnTo>
                  <a:pt x="1029" y="4059"/>
                </a:lnTo>
                <a:lnTo>
                  <a:pt x="1031" y="4047"/>
                </a:lnTo>
                <a:lnTo>
                  <a:pt x="1033" y="4034"/>
                </a:lnTo>
                <a:lnTo>
                  <a:pt x="1033" y="4022"/>
                </a:lnTo>
                <a:lnTo>
                  <a:pt x="1033" y="4010"/>
                </a:lnTo>
                <a:lnTo>
                  <a:pt x="1031" y="3998"/>
                </a:lnTo>
                <a:lnTo>
                  <a:pt x="1029" y="3986"/>
                </a:lnTo>
                <a:lnTo>
                  <a:pt x="1024" y="3974"/>
                </a:lnTo>
                <a:lnTo>
                  <a:pt x="1019" y="3963"/>
                </a:lnTo>
                <a:lnTo>
                  <a:pt x="1013" y="3953"/>
                </a:lnTo>
                <a:lnTo>
                  <a:pt x="1006" y="3942"/>
                </a:lnTo>
                <a:lnTo>
                  <a:pt x="996" y="3932"/>
                </a:lnTo>
                <a:lnTo>
                  <a:pt x="434" y="3369"/>
                </a:lnTo>
                <a:lnTo>
                  <a:pt x="2310" y="3369"/>
                </a:lnTo>
                <a:lnTo>
                  <a:pt x="2310" y="3369"/>
                </a:lnTo>
                <a:lnTo>
                  <a:pt x="2324" y="3369"/>
                </a:lnTo>
                <a:lnTo>
                  <a:pt x="2336" y="3367"/>
                </a:lnTo>
                <a:lnTo>
                  <a:pt x="2348" y="3365"/>
                </a:lnTo>
                <a:lnTo>
                  <a:pt x="2360" y="3360"/>
                </a:lnTo>
                <a:lnTo>
                  <a:pt x="2371" y="3355"/>
                </a:lnTo>
                <a:lnTo>
                  <a:pt x="2381" y="3348"/>
                </a:lnTo>
                <a:lnTo>
                  <a:pt x="2391" y="3341"/>
                </a:lnTo>
                <a:lnTo>
                  <a:pt x="2400" y="3332"/>
                </a:lnTo>
                <a:lnTo>
                  <a:pt x="2408" y="3324"/>
                </a:lnTo>
                <a:lnTo>
                  <a:pt x="2415" y="3314"/>
                </a:lnTo>
                <a:lnTo>
                  <a:pt x="2422" y="3303"/>
                </a:lnTo>
                <a:lnTo>
                  <a:pt x="2427" y="3292"/>
                </a:lnTo>
                <a:lnTo>
                  <a:pt x="2432" y="3280"/>
                </a:lnTo>
                <a:lnTo>
                  <a:pt x="2435" y="3268"/>
                </a:lnTo>
                <a:lnTo>
                  <a:pt x="2437" y="3256"/>
                </a:lnTo>
                <a:lnTo>
                  <a:pt x="2437" y="3243"/>
                </a:lnTo>
                <a:lnTo>
                  <a:pt x="2437" y="3243"/>
                </a:lnTo>
                <a:close/>
                <a:moveTo>
                  <a:pt x="2377" y="996"/>
                </a:moveTo>
                <a:lnTo>
                  <a:pt x="2377" y="996"/>
                </a:lnTo>
                <a:lnTo>
                  <a:pt x="2386" y="1005"/>
                </a:lnTo>
                <a:lnTo>
                  <a:pt x="2396" y="1012"/>
                </a:lnTo>
                <a:lnTo>
                  <a:pt x="2407" y="1018"/>
                </a:lnTo>
                <a:lnTo>
                  <a:pt x="2419" y="1023"/>
                </a:lnTo>
                <a:lnTo>
                  <a:pt x="2430" y="1028"/>
                </a:lnTo>
                <a:lnTo>
                  <a:pt x="2442" y="1030"/>
                </a:lnTo>
                <a:lnTo>
                  <a:pt x="2454" y="1032"/>
                </a:lnTo>
                <a:lnTo>
                  <a:pt x="2466" y="1032"/>
                </a:lnTo>
                <a:lnTo>
                  <a:pt x="2478" y="1032"/>
                </a:lnTo>
                <a:lnTo>
                  <a:pt x="2490" y="1030"/>
                </a:lnTo>
                <a:lnTo>
                  <a:pt x="2502" y="1028"/>
                </a:lnTo>
                <a:lnTo>
                  <a:pt x="2514" y="1023"/>
                </a:lnTo>
                <a:lnTo>
                  <a:pt x="2525" y="1018"/>
                </a:lnTo>
                <a:lnTo>
                  <a:pt x="2536" y="1012"/>
                </a:lnTo>
                <a:lnTo>
                  <a:pt x="2547" y="1005"/>
                </a:lnTo>
                <a:lnTo>
                  <a:pt x="2556" y="995"/>
                </a:lnTo>
                <a:lnTo>
                  <a:pt x="3119" y="434"/>
                </a:lnTo>
                <a:lnTo>
                  <a:pt x="3119" y="2308"/>
                </a:lnTo>
                <a:lnTo>
                  <a:pt x="3119" y="2308"/>
                </a:lnTo>
                <a:lnTo>
                  <a:pt x="3119" y="2321"/>
                </a:lnTo>
                <a:lnTo>
                  <a:pt x="3122" y="2333"/>
                </a:lnTo>
                <a:lnTo>
                  <a:pt x="3124" y="2346"/>
                </a:lnTo>
                <a:lnTo>
                  <a:pt x="3129" y="2358"/>
                </a:lnTo>
                <a:lnTo>
                  <a:pt x="3134" y="2368"/>
                </a:lnTo>
                <a:lnTo>
                  <a:pt x="3141" y="2379"/>
                </a:lnTo>
                <a:lnTo>
                  <a:pt x="3148" y="2389"/>
                </a:lnTo>
                <a:lnTo>
                  <a:pt x="3157" y="2397"/>
                </a:lnTo>
                <a:lnTo>
                  <a:pt x="3165" y="2406"/>
                </a:lnTo>
                <a:lnTo>
                  <a:pt x="3175" y="2413"/>
                </a:lnTo>
                <a:lnTo>
                  <a:pt x="3186" y="2420"/>
                </a:lnTo>
                <a:lnTo>
                  <a:pt x="3197" y="2425"/>
                </a:lnTo>
                <a:lnTo>
                  <a:pt x="3209" y="2430"/>
                </a:lnTo>
                <a:lnTo>
                  <a:pt x="3221" y="2432"/>
                </a:lnTo>
                <a:lnTo>
                  <a:pt x="3233" y="2435"/>
                </a:lnTo>
                <a:lnTo>
                  <a:pt x="3246" y="2435"/>
                </a:lnTo>
                <a:lnTo>
                  <a:pt x="3246" y="2435"/>
                </a:lnTo>
                <a:lnTo>
                  <a:pt x="3259" y="2435"/>
                </a:lnTo>
                <a:lnTo>
                  <a:pt x="3271" y="2432"/>
                </a:lnTo>
                <a:lnTo>
                  <a:pt x="3283" y="2430"/>
                </a:lnTo>
                <a:lnTo>
                  <a:pt x="3295" y="2425"/>
                </a:lnTo>
                <a:lnTo>
                  <a:pt x="3306" y="2420"/>
                </a:lnTo>
                <a:lnTo>
                  <a:pt x="3317" y="2413"/>
                </a:lnTo>
                <a:lnTo>
                  <a:pt x="3327" y="2406"/>
                </a:lnTo>
                <a:lnTo>
                  <a:pt x="3335" y="2397"/>
                </a:lnTo>
                <a:lnTo>
                  <a:pt x="3344" y="2389"/>
                </a:lnTo>
                <a:lnTo>
                  <a:pt x="3351" y="2379"/>
                </a:lnTo>
                <a:lnTo>
                  <a:pt x="3358" y="2368"/>
                </a:lnTo>
                <a:lnTo>
                  <a:pt x="3363" y="2358"/>
                </a:lnTo>
                <a:lnTo>
                  <a:pt x="3368" y="2346"/>
                </a:lnTo>
                <a:lnTo>
                  <a:pt x="3370" y="2333"/>
                </a:lnTo>
                <a:lnTo>
                  <a:pt x="3373" y="2321"/>
                </a:lnTo>
                <a:lnTo>
                  <a:pt x="3373" y="2308"/>
                </a:lnTo>
                <a:lnTo>
                  <a:pt x="3373" y="434"/>
                </a:lnTo>
                <a:lnTo>
                  <a:pt x="3936" y="995"/>
                </a:lnTo>
                <a:lnTo>
                  <a:pt x="3936" y="995"/>
                </a:lnTo>
                <a:lnTo>
                  <a:pt x="3937" y="996"/>
                </a:lnTo>
                <a:lnTo>
                  <a:pt x="3937" y="996"/>
                </a:lnTo>
                <a:lnTo>
                  <a:pt x="3945" y="1005"/>
                </a:lnTo>
                <a:lnTo>
                  <a:pt x="3956" y="1012"/>
                </a:lnTo>
                <a:lnTo>
                  <a:pt x="3966" y="1018"/>
                </a:lnTo>
                <a:lnTo>
                  <a:pt x="3978" y="1023"/>
                </a:lnTo>
                <a:lnTo>
                  <a:pt x="3989" y="1028"/>
                </a:lnTo>
                <a:lnTo>
                  <a:pt x="4001" y="1030"/>
                </a:lnTo>
                <a:lnTo>
                  <a:pt x="4013" y="1032"/>
                </a:lnTo>
                <a:lnTo>
                  <a:pt x="4026" y="1032"/>
                </a:lnTo>
                <a:lnTo>
                  <a:pt x="4026" y="1032"/>
                </a:lnTo>
                <a:lnTo>
                  <a:pt x="4038" y="1032"/>
                </a:lnTo>
                <a:lnTo>
                  <a:pt x="4050" y="1030"/>
                </a:lnTo>
                <a:lnTo>
                  <a:pt x="4062" y="1028"/>
                </a:lnTo>
                <a:lnTo>
                  <a:pt x="4074" y="1023"/>
                </a:lnTo>
                <a:lnTo>
                  <a:pt x="4085" y="1018"/>
                </a:lnTo>
                <a:lnTo>
                  <a:pt x="4096" y="1012"/>
                </a:lnTo>
                <a:lnTo>
                  <a:pt x="4106" y="1005"/>
                </a:lnTo>
                <a:lnTo>
                  <a:pt x="4115" y="996"/>
                </a:lnTo>
                <a:lnTo>
                  <a:pt x="4115" y="996"/>
                </a:lnTo>
                <a:lnTo>
                  <a:pt x="4115" y="995"/>
                </a:lnTo>
                <a:lnTo>
                  <a:pt x="4115" y="995"/>
                </a:lnTo>
                <a:lnTo>
                  <a:pt x="4125" y="985"/>
                </a:lnTo>
                <a:lnTo>
                  <a:pt x="4132" y="976"/>
                </a:lnTo>
                <a:lnTo>
                  <a:pt x="4138" y="965"/>
                </a:lnTo>
                <a:lnTo>
                  <a:pt x="4143" y="953"/>
                </a:lnTo>
                <a:lnTo>
                  <a:pt x="4148" y="942"/>
                </a:lnTo>
                <a:lnTo>
                  <a:pt x="4150" y="930"/>
                </a:lnTo>
                <a:lnTo>
                  <a:pt x="4152" y="918"/>
                </a:lnTo>
                <a:lnTo>
                  <a:pt x="4153" y="906"/>
                </a:lnTo>
                <a:lnTo>
                  <a:pt x="4152" y="894"/>
                </a:lnTo>
                <a:lnTo>
                  <a:pt x="4150" y="882"/>
                </a:lnTo>
                <a:lnTo>
                  <a:pt x="4148" y="870"/>
                </a:lnTo>
                <a:lnTo>
                  <a:pt x="4143" y="858"/>
                </a:lnTo>
                <a:lnTo>
                  <a:pt x="4138" y="847"/>
                </a:lnTo>
                <a:lnTo>
                  <a:pt x="4132" y="836"/>
                </a:lnTo>
                <a:lnTo>
                  <a:pt x="4124" y="825"/>
                </a:lnTo>
                <a:lnTo>
                  <a:pt x="4115" y="816"/>
                </a:lnTo>
                <a:lnTo>
                  <a:pt x="3335" y="36"/>
                </a:lnTo>
                <a:lnTo>
                  <a:pt x="3335" y="36"/>
                </a:lnTo>
                <a:lnTo>
                  <a:pt x="3324" y="27"/>
                </a:lnTo>
                <a:lnTo>
                  <a:pt x="3312" y="18"/>
                </a:lnTo>
                <a:lnTo>
                  <a:pt x="3312" y="18"/>
                </a:lnTo>
                <a:lnTo>
                  <a:pt x="3311" y="18"/>
                </a:lnTo>
                <a:lnTo>
                  <a:pt x="3311" y="18"/>
                </a:lnTo>
                <a:lnTo>
                  <a:pt x="3307" y="16"/>
                </a:lnTo>
                <a:lnTo>
                  <a:pt x="3307" y="16"/>
                </a:lnTo>
                <a:lnTo>
                  <a:pt x="3305" y="14"/>
                </a:lnTo>
                <a:lnTo>
                  <a:pt x="3305" y="14"/>
                </a:lnTo>
                <a:lnTo>
                  <a:pt x="3304" y="13"/>
                </a:lnTo>
                <a:lnTo>
                  <a:pt x="3304" y="13"/>
                </a:lnTo>
                <a:lnTo>
                  <a:pt x="3299" y="12"/>
                </a:lnTo>
                <a:lnTo>
                  <a:pt x="3299" y="12"/>
                </a:lnTo>
                <a:lnTo>
                  <a:pt x="3299" y="11"/>
                </a:lnTo>
                <a:lnTo>
                  <a:pt x="3299" y="11"/>
                </a:lnTo>
                <a:lnTo>
                  <a:pt x="3287" y="6"/>
                </a:lnTo>
                <a:lnTo>
                  <a:pt x="3274" y="2"/>
                </a:lnTo>
                <a:lnTo>
                  <a:pt x="3260" y="0"/>
                </a:lnTo>
                <a:lnTo>
                  <a:pt x="3246" y="0"/>
                </a:lnTo>
                <a:lnTo>
                  <a:pt x="3246" y="0"/>
                </a:lnTo>
                <a:lnTo>
                  <a:pt x="3227" y="1"/>
                </a:lnTo>
                <a:lnTo>
                  <a:pt x="3210" y="5"/>
                </a:lnTo>
                <a:lnTo>
                  <a:pt x="3193" y="12"/>
                </a:lnTo>
                <a:lnTo>
                  <a:pt x="3177" y="20"/>
                </a:lnTo>
                <a:lnTo>
                  <a:pt x="3177" y="20"/>
                </a:lnTo>
                <a:lnTo>
                  <a:pt x="3176" y="20"/>
                </a:lnTo>
                <a:lnTo>
                  <a:pt x="3176" y="20"/>
                </a:lnTo>
                <a:lnTo>
                  <a:pt x="3172" y="23"/>
                </a:lnTo>
                <a:lnTo>
                  <a:pt x="3172" y="23"/>
                </a:lnTo>
                <a:lnTo>
                  <a:pt x="3170" y="25"/>
                </a:lnTo>
                <a:lnTo>
                  <a:pt x="3170" y="25"/>
                </a:lnTo>
                <a:lnTo>
                  <a:pt x="3169" y="25"/>
                </a:lnTo>
                <a:lnTo>
                  <a:pt x="3169" y="25"/>
                </a:lnTo>
                <a:lnTo>
                  <a:pt x="3156" y="37"/>
                </a:lnTo>
                <a:lnTo>
                  <a:pt x="2377" y="817"/>
                </a:lnTo>
                <a:lnTo>
                  <a:pt x="2377" y="817"/>
                </a:lnTo>
                <a:lnTo>
                  <a:pt x="2367" y="826"/>
                </a:lnTo>
                <a:lnTo>
                  <a:pt x="2360" y="836"/>
                </a:lnTo>
                <a:lnTo>
                  <a:pt x="2354" y="847"/>
                </a:lnTo>
                <a:lnTo>
                  <a:pt x="2349" y="858"/>
                </a:lnTo>
                <a:lnTo>
                  <a:pt x="2344" y="870"/>
                </a:lnTo>
                <a:lnTo>
                  <a:pt x="2342" y="882"/>
                </a:lnTo>
                <a:lnTo>
                  <a:pt x="2340" y="894"/>
                </a:lnTo>
                <a:lnTo>
                  <a:pt x="2339" y="906"/>
                </a:lnTo>
                <a:lnTo>
                  <a:pt x="2340" y="918"/>
                </a:lnTo>
                <a:lnTo>
                  <a:pt x="2342" y="930"/>
                </a:lnTo>
                <a:lnTo>
                  <a:pt x="2344" y="942"/>
                </a:lnTo>
                <a:lnTo>
                  <a:pt x="2349" y="953"/>
                </a:lnTo>
                <a:lnTo>
                  <a:pt x="2354" y="965"/>
                </a:lnTo>
                <a:lnTo>
                  <a:pt x="2360" y="976"/>
                </a:lnTo>
                <a:lnTo>
                  <a:pt x="2367" y="985"/>
                </a:lnTo>
                <a:lnTo>
                  <a:pt x="2377" y="995"/>
                </a:lnTo>
                <a:lnTo>
                  <a:pt x="2377" y="995"/>
                </a:lnTo>
                <a:lnTo>
                  <a:pt x="2377" y="996"/>
                </a:lnTo>
                <a:lnTo>
                  <a:pt x="2377" y="996"/>
                </a:lnTo>
                <a:close/>
                <a:moveTo>
                  <a:pt x="4115" y="5490"/>
                </a:moveTo>
                <a:lnTo>
                  <a:pt x="4115" y="5490"/>
                </a:lnTo>
                <a:lnTo>
                  <a:pt x="4106" y="5481"/>
                </a:lnTo>
                <a:lnTo>
                  <a:pt x="4096" y="5474"/>
                </a:lnTo>
                <a:lnTo>
                  <a:pt x="4085" y="5468"/>
                </a:lnTo>
                <a:lnTo>
                  <a:pt x="4073" y="5463"/>
                </a:lnTo>
                <a:lnTo>
                  <a:pt x="4062" y="5458"/>
                </a:lnTo>
                <a:lnTo>
                  <a:pt x="4050" y="5456"/>
                </a:lnTo>
                <a:lnTo>
                  <a:pt x="4038" y="5454"/>
                </a:lnTo>
                <a:lnTo>
                  <a:pt x="4026" y="5454"/>
                </a:lnTo>
                <a:lnTo>
                  <a:pt x="4014" y="5454"/>
                </a:lnTo>
                <a:lnTo>
                  <a:pt x="4002" y="5456"/>
                </a:lnTo>
                <a:lnTo>
                  <a:pt x="3990" y="5458"/>
                </a:lnTo>
                <a:lnTo>
                  <a:pt x="3978" y="5463"/>
                </a:lnTo>
                <a:lnTo>
                  <a:pt x="3967" y="5468"/>
                </a:lnTo>
                <a:lnTo>
                  <a:pt x="3956" y="5474"/>
                </a:lnTo>
                <a:lnTo>
                  <a:pt x="3945" y="5481"/>
                </a:lnTo>
                <a:lnTo>
                  <a:pt x="3936" y="5491"/>
                </a:lnTo>
                <a:lnTo>
                  <a:pt x="3373" y="6052"/>
                </a:lnTo>
                <a:lnTo>
                  <a:pt x="3373" y="4178"/>
                </a:lnTo>
                <a:lnTo>
                  <a:pt x="3373" y="4178"/>
                </a:lnTo>
                <a:lnTo>
                  <a:pt x="3373" y="4165"/>
                </a:lnTo>
                <a:lnTo>
                  <a:pt x="3370" y="4153"/>
                </a:lnTo>
                <a:lnTo>
                  <a:pt x="3368" y="4140"/>
                </a:lnTo>
                <a:lnTo>
                  <a:pt x="3363" y="4128"/>
                </a:lnTo>
                <a:lnTo>
                  <a:pt x="3358" y="4118"/>
                </a:lnTo>
                <a:lnTo>
                  <a:pt x="3351" y="4107"/>
                </a:lnTo>
                <a:lnTo>
                  <a:pt x="3344" y="4097"/>
                </a:lnTo>
                <a:lnTo>
                  <a:pt x="3335" y="4089"/>
                </a:lnTo>
                <a:lnTo>
                  <a:pt x="3327" y="4080"/>
                </a:lnTo>
                <a:lnTo>
                  <a:pt x="3317" y="4073"/>
                </a:lnTo>
                <a:lnTo>
                  <a:pt x="3306" y="4066"/>
                </a:lnTo>
                <a:lnTo>
                  <a:pt x="3295" y="4061"/>
                </a:lnTo>
                <a:lnTo>
                  <a:pt x="3283" y="4056"/>
                </a:lnTo>
                <a:lnTo>
                  <a:pt x="3271" y="4054"/>
                </a:lnTo>
                <a:lnTo>
                  <a:pt x="3259" y="4051"/>
                </a:lnTo>
                <a:lnTo>
                  <a:pt x="3246" y="4051"/>
                </a:lnTo>
                <a:lnTo>
                  <a:pt x="3246" y="4051"/>
                </a:lnTo>
                <a:lnTo>
                  <a:pt x="3233" y="4051"/>
                </a:lnTo>
                <a:lnTo>
                  <a:pt x="3221" y="4054"/>
                </a:lnTo>
                <a:lnTo>
                  <a:pt x="3209" y="4056"/>
                </a:lnTo>
                <a:lnTo>
                  <a:pt x="3197" y="4061"/>
                </a:lnTo>
                <a:lnTo>
                  <a:pt x="3186" y="4066"/>
                </a:lnTo>
                <a:lnTo>
                  <a:pt x="3175" y="4073"/>
                </a:lnTo>
                <a:lnTo>
                  <a:pt x="3165" y="4080"/>
                </a:lnTo>
                <a:lnTo>
                  <a:pt x="3157" y="4089"/>
                </a:lnTo>
                <a:lnTo>
                  <a:pt x="3148" y="4097"/>
                </a:lnTo>
                <a:lnTo>
                  <a:pt x="3141" y="4107"/>
                </a:lnTo>
                <a:lnTo>
                  <a:pt x="3134" y="4118"/>
                </a:lnTo>
                <a:lnTo>
                  <a:pt x="3129" y="4128"/>
                </a:lnTo>
                <a:lnTo>
                  <a:pt x="3124" y="4140"/>
                </a:lnTo>
                <a:lnTo>
                  <a:pt x="3122" y="4153"/>
                </a:lnTo>
                <a:lnTo>
                  <a:pt x="3119" y="4165"/>
                </a:lnTo>
                <a:lnTo>
                  <a:pt x="3119" y="4178"/>
                </a:lnTo>
                <a:lnTo>
                  <a:pt x="3119" y="6052"/>
                </a:lnTo>
                <a:lnTo>
                  <a:pt x="2556" y="5490"/>
                </a:lnTo>
                <a:lnTo>
                  <a:pt x="2556" y="5490"/>
                </a:lnTo>
                <a:lnTo>
                  <a:pt x="2547" y="5481"/>
                </a:lnTo>
                <a:lnTo>
                  <a:pt x="2536" y="5474"/>
                </a:lnTo>
                <a:lnTo>
                  <a:pt x="2525" y="5468"/>
                </a:lnTo>
                <a:lnTo>
                  <a:pt x="2514" y="5462"/>
                </a:lnTo>
                <a:lnTo>
                  <a:pt x="2502" y="5458"/>
                </a:lnTo>
                <a:lnTo>
                  <a:pt x="2490" y="5456"/>
                </a:lnTo>
                <a:lnTo>
                  <a:pt x="2478" y="5454"/>
                </a:lnTo>
                <a:lnTo>
                  <a:pt x="2466" y="5454"/>
                </a:lnTo>
                <a:lnTo>
                  <a:pt x="2454" y="5454"/>
                </a:lnTo>
                <a:lnTo>
                  <a:pt x="2442" y="5456"/>
                </a:lnTo>
                <a:lnTo>
                  <a:pt x="2430" y="5458"/>
                </a:lnTo>
                <a:lnTo>
                  <a:pt x="2419" y="5463"/>
                </a:lnTo>
                <a:lnTo>
                  <a:pt x="2407" y="5468"/>
                </a:lnTo>
                <a:lnTo>
                  <a:pt x="2396" y="5474"/>
                </a:lnTo>
                <a:lnTo>
                  <a:pt x="2386" y="5481"/>
                </a:lnTo>
                <a:lnTo>
                  <a:pt x="2377" y="5490"/>
                </a:lnTo>
                <a:lnTo>
                  <a:pt x="2377" y="5490"/>
                </a:lnTo>
                <a:lnTo>
                  <a:pt x="2377" y="5491"/>
                </a:lnTo>
                <a:lnTo>
                  <a:pt x="2377" y="5491"/>
                </a:lnTo>
                <a:lnTo>
                  <a:pt x="2367" y="5501"/>
                </a:lnTo>
                <a:lnTo>
                  <a:pt x="2360" y="5510"/>
                </a:lnTo>
                <a:lnTo>
                  <a:pt x="2354" y="5521"/>
                </a:lnTo>
                <a:lnTo>
                  <a:pt x="2349" y="5533"/>
                </a:lnTo>
                <a:lnTo>
                  <a:pt x="2344" y="5544"/>
                </a:lnTo>
                <a:lnTo>
                  <a:pt x="2342" y="5556"/>
                </a:lnTo>
                <a:lnTo>
                  <a:pt x="2340" y="5568"/>
                </a:lnTo>
                <a:lnTo>
                  <a:pt x="2339" y="5580"/>
                </a:lnTo>
                <a:lnTo>
                  <a:pt x="2340" y="5592"/>
                </a:lnTo>
                <a:lnTo>
                  <a:pt x="2342" y="5604"/>
                </a:lnTo>
                <a:lnTo>
                  <a:pt x="2344" y="5616"/>
                </a:lnTo>
                <a:lnTo>
                  <a:pt x="2349" y="5628"/>
                </a:lnTo>
                <a:lnTo>
                  <a:pt x="2354" y="5639"/>
                </a:lnTo>
                <a:lnTo>
                  <a:pt x="2360" y="5650"/>
                </a:lnTo>
                <a:lnTo>
                  <a:pt x="2368" y="5661"/>
                </a:lnTo>
                <a:lnTo>
                  <a:pt x="2377" y="5670"/>
                </a:lnTo>
                <a:lnTo>
                  <a:pt x="3156" y="6449"/>
                </a:lnTo>
                <a:lnTo>
                  <a:pt x="3156" y="6449"/>
                </a:lnTo>
                <a:lnTo>
                  <a:pt x="3157" y="6450"/>
                </a:lnTo>
                <a:lnTo>
                  <a:pt x="3157" y="6450"/>
                </a:lnTo>
                <a:lnTo>
                  <a:pt x="3164" y="6456"/>
                </a:lnTo>
                <a:lnTo>
                  <a:pt x="3172" y="6462"/>
                </a:lnTo>
                <a:lnTo>
                  <a:pt x="3180" y="6468"/>
                </a:lnTo>
                <a:lnTo>
                  <a:pt x="3189" y="6473"/>
                </a:lnTo>
                <a:lnTo>
                  <a:pt x="3198" y="6476"/>
                </a:lnTo>
                <a:lnTo>
                  <a:pt x="3207" y="6480"/>
                </a:lnTo>
                <a:lnTo>
                  <a:pt x="3217" y="6482"/>
                </a:lnTo>
                <a:lnTo>
                  <a:pt x="3227" y="6485"/>
                </a:lnTo>
                <a:lnTo>
                  <a:pt x="3227" y="6485"/>
                </a:lnTo>
                <a:lnTo>
                  <a:pt x="3227" y="6485"/>
                </a:lnTo>
                <a:lnTo>
                  <a:pt x="3227" y="6485"/>
                </a:lnTo>
                <a:lnTo>
                  <a:pt x="3233" y="6486"/>
                </a:lnTo>
                <a:lnTo>
                  <a:pt x="3233" y="6486"/>
                </a:lnTo>
                <a:lnTo>
                  <a:pt x="3233" y="6486"/>
                </a:lnTo>
                <a:lnTo>
                  <a:pt x="3233" y="6486"/>
                </a:lnTo>
                <a:lnTo>
                  <a:pt x="3239" y="6486"/>
                </a:lnTo>
                <a:lnTo>
                  <a:pt x="3239" y="6486"/>
                </a:lnTo>
                <a:lnTo>
                  <a:pt x="3240" y="6486"/>
                </a:lnTo>
                <a:lnTo>
                  <a:pt x="3240" y="6486"/>
                </a:lnTo>
                <a:lnTo>
                  <a:pt x="3246" y="6486"/>
                </a:lnTo>
                <a:lnTo>
                  <a:pt x="3246" y="6486"/>
                </a:lnTo>
                <a:lnTo>
                  <a:pt x="3252" y="6486"/>
                </a:lnTo>
                <a:lnTo>
                  <a:pt x="3252" y="6486"/>
                </a:lnTo>
                <a:lnTo>
                  <a:pt x="3253" y="6486"/>
                </a:lnTo>
                <a:lnTo>
                  <a:pt x="3253" y="6486"/>
                </a:lnTo>
                <a:lnTo>
                  <a:pt x="3259" y="6486"/>
                </a:lnTo>
                <a:lnTo>
                  <a:pt x="3259" y="6486"/>
                </a:lnTo>
                <a:lnTo>
                  <a:pt x="3259" y="6486"/>
                </a:lnTo>
                <a:lnTo>
                  <a:pt x="3259" y="6486"/>
                </a:lnTo>
                <a:lnTo>
                  <a:pt x="3265" y="6485"/>
                </a:lnTo>
                <a:lnTo>
                  <a:pt x="3265" y="6485"/>
                </a:lnTo>
                <a:lnTo>
                  <a:pt x="3265" y="6485"/>
                </a:lnTo>
                <a:lnTo>
                  <a:pt x="3265" y="6485"/>
                </a:lnTo>
                <a:lnTo>
                  <a:pt x="3275" y="6482"/>
                </a:lnTo>
                <a:lnTo>
                  <a:pt x="3285" y="6480"/>
                </a:lnTo>
                <a:lnTo>
                  <a:pt x="3294" y="6476"/>
                </a:lnTo>
                <a:lnTo>
                  <a:pt x="3303" y="6473"/>
                </a:lnTo>
                <a:lnTo>
                  <a:pt x="3312" y="6468"/>
                </a:lnTo>
                <a:lnTo>
                  <a:pt x="3320" y="6462"/>
                </a:lnTo>
                <a:lnTo>
                  <a:pt x="3328" y="6456"/>
                </a:lnTo>
                <a:lnTo>
                  <a:pt x="3335" y="6450"/>
                </a:lnTo>
                <a:lnTo>
                  <a:pt x="3335" y="6450"/>
                </a:lnTo>
                <a:lnTo>
                  <a:pt x="3336" y="6449"/>
                </a:lnTo>
                <a:lnTo>
                  <a:pt x="4115" y="5669"/>
                </a:lnTo>
                <a:lnTo>
                  <a:pt x="4115" y="5669"/>
                </a:lnTo>
                <a:lnTo>
                  <a:pt x="4125" y="5660"/>
                </a:lnTo>
                <a:lnTo>
                  <a:pt x="4132" y="5650"/>
                </a:lnTo>
                <a:lnTo>
                  <a:pt x="4138" y="5639"/>
                </a:lnTo>
                <a:lnTo>
                  <a:pt x="4143" y="5628"/>
                </a:lnTo>
                <a:lnTo>
                  <a:pt x="4148" y="5616"/>
                </a:lnTo>
                <a:lnTo>
                  <a:pt x="4150" y="5604"/>
                </a:lnTo>
                <a:lnTo>
                  <a:pt x="4152" y="5592"/>
                </a:lnTo>
                <a:lnTo>
                  <a:pt x="4153" y="5580"/>
                </a:lnTo>
                <a:lnTo>
                  <a:pt x="4152" y="5568"/>
                </a:lnTo>
                <a:lnTo>
                  <a:pt x="4150" y="5556"/>
                </a:lnTo>
                <a:lnTo>
                  <a:pt x="4148" y="5544"/>
                </a:lnTo>
                <a:lnTo>
                  <a:pt x="4143" y="5533"/>
                </a:lnTo>
                <a:lnTo>
                  <a:pt x="4138" y="5521"/>
                </a:lnTo>
                <a:lnTo>
                  <a:pt x="4132" y="5510"/>
                </a:lnTo>
                <a:lnTo>
                  <a:pt x="4125" y="5501"/>
                </a:lnTo>
                <a:lnTo>
                  <a:pt x="4115" y="5491"/>
                </a:lnTo>
                <a:lnTo>
                  <a:pt x="4115" y="5491"/>
                </a:lnTo>
                <a:lnTo>
                  <a:pt x="4115" y="5490"/>
                </a:lnTo>
                <a:lnTo>
                  <a:pt x="4115" y="5490"/>
                </a:lnTo>
                <a:close/>
              </a:path>
            </a:pathLst>
          </a:custGeom>
          <a:solidFill>
            <a:schemeClr val="tx1"/>
          </a:solidFill>
          <a:ln>
            <a:noFill/>
          </a:ln>
        </p:spPr>
        <p:txBody>
          <a:bodyPr vert="horz" wrap="square" lIns="121807" tIns="60904" rIns="121807" bIns="60904" numCol="1" anchor="t" anchorCtr="0" compatLnSpc="1">
            <a:prstTxWarp prst="textNoShape">
              <a:avLst/>
            </a:prstTxWarp>
          </a:bodyPr>
          <a:lstStyle/>
          <a:p>
            <a:endParaRPr lang="en-US" sz="2395"/>
          </a:p>
        </p:txBody>
      </p:sp>
      <p:pic>
        <p:nvPicPr>
          <p:cNvPr id="2" name="Picture 1" descr="Icon&#10;&#10;This is the Ally Logo.&#10;A white A with a figure for the holes&#10;Two green L &#10;A blue Y with a figure and a little head">
            <a:extLst>
              <a:ext uri="{FF2B5EF4-FFF2-40B4-BE49-F238E27FC236}">
                <a16:creationId xmlns:a16="http://schemas.microsoft.com/office/drawing/2014/main" id="{A710523D-120C-106C-7566-5254A5D6916D}"/>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189562" y="6179609"/>
            <a:ext cx="2285281" cy="684515"/>
          </a:xfrm>
          <a:prstGeom prst="rect">
            <a:avLst/>
          </a:prstGeom>
        </p:spPr>
      </p:pic>
    </p:spTree>
    <p:extLst>
      <p:ext uri="{BB962C8B-B14F-4D97-AF65-F5344CB8AC3E}">
        <p14:creationId xmlns:p14="http://schemas.microsoft.com/office/powerpoint/2010/main" val="1766107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A7D68A-5918-69A8-F281-0CCB86508F53}"/>
              </a:ext>
            </a:extLst>
          </p:cNvPr>
          <p:cNvSpPr>
            <a:spLocks noGrp="1"/>
          </p:cNvSpPr>
          <p:nvPr>
            <p:ph type="title"/>
          </p:nvPr>
        </p:nvSpPr>
        <p:spPr/>
        <p:txBody>
          <a:bodyPr/>
          <a:lstStyle/>
          <a:p>
            <a:r>
              <a:rPr lang="en-GB" sz="3200" b="1" dirty="0">
                <a:latin typeface="+mn-lt"/>
              </a:rPr>
              <a:t>Some Existing Ally Clients</a:t>
            </a:r>
            <a:endParaRPr lang="en-US" sz="3200" b="1" dirty="0">
              <a:latin typeface="+mn-lt"/>
            </a:endParaRPr>
          </a:p>
        </p:txBody>
      </p:sp>
      <p:sp>
        <p:nvSpPr>
          <p:cNvPr id="3" name="Content Placeholder 2">
            <a:extLst>
              <a:ext uri="{FF2B5EF4-FFF2-40B4-BE49-F238E27FC236}">
                <a16:creationId xmlns:a16="http://schemas.microsoft.com/office/drawing/2014/main" id="{BE1BD4B3-2E89-A75A-C9E8-ED4FBB392C53}"/>
              </a:ext>
            </a:extLst>
          </p:cNvPr>
          <p:cNvSpPr>
            <a:spLocks noGrp="1"/>
          </p:cNvSpPr>
          <p:nvPr>
            <p:ph idx="1"/>
          </p:nvPr>
        </p:nvSpPr>
        <p:spPr>
          <a:xfrm>
            <a:off x="685800" y="1510320"/>
            <a:ext cx="3310467" cy="4661881"/>
          </a:xfrm>
        </p:spPr>
        <p:txBody>
          <a:bodyPr vert="horz" lIns="0" tIns="0" rIns="0" bIns="0" rtlCol="0" anchor="t">
            <a:noAutofit/>
          </a:bodyPr>
          <a:lstStyle/>
          <a:p>
            <a:pPr marL="227748" indent="-227748"/>
            <a:r>
              <a:rPr lang="en-US" dirty="0">
                <a:cs typeface="Calibri"/>
              </a:rPr>
              <a:t>Curtin University</a:t>
            </a:r>
          </a:p>
          <a:p>
            <a:pPr marL="227748" indent="-227748"/>
            <a:r>
              <a:rPr lang="en-US" dirty="0">
                <a:cs typeface="Calibri"/>
              </a:rPr>
              <a:t>James Cook University</a:t>
            </a:r>
          </a:p>
          <a:p>
            <a:pPr marL="227748" indent="-227748"/>
            <a:r>
              <a:rPr lang="en-US" dirty="0">
                <a:cs typeface="Calibri"/>
              </a:rPr>
              <a:t>TAFE SA</a:t>
            </a:r>
          </a:p>
          <a:p>
            <a:pPr marL="227748" indent="-227748"/>
            <a:r>
              <a:rPr lang="en-US" dirty="0">
                <a:cs typeface="Calibri"/>
              </a:rPr>
              <a:t>Charles Darwin University</a:t>
            </a:r>
          </a:p>
          <a:p>
            <a:pPr marL="227748" indent="-227748"/>
            <a:r>
              <a:rPr lang="en-US" dirty="0">
                <a:cs typeface="Calibri"/>
              </a:rPr>
              <a:t>Charles Sturt University</a:t>
            </a:r>
          </a:p>
          <a:p>
            <a:pPr marL="227748" indent="-227748"/>
            <a:r>
              <a:rPr lang="en-US" dirty="0">
                <a:cs typeface="Calibri"/>
              </a:rPr>
              <a:t>Griffith University</a:t>
            </a:r>
          </a:p>
          <a:p>
            <a:pPr marL="227748" indent="-227748"/>
            <a:r>
              <a:rPr lang="en-US" dirty="0">
                <a:cs typeface="Calibri"/>
              </a:rPr>
              <a:t>University of NSW</a:t>
            </a:r>
          </a:p>
          <a:p>
            <a:pPr marL="227748" indent="-227748"/>
            <a:r>
              <a:rPr lang="en-US" dirty="0">
                <a:cs typeface="Calibri"/>
              </a:rPr>
              <a:t>Victoria University of Wellington</a:t>
            </a:r>
          </a:p>
          <a:p>
            <a:pPr marL="0" indent="0">
              <a:buNone/>
            </a:pPr>
            <a:endParaRPr lang="en-US" dirty="0">
              <a:cs typeface="Calibri"/>
            </a:endParaRPr>
          </a:p>
        </p:txBody>
      </p:sp>
      <p:sp>
        <p:nvSpPr>
          <p:cNvPr id="13" name="Content Placeholder 2">
            <a:extLst>
              <a:ext uri="{FF2B5EF4-FFF2-40B4-BE49-F238E27FC236}">
                <a16:creationId xmlns:a16="http://schemas.microsoft.com/office/drawing/2014/main" id="{79E25A09-8D4F-DF1F-A8D3-39FA8F21ADFC}"/>
              </a:ext>
            </a:extLst>
          </p:cNvPr>
          <p:cNvSpPr txBox="1">
            <a:spLocks/>
          </p:cNvSpPr>
          <p:nvPr/>
        </p:nvSpPr>
        <p:spPr>
          <a:xfrm>
            <a:off x="4213980" y="1510320"/>
            <a:ext cx="3310467" cy="4661881"/>
          </a:xfrm>
          <a:prstGeom prst="rect">
            <a:avLst/>
          </a:prstGeom>
        </p:spPr>
        <p:txBody>
          <a:bodyPr vert="horz" lIns="0" tIns="0" rIns="0" bIns="0" rtlCol="0" anchor="t">
            <a:noAutofit/>
          </a:bodyPr>
          <a:lstStyle>
            <a:lvl1pPr marL="171450" indent="-171450" algn="l" defTabSz="685800" rtl="0" eaLnBrk="1" latinLnBrk="0" hangingPunct="1">
              <a:lnSpc>
                <a:spcPct val="100000"/>
              </a:lnSpc>
              <a:spcBef>
                <a:spcPts val="0"/>
              </a:spcBef>
              <a:spcAft>
                <a:spcPts val="900"/>
              </a:spcAft>
              <a:buFont typeface="Arial" panose="020B0604020202020204" pitchFamily="34" charset="0"/>
              <a:buChar char="•"/>
              <a:defRPr sz="1500" kern="1200">
                <a:solidFill>
                  <a:schemeClr val="tx1"/>
                </a:solidFill>
                <a:latin typeface="+mn-lt"/>
                <a:ea typeface="+mn-ea"/>
                <a:cs typeface="+mn-cs"/>
              </a:defRPr>
            </a:lvl1pPr>
            <a:lvl2pPr marL="342900" indent="-171450" algn="l" defTabSz="685800" rtl="0" eaLnBrk="1" latinLnBrk="0" hangingPunct="1">
              <a:lnSpc>
                <a:spcPct val="100000"/>
              </a:lnSpc>
              <a:spcBef>
                <a:spcPts val="0"/>
              </a:spcBef>
              <a:spcAft>
                <a:spcPts val="900"/>
              </a:spcAft>
              <a:buFont typeface="Calibri" panose="020F0502020204030204" pitchFamily="34" charset="0"/>
              <a:buChar char="–"/>
              <a:defRPr sz="1500" kern="1200">
                <a:solidFill>
                  <a:schemeClr val="tx1"/>
                </a:solidFill>
                <a:latin typeface="+mn-lt"/>
                <a:ea typeface="+mn-ea"/>
                <a:cs typeface="+mn-cs"/>
              </a:defRPr>
            </a:lvl2pPr>
            <a:lvl3pPr marL="514350" indent="-171450" algn="l" defTabSz="685800" rtl="0" eaLnBrk="1" latinLnBrk="0" hangingPunct="1">
              <a:lnSpc>
                <a:spcPct val="100000"/>
              </a:lnSpc>
              <a:spcBef>
                <a:spcPts val="0"/>
              </a:spcBef>
              <a:spcAft>
                <a:spcPts val="900"/>
              </a:spcAft>
              <a:buFont typeface="Arial" panose="020B0604020202020204" pitchFamily="34" charset="0"/>
              <a:buChar char="•"/>
              <a:defRPr sz="1500" kern="1200">
                <a:solidFill>
                  <a:schemeClr val="tx1"/>
                </a:solidFill>
                <a:latin typeface="+mn-lt"/>
                <a:ea typeface="+mn-ea"/>
                <a:cs typeface="+mn-cs"/>
              </a:defRPr>
            </a:lvl3pPr>
            <a:lvl4pPr marL="685800" indent="-171450" algn="l" defTabSz="685800" rtl="0" eaLnBrk="1" latinLnBrk="0" hangingPunct="1">
              <a:lnSpc>
                <a:spcPct val="100000"/>
              </a:lnSpc>
              <a:spcBef>
                <a:spcPts val="0"/>
              </a:spcBef>
              <a:spcAft>
                <a:spcPts val="900"/>
              </a:spcAft>
              <a:buFont typeface="Calibri" panose="020F0502020204030204" pitchFamily="34" charset="0"/>
              <a:buChar char="–"/>
              <a:defRPr sz="1500" kern="1200">
                <a:solidFill>
                  <a:schemeClr val="tx1"/>
                </a:solidFill>
                <a:latin typeface="+mn-lt"/>
                <a:ea typeface="+mn-ea"/>
                <a:cs typeface="+mn-cs"/>
              </a:defRPr>
            </a:lvl4pPr>
            <a:lvl5pPr marL="857250" indent="-171450" algn="l" defTabSz="685800" rtl="0" eaLnBrk="1" latinLnBrk="0" hangingPunct="1">
              <a:lnSpc>
                <a:spcPct val="100000"/>
              </a:lnSpc>
              <a:spcBef>
                <a:spcPts val="0"/>
              </a:spcBef>
              <a:spcAft>
                <a:spcPts val="900"/>
              </a:spcAft>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227748" indent="-227748">
              <a:buClr>
                <a:srgbClr val="FF0000"/>
              </a:buClr>
            </a:pPr>
            <a:r>
              <a:rPr lang="en-US" sz="2000" dirty="0">
                <a:cs typeface="Calibri"/>
              </a:rPr>
              <a:t>Victoria University</a:t>
            </a:r>
          </a:p>
          <a:p>
            <a:pPr marL="227748" indent="-227748">
              <a:buClr>
                <a:srgbClr val="FF0000"/>
              </a:buClr>
            </a:pPr>
            <a:r>
              <a:rPr lang="en-US" sz="2000" dirty="0">
                <a:cs typeface="Calibri"/>
              </a:rPr>
              <a:t>Western Sydney University</a:t>
            </a:r>
          </a:p>
          <a:p>
            <a:pPr marL="227748" indent="-227748">
              <a:buClr>
                <a:srgbClr val="FF0000"/>
              </a:buClr>
            </a:pPr>
            <a:r>
              <a:rPr lang="en-US" sz="2000" dirty="0">
                <a:cs typeface="Calibri"/>
              </a:rPr>
              <a:t>University of Wollongong</a:t>
            </a:r>
          </a:p>
          <a:p>
            <a:pPr marL="227748" indent="-227748">
              <a:buClr>
                <a:srgbClr val="FF0000"/>
              </a:buClr>
            </a:pPr>
            <a:r>
              <a:rPr lang="en-US" sz="2000" dirty="0">
                <a:cs typeface="Calibri"/>
              </a:rPr>
              <a:t>Southern Institute of Technology</a:t>
            </a:r>
          </a:p>
          <a:p>
            <a:pPr marL="227748" indent="-227748">
              <a:buClr>
                <a:srgbClr val="FF0000"/>
              </a:buClr>
            </a:pPr>
            <a:r>
              <a:rPr lang="en-US" sz="2000" dirty="0">
                <a:cs typeface="Calibri"/>
              </a:rPr>
              <a:t>Dept of Education Tasmania</a:t>
            </a:r>
          </a:p>
          <a:p>
            <a:pPr marL="227748" indent="-227748">
              <a:buClr>
                <a:srgbClr val="FF0000"/>
              </a:buClr>
            </a:pPr>
            <a:r>
              <a:rPr lang="en-US" sz="2000" dirty="0">
                <a:cs typeface="Calibri"/>
              </a:rPr>
              <a:t>Deakin University</a:t>
            </a:r>
          </a:p>
          <a:p>
            <a:pPr marL="227748" indent="-227748">
              <a:buClr>
                <a:srgbClr val="FF0000"/>
              </a:buClr>
            </a:pPr>
            <a:endParaRPr lang="en-US" sz="2000" dirty="0">
              <a:cs typeface="Calibri"/>
            </a:endParaRPr>
          </a:p>
          <a:p>
            <a:pPr marL="227748" indent="-227748">
              <a:buClr>
                <a:srgbClr val="FF0000"/>
              </a:buClr>
            </a:pPr>
            <a:endParaRPr lang="en-US" sz="2000" dirty="0">
              <a:cs typeface="Calibri"/>
            </a:endParaRPr>
          </a:p>
        </p:txBody>
      </p:sp>
      <p:pic>
        <p:nvPicPr>
          <p:cNvPr id="2050" name="Picture 2" descr="Curtin University Logo">
            <a:extLst>
              <a:ext uri="{FF2B5EF4-FFF2-40B4-BE49-F238E27FC236}">
                <a16:creationId xmlns:a16="http://schemas.microsoft.com/office/drawing/2014/main" id="{6B2179D1-1BEC-FC66-AD46-CAA132CB76F1}"/>
              </a:ext>
            </a:extLst>
          </p:cNvPr>
          <p:cNvPicPr>
            <a:picLocks noChangeAspect="1" noChangeArrowheads="1"/>
          </p:cNvPicPr>
          <p:nvPr/>
        </p:nvPicPr>
        <p:blipFill>
          <a:blip r:embed="rId3" cstate="hqprint">
            <a:extLst>
              <a:ext uri="{28A0092B-C50C-407E-A947-70E740481C1C}">
                <a14:useLocalDpi xmlns:a14="http://schemas.microsoft.com/office/drawing/2010/main"/>
              </a:ext>
            </a:extLst>
          </a:blip>
          <a:srcRect/>
          <a:stretch>
            <a:fillRect/>
          </a:stretch>
        </p:blipFill>
        <p:spPr bwMode="auto">
          <a:xfrm>
            <a:off x="7124700" y="554842"/>
            <a:ext cx="5067300" cy="88611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Victoria University of Wellington logo">
            <a:extLst>
              <a:ext uri="{FF2B5EF4-FFF2-40B4-BE49-F238E27FC236}">
                <a16:creationId xmlns:a16="http://schemas.microsoft.com/office/drawing/2014/main" id="{E3D4A111-BEE0-697C-199C-569762AC96C2}"/>
              </a:ext>
            </a:extLst>
          </p:cNvPr>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8109556" y="1423722"/>
            <a:ext cx="3454400" cy="1171258"/>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James Cook University in Queensland Logo">
            <a:extLst>
              <a:ext uri="{FF2B5EF4-FFF2-40B4-BE49-F238E27FC236}">
                <a16:creationId xmlns:a16="http://schemas.microsoft.com/office/drawing/2014/main" id="{359C9686-864C-B4D9-CD02-09A423D1E242}"/>
              </a:ext>
            </a:extLst>
          </p:cNvPr>
          <p:cNvPicPr>
            <a:picLocks noChangeAspect="1" noChangeArrowheads="1"/>
          </p:cNvPicPr>
          <p:nvPr/>
        </p:nvPicPr>
        <p:blipFill>
          <a:blip r:embed="rId5">
            <a:extLst>
              <a:ext uri="{28A0092B-C50C-407E-A947-70E740481C1C}">
                <a14:useLocalDpi xmlns:a14="http://schemas.microsoft.com/office/drawing/2010/main"/>
              </a:ext>
            </a:extLst>
          </a:blip>
          <a:srcRect/>
          <a:stretch>
            <a:fillRect/>
          </a:stretch>
        </p:blipFill>
        <p:spPr bwMode="auto">
          <a:xfrm>
            <a:off x="7231592" y="2647102"/>
            <a:ext cx="3016250" cy="155149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TAFE SA - Vocational Education &amp; Training in Adelaide, South Australia">
            <a:extLst>
              <a:ext uri="{FF2B5EF4-FFF2-40B4-BE49-F238E27FC236}">
                <a16:creationId xmlns:a16="http://schemas.microsoft.com/office/drawing/2014/main" id="{A6636856-6314-7E40-A5C5-86760797EC1E}"/>
              </a:ext>
            </a:extLst>
          </p:cNvPr>
          <p:cNvPicPr>
            <a:picLocks noChangeAspect="1" noChangeArrowheads="1"/>
          </p:cNvPicPr>
          <p:nvPr/>
        </p:nvPicPr>
        <p:blipFill>
          <a:blip r:embed="rId6">
            <a:extLst>
              <a:ext uri="{28A0092B-C50C-407E-A947-70E740481C1C}">
                <a14:useLocalDpi xmlns:a14="http://schemas.microsoft.com/office/drawing/2010/main"/>
              </a:ext>
            </a:extLst>
          </a:blip>
          <a:srcRect/>
          <a:stretch>
            <a:fillRect/>
          </a:stretch>
        </p:blipFill>
        <p:spPr bwMode="auto">
          <a:xfrm>
            <a:off x="10340223" y="2478011"/>
            <a:ext cx="1841500" cy="1841500"/>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Griffith University logo">
            <a:extLst>
              <a:ext uri="{FF2B5EF4-FFF2-40B4-BE49-F238E27FC236}">
                <a16:creationId xmlns:a16="http://schemas.microsoft.com/office/drawing/2014/main" id="{A59C131B-AEFE-0B70-588E-3D803D77A33C}"/>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6565915" y="3923560"/>
            <a:ext cx="2256049" cy="2256049"/>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Charles Darwin University logo">
            <a:extLst>
              <a:ext uri="{FF2B5EF4-FFF2-40B4-BE49-F238E27FC236}">
                <a16:creationId xmlns:a16="http://schemas.microsoft.com/office/drawing/2014/main" id="{397ED386-63E4-58EF-A6BC-069EF82A0B56}"/>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8739717" y="4319511"/>
            <a:ext cx="3454400" cy="1852690"/>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Icon&#10;&#10;This is the Ally Logo.&#10;A white A with a figure for the holes&#10;Two green L &#10;A blue Y with a figure and a little head">
            <a:extLst>
              <a:ext uri="{FF2B5EF4-FFF2-40B4-BE49-F238E27FC236}">
                <a16:creationId xmlns:a16="http://schemas.microsoft.com/office/drawing/2014/main" id="{F1684003-4B9D-8141-4758-3081BC20C6EF}"/>
              </a:ext>
            </a:extLst>
          </p:cNvPr>
          <p:cNvPicPr>
            <a:picLocks noChangeAspect="1"/>
          </p:cNvPicPr>
          <p:nvPr/>
        </p:nvPicPr>
        <p:blipFill>
          <a:blip r:embed="rId9" cstate="hqprint">
            <a:extLst>
              <a:ext uri="{28A0092B-C50C-407E-A947-70E740481C1C}">
                <a14:useLocalDpi xmlns:a14="http://schemas.microsoft.com/office/drawing/2010/main"/>
              </a:ext>
            </a:extLst>
          </a:blip>
          <a:stretch>
            <a:fillRect/>
          </a:stretch>
        </p:blipFill>
        <p:spPr>
          <a:xfrm>
            <a:off x="189562" y="6179609"/>
            <a:ext cx="2285281" cy="684515"/>
          </a:xfrm>
          <a:prstGeom prst="rect">
            <a:avLst/>
          </a:prstGeom>
        </p:spPr>
      </p:pic>
    </p:spTree>
    <p:extLst>
      <p:ext uri="{BB962C8B-B14F-4D97-AF65-F5344CB8AC3E}">
        <p14:creationId xmlns:p14="http://schemas.microsoft.com/office/powerpoint/2010/main" val="36972025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95DBED7-8582-5894-12BD-6C98B148C8EB}"/>
              </a:ext>
            </a:extLst>
          </p:cNvPr>
          <p:cNvSpPr>
            <a:spLocks noGrp="1"/>
          </p:cNvSpPr>
          <p:nvPr>
            <p:ph type="title" idx="4294967295"/>
          </p:nvPr>
        </p:nvSpPr>
        <p:spPr>
          <a:xfrm>
            <a:off x="1371600" y="2012950"/>
            <a:ext cx="5842000" cy="356235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normAutofit/>
          </a:bodyPr>
          <a:lstStyle/>
          <a:p>
            <a:pPr marL="0" marR="0" lvl="0" indent="0" algn="ctr" defTabSz="914377" rtl="0" eaLnBrk="1" fontAlgn="auto" latinLnBrk="0" hangingPunct="1">
              <a:lnSpc>
                <a:spcPct val="100000"/>
              </a:lnSpc>
              <a:spcBef>
                <a:spcPts val="0"/>
              </a:spcBef>
              <a:spcAft>
                <a:spcPts val="1200"/>
              </a:spcAft>
              <a:buClrTx/>
              <a:buSzTx/>
              <a:buFontTx/>
              <a:buNone/>
              <a:tabLst/>
              <a:defRPr/>
            </a:pPr>
            <a:r>
              <a:rPr kumimoji="0" lang="en-US" sz="48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Ally has increased awareness of accessibility, phenomenally.”</a:t>
            </a:r>
          </a:p>
          <a:p>
            <a:pPr marL="0" marR="0" lvl="0" indent="0" algn="ctr" defTabSz="914377" rtl="0" eaLnBrk="1" fontAlgn="auto" latinLnBrk="0" hangingPunct="1">
              <a:lnSpc>
                <a:spcPct val="100000"/>
              </a:lnSpc>
              <a:spcBef>
                <a:spcPts val="0"/>
              </a:spcBef>
              <a:spcAft>
                <a:spcPts val="1200"/>
              </a:spcAft>
              <a:buClrTx/>
              <a:buSzTx/>
              <a:buFontTx/>
              <a:buNone/>
              <a:tabLst/>
              <a:defRPr/>
            </a:pPr>
            <a:endParaRPr kumimoji="0" lang="en-US" sz="4800" b="0" i="0" u="none" strike="noStrike" kern="1200" cap="none" spc="0" normalizeH="0" baseline="0" noProof="0" dirty="0">
              <a:ln>
                <a:noFill/>
              </a:ln>
              <a:solidFill>
                <a:schemeClr val="tx1"/>
              </a:solidFill>
              <a:effectLst/>
              <a:uLnTx/>
              <a:uFillTx/>
              <a:latin typeface="+mj-lt"/>
              <a:ea typeface="+mn-ea"/>
              <a:cs typeface="+mn-cs"/>
            </a:endParaRPr>
          </a:p>
        </p:txBody>
      </p:sp>
      <p:sp>
        <p:nvSpPr>
          <p:cNvPr id="6" name="Text Placeholder 5">
            <a:extLst>
              <a:ext uri="{FF2B5EF4-FFF2-40B4-BE49-F238E27FC236}">
                <a16:creationId xmlns:a16="http://schemas.microsoft.com/office/drawing/2014/main" id="{71683A49-EE29-E436-3453-4F602FD517FE}"/>
              </a:ext>
            </a:extLst>
          </p:cNvPr>
          <p:cNvSpPr>
            <a:spLocks noGrp="1"/>
          </p:cNvSpPr>
          <p:nvPr>
            <p:ph type="body" sz="quarter" idx="11"/>
          </p:nvPr>
        </p:nvSpPr>
        <p:spPr>
          <a:xfrm>
            <a:off x="8081819" y="1762126"/>
            <a:ext cx="3805381" cy="3333751"/>
          </a:xfrm>
        </p:spPr>
        <p:txBody>
          <a:bodyPr/>
          <a:lstStyle/>
          <a:p>
            <a:pPr algn="r"/>
            <a:r>
              <a:rPr lang="en-US" sz="2400">
                <a:latin typeface="+mn-lt"/>
                <a:ea typeface="Calibri" panose="020F0502020204030204" pitchFamily="34" charset="0"/>
                <a:cs typeface="Times New Roman" panose="02020603050405020304" pitchFamily="18" charset="0"/>
              </a:rPr>
              <a:t>Caroline Briggs</a:t>
            </a:r>
          </a:p>
          <a:p>
            <a:pPr algn="r"/>
            <a:r>
              <a:rPr lang="en-US" sz="2400">
                <a:latin typeface="+mn-lt"/>
                <a:ea typeface="Calibri" panose="020F0502020204030204" pitchFamily="34" charset="0"/>
                <a:cs typeface="Times New Roman" panose="02020603050405020304" pitchFamily="18" charset="0"/>
              </a:rPr>
              <a:t>Assistive Technology Officer </a:t>
            </a:r>
          </a:p>
          <a:p>
            <a:pPr algn="r"/>
            <a:r>
              <a:rPr lang="en-US" sz="3200" b="1">
                <a:latin typeface="+mn-lt"/>
                <a:cs typeface="Times New Roman" panose="02020603050405020304" pitchFamily="18" charset="0"/>
              </a:rPr>
              <a:t>U</a:t>
            </a:r>
            <a:r>
              <a:rPr lang="en-US" sz="3200" b="1">
                <a:latin typeface="+mn-lt"/>
              </a:rPr>
              <a:t>niversity of Cumbria</a:t>
            </a:r>
            <a:endParaRPr lang="en-GB" sz="3200" b="1">
              <a:latin typeface="+mn-lt"/>
            </a:endParaRPr>
          </a:p>
          <a:p>
            <a:endParaRPr lang="en-US"/>
          </a:p>
        </p:txBody>
      </p:sp>
    </p:spTree>
    <p:extLst>
      <p:ext uri="{BB962C8B-B14F-4D97-AF65-F5344CB8AC3E}">
        <p14:creationId xmlns:p14="http://schemas.microsoft.com/office/powerpoint/2010/main" val="4028356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F0AF5B3-A1A0-B47A-0A0C-1EB42B71763E}"/>
              </a:ext>
            </a:extLst>
          </p:cNvPr>
          <p:cNvSpPr>
            <a:spLocks noGrp="1"/>
          </p:cNvSpPr>
          <p:nvPr>
            <p:ph type="title"/>
          </p:nvPr>
        </p:nvSpPr>
        <p:spPr/>
        <p:txBody>
          <a:bodyPr/>
          <a:lstStyle/>
          <a:p>
            <a:r>
              <a:rPr lang="en-US" b="1" dirty="0"/>
              <a:t>In Summary</a:t>
            </a:r>
            <a:br>
              <a:rPr lang="en-US" b="1" dirty="0"/>
            </a:br>
            <a:endParaRPr lang="en-US" dirty="0"/>
          </a:p>
        </p:txBody>
      </p:sp>
      <p:pic>
        <p:nvPicPr>
          <p:cNvPr id="4" name="Picture 3" descr="A laptop displaying the alternative formats menu" title="Alternative formats">
            <a:extLst>
              <a:ext uri="{FF2B5EF4-FFF2-40B4-BE49-F238E27FC236}">
                <a16:creationId xmlns:a16="http://schemas.microsoft.com/office/drawing/2014/main" id="{2E3F1584-CB7D-E3D9-D00C-C63E06831A48}"/>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491603" y="959317"/>
            <a:ext cx="3618486" cy="2481256"/>
          </a:xfrm>
          <a:prstGeom prst="rect">
            <a:avLst/>
          </a:prstGeom>
        </p:spPr>
      </p:pic>
      <p:sp>
        <p:nvSpPr>
          <p:cNvPr id="12" name="Rectangle 11">
            <a:extLst>
              <a:ext uri="{FF2B5EF4-FFF2-40B4-BE49-F238E27FC236}">
                <a16:creationId xmlns:a16="http://schemas.microsoft.com/office/drawing/2014/main" id="{C2F957A8-B0E3-1185-8C30-FD9B35128CD8}"/>
              </a:ext>
            </a:extLst>
          </p:cNvPr>
          <p:cNvSpPr/>
          <p:nvPr/>
        </p:nvSpPr>
        <p:spPr>
          <a:xfrm>
            <a:off x="412006" y="3702391"/>
            <a:ext cx="2746753" cy="2379403"/>
          </a:xfrm>
          <a:prstGeom prst="rect">
            <a:avLst/>
          </a:prstGeom>
          <a:solidFill>
            <a:schemeClr val="bg1"/>
          </a:solidFill>
          <a:ln w="12700" cap="sq">
            <a:noFill/>
            <a:miter lim="800000"/>
          </a:ln>
        </p:spPr>
        <p:txBody>
          <a:bodyPr wrap="square" lIns="137160" tIns="137160" rIns="137160" bIns="137160" rtlCol="0">
            <a:noAutofit/>
          </a:bodyPr>
          <a:lstStyle/>
          <a:p>
            <a:r>
              <a:rPr lang="en-US" sz="1600" b="1" dirty="0">
                <a:latin typeface="Helvetica" pitchFamily="2" charset="0"/>
              </a:rPr>
              <a:t>Alternative Formats</a:t>
            </a:r>
            <a:br>
              <a:rPr lang="en-US" sz="1600" b="1" dirty="0">
                <a:latin typeface="Helvetica" pitchFamily="2" charset="0"/>
              </a:rPr>
            </a:br>
            <a:endParaRPr lang="en-US" sz="1600" dirty="0">
              <a:latin typeface="Helvetica" pitchFamily="2" charset="0"/>
            </a:endParaRPr>
          </a:p>
          <a:p>
            <a:pPr>
              <a:lnSpc>
                <a:spcPts val="2000"/>
              </a:lnSpc>
            </a:pPr>
            <a:r>
              <a:rPr lang="en-US" sz="1600" dirty="0">
                <a:latin typeface="Helvetica" pitchFamily="2" charset="0"/>
              </a:rPr>
              <a:t>Automatically provide alternate formats for web pages and embedded media to provide more flexibility to your visitors</a:t>
            </a:r>
          </a:p>
          <a:p>
            <a:pPr>
              <a:lnSpc>
                <a:spcPts val="2000"/>
              </a:lnSpc>
            </a:pPr>
            <a:endParaRPr lang="en-US" sz="1600" dirty="0"/>
          </a:p>
        </p:txBody>
      </p:sp>
      <p:pic>
        <p:nvPicPr>
          <p:cNvPr id="5" name="Picture 4" descr="A laptop displaying the instructor feedback" title="Feedback">
            <a:extLst>
              <a:ext uri="{FF2B5EF4-FFF2-40B4-BE49-F238E27FC236}">
                <a16:creationId xmlns:a16="http://schemas.microsoft.com/office/drawing/2014/main" id="{8FEE0B16-B9D8-3698-8EB8-0A6D8F96A71D}"/>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4110089" y="959316"/>
            <a:ext cx="3618486" cy="2481257"/>
          </a:xfrm>
          <a:prstGeom prst="rect">
            <a:avLst/>
          </a:prstGeom>
        </p:spPr>
      </p:pic>
      <p:sp>
        <p:nvSpPr>
          <p:cNvPr id="17" name="Rectangle 16">
            <a:extLst>
              <a:ext uri="{FF2B5EF4-FFF2-40B4-BE49-F238E27FC236}">
                <a16:creationId xmlns:a16="http://schemas.microsoft.com/office/drawing/2014/main" id="{0DC20C6D-1CDE-2830-99C9-A3E0848F9C0B}"/>
              </a:ext>
            </a:extLst>
          </p:cNvPr>
          <p:cNvSpPr/>
          <p:nvPr/>
        </p:nvSpPr>
        <p:spPr>
          <a:xfrm>
            <a:off x="4110089" y="3702390"/>
            <a:ext cx="2877120" cy="2396709"/>
          </a:xfrm>
          <a:prstGeom prst="rect">
            <a:avLst/>
          </a:prstGeom>
          <a:solidFill>
            <a:schemeClr val="bg1"/>
          </a:solidFill>
          <a:ln w="12700" cap="sq">
            <a:noFill/>
            <a:miter lim="800000"/>
          </a:ln>
        </p:spPr>
        <p:txBody>
          <a:bodyPr wrap="square" lIns="137160" tIns="137160" rIns="137160" bIns="137160" rtlCol="0">
            <a:noAutofit/>
          </a:bodyPr>
          <a:lstStyle/>
          <a:p>
            <a:r>
              <a:rPr lang="en-US" sz="1600" b="1" dirty="0">
                <a:latin typeface="Helvetica" pitchFamily="2" charset="0"/>
              </a:rPr>
              <a:t>Content Creator Feedback</a:t>
            </a:r>
          </a:p>
          <a:p>
            <a:br>
              <a:rPr lang="en-US" sz="1600" dirty="0">
                <a:latin typeface="Helvetica" pitchFamily="2" charset="0"/>
              </a:rPr>
            </a:br>
            <a:r>
              <a:rPr lang="en-US" sz="1600" dirty="0">
                <a:latin typeface="Helvetica" pitchFamily="2" charset="0"/>
              </a:rPr>
              <a:t>Educate and increase awareness with detailed guidance to help improve content.</a:t>
            </a:r>
          </a:p>
          <a:p>
            <a:endParaRPr lang="en-US" sz="1600" dirty="0"/>
          </a:p>
          <a:p>
            <a:endParaRPr lang="en-US" sz="1600" dirty="0"/>
          </a:p>
        </p:txBody>
      </p:sp>
      <p:grpSp>
        <p:nvGrpSpPr>
          <p:cNvPr id="6" name="Group 5" descr="Reporting&#10;&#10;A laptop showing Ally's institutional reporting">
            <a:extLst>
              <a:ext uri="{FF2B5EF4-FFF2-40B4-BE49-F238E27FC236}">
                <a16:creationId xmlns:a16="http://schemas.microsoft.com/office/drawing/2014/main" id="{58AB1284-9FB0-4CB9-2A4F-670EC35CD43C}"/>
              </a:ext>
            </a:extLst>
          </p:cNvPr>
          <p:cNvGrpSpPr/>
          <p:nvPr/>
        </p:nvGrpSpPr>
        <p:grpSpPr>
          <a:xfrm>
            <a:off x="8006871" y="959316"/>
            <a:ext cx="3443008" cy="2481257"/>
            <a:chOff x="6287198" y="1654906"/>
            <a:chExt cx="2234854" cy="1526854"/>
          </a:xfrm>
        </p:grpSpPr>
        <p:pic>
          <p:nvPicPr>
            <p:cNvPr id="7" name="Picture 6" descr="A laptop displaying the instructor feedback" title="Feedback">
              <a:extLst>
                <a:ext uri="{FF2B5EF4-FFF2-40B4-BE49-F238E27FC236}">
                  <a16:creationId xmlns:a16="http://schemas.microsoft.com/office/drawing/2014/main" id="{49C6AE8D-8783-10C9-E508-BE361A5156C5}"/>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6295399" y="1654906"/>
              <a:ext cx="2226653" cy="1526854"/>
            </a:xfrm>
            <a:prstGeom prst="rect">
              <a:avLst/>
            </a:prstGeom>
          </p:spPr>
        </p:pic>
        <p:pic>
          <p:nvPicPr>
            <p:cNvPr id="8" name="Picture 7">
              <a:extLst>
                <a:ext uri="{FF2B5EF4-FFF2-40B4-BE49-F238E27FC236}">
                  <a16:creationId xmlns:a16="http://schemas.microsoft.com/office/drawing/2014/main" id="{0B100317-CAF2-8759-CEFB-655F114A84B2}"/>
                </a:ext>
              </a:extLst>
            </p:cNvPr>
            <p:cNvPicPr>
              <a:picLocks noChangeAspect="1"/>
            </p:cNvPicPr>
            <p:nvPr/>
          </p:nvPicPr>
          <p:blipFill rotWithShape="1">
            <a:blip r:embed="rId6" cstate="hqprint">
              <a:extLst>
                <a:ext uri="{28A0092B-C50C-407E-A947-70E740481C1C}">
                  <a14:useLocalDpi xmlns:a14="http://schemas.microsoft.com/office/drawing/2010/main"/>
                </a:ext>
              </a:extLst>
            </a:blip>
            <a:srcRect t="-1"/>
            <a:stretch/>
          </p:blipFill>
          <p:spPr>
            <a:xfrm>
              <a:off x="6287198" y="1762917"/>
              <a:ext cx="1860411" cy="1255705"/>
            </a:xfrm>
            <a:prstGeom prst="rect">
              <a:avLst/>
            </a:prstGeom>
          </p:spPr>
        </p:pic>
      </p:grpSp>
      <p:sp>
        <p:nvSpPr>
          <p:cNvPr id="18" name="Rectangle 17">
            <a:extLst>
              <a:ext uri="{FF2B5EF4-FFF2-40B4-BE49-F238E27FC236}">
                <a16:creationId xmlns:a16="http://schemas.microsoft.com/office/drawing/2014/main" id="{53CF3CCA-011F-904A-94CB-5CD4868D3933}"/>
              </a:ext>
            </a:extLst>
          </p:cNvPr>
          <p:cNvSpPr/>
          <p:nvPr/>
        </p:nvSpPr>
        <p:spPr>
          <a:xfrm>
            <a:off x="7808172" y="3702389"/>
            <a:ext cx="3064841" cy="2481257"/>
          </a:xfrm>
          <a:prstGeom prst="rect">
            <a:avLst/>
          </a:prstGeom>
          <a:solidFill>
            <a:schemeClr val="bg1"/>
          </a:solidFill>
          <a:ln w="12700" cap="sq">
            <a:noFill/>
            <a:miter lim="800000"/>
          </a:ln>
        </p:spPr>
        <p:txBody>
          <a:bodyPr wrap="square" lIns="137160" tIns="137160" rIns="137160" bIns="137160" rtlCol="0">
            <a:noAutofit/>
          </a:bodyPr>
          <a:lstStyle/>
          <a:p>
            <a:r>
              <a:rPr lang="en-US" sz="1600" b="1" dirty="0">
                <a:latin typeface="Helvetica" pitchFamily="2" charset="0"/>
              </a:rPr>
              <a:t>Accessibility Report</a:t>
            </a:r>
          </a:p>
          <a:p>
            <a:br>
              <a:rPr lang="en-US" sz="1600" dirty="0">
                <a:latin typeface="Helvetica" pitchFamily="2" charset="0"/>
              </a:rPr>
            </a:br>
            <a:r>
              <a:rPr lang="en-US" sz="1600" dirty="0">
                <a:latin typeface="Helvetica" pitchFamily="2" charset="0"/>
              </a:rPr>
              <a:t>Automatically checks your website for accessibility issues and provides detailed insight into problem areas</a:t>
            </a:r>
          </a:p>
          <a:p>
            <a:endParaRPr lang="en-US" sz="1600" dirty="0"/>
          </a:p>
          <a:p>
            <a:endParaRPr lang="en-US" sz="1600" dirty="0"/>
          </a:p>
        </p:txBody>
      </p:sp>
      <p:pic>
        <p:nvPicPr>
          <p:cNvPr id="19" name="Picture 18" descr="Icon&#10;&#10;This is the Ally Logo.&#10;A white A with a figure for the holes&#10;Two green L &#10;A blue Y with a figure and a little head">
            <a:extLst>
              <a:ext uri="{FF2B5EF4-FFF2-40B4-BE49-F238E27FC236}">
                <a16:creationId xmlns:a16="http://schemas.microsoft.com/office/drawing/2014/main" id="{7E8024E4-8B24-4866-AA2E-CA8138E377FA}"/>
              </a:ext>
            </a:extLst>
          </p:cNvPr>
          <p:cNvPicPr>
            <a:picLocks noChangeAspect="1"/>
          </p:cNvPicPr>
          <p:nvPr/>
        </p:nvPicPr>
        <p:blipFill>
          <a:blip r:embed="rId7" cstate="hqprint">
            <a:extLst>
              <a:ext uri="{28A0092B-C50C-407E-A947-70E740481C1C}">
                <a14:useLocalDpi xmlns:a14="http://schemas.microsoft.com/office/drawing/2010/main"/>
              </a:ext>
            </a:extLst>
          </a:blip>
          <a:stretch>
            <a:fillRect/>
          </a:stretch>
        </p:blipFill>
        <p:spPr>
          <a:xfrm>
            <a:off x="189562" y="6179609"/>
            <a:ext cx="2285281" cy="684515"/>
          </a:xfrm>
          <a:prstGeom prst="rect">
            <a:avLst/>
          </a:prstGeom>
        </p:spPr>
      </p:pic>
    </p:spTree>
    <p:extLst>
      <p:ext uri="{BB962C8B-B14F-4D97-AF65-F5344CB8AC3E}">
        <p14:creationId xmlns:p14="http://schemas.microsoft.com/office/powerpoint/2010/main" val="808583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A10297DC-6D6B-41E4-8927-E362F496930C}"/>
              </a:ext>
            </a:extLst>
          </p:cNvPr>
          <p:cNvSpPr>
            <a:spLocks noGrp="1"/>
          </p:cNvSpPr>
          <p:nvPr>
            <p:ph type="title"/>
          </p:nvPr>
        </p:nvSpPr>
        <p:spPr/>
        <p:txBody>
          <a:bodyPr/>
          <a:lstStyle/>
          <a:p>
            <a:r>
              <a:rPr lang="en-US" dirty="0">
                <a:latin typeface="Helvetica" pitchFamily="2" charset="0"/>
              </a:rPr>
              <a:t>Useful Resources</a:t>
            </a:r>
          </a:p>
        </p:txBody>
      </p:sp>
      <p:sp>
        <p:nvSpPr>
          <p:cNvPr id="14" name="Rectangle 13">
            <a:extLst>
              <a:ext uri="{FF2B5EF4-FFF2-40B4-BE49-F238E27FC236}">
                <a16:creationId xmlns:a16="http://schemas.microsoft.com/office/drawing/2014/main" id="{6FA0D11E-74E1-43F7-839B-70BE56FB08C2}"/>
              </a:ext>
              <a:ext uri="{C183D7F6-B498-43B3-948B-1728B52AA6E4}">
                <adec:decorative xmlns:adec="http://schemas.microsoft.com/office/drawing/2017/decorative" val="1"/>
              </a:ext>
            </a:extLst>
          </p:cNvPr>
          <p:cNvSpPr/>
          <p:nvPr/>
        </p:nvSpPr>
        <p:spPr>
          <a:xfrm>
            <a:off x="0" y="1600199"/>
            <a:ext cx="12192000" cy="45767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686EAE45-A4CE-4011-993A-26C1A1B0EE25}"/>
              </a:ext>
            </a:extLst>
          </p:cNvPr>
          <p:cNvSpPr/>
          <p:nvPr/>
        </p:nvSpPr>
        <p:spPr>
          <a:xfrm>
            <a:off x="685799" y="1783080"/>
            <a:ext cx="10789921" cy="3792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2880" rIns="0" bIns="182880" rtlCol="0" anchor="t"/>
          <a:lstStyle/>
          <a:p>
            <a:pPr lvl="1" defTabSz="1218072">
              <a:spcAft>
                <a:spcPts val="1200"/>
              </a:spcAft>
            </a:pPr>
            <a:r>
              <a:rPr lang="en-US" sz="2000" b="1" kern="0" dirty="0">
                <a:solidFill>
                  <a:schemeClr val="tx1"/>
                </a:solidFill>
                <a:latin typeface="Helvetica" pitchFamily="2" charset="0"/>
              </a:rPr>
              <a:t>Ally User Group</a:t>
            </a:r>
          </a:p>
        </p:txBody>
      </p:sp>
      <p:pic>
        <p:nvPicPr>
          <p:cNvPr id="2" name="Picture 1">
            <a:extLst>
              <a:ext uri="{FF2B5EF4-FFF2-40B4-BE49-F238E27FC236}">
                <a16:creationId xmlns:a16="http://schemas.microsoft.com/office/drawing/2014/main" id="{DE2369C2-AB69-69CE-8E08-4F1C88D078C8}"/>
              </a:ext>
              <a:ext uri="{C183D7F6-B498-43B3-948B-1728B52AA6E4}">
                <adec:decorative xmlns:adec="http://schemas.microsoft.com/office/drawing/2017/decorative" val="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85799" y="2519543"/>
            <a:ext cx="4086665" cy="3356864"/>
          </a:xfrm>
          <a:prstGeom prst="rect">
            <a:avLst/>
          </a:prstGeom>
        </p:spPr>
      </p:pic>
      <p:sp>
        <p:nvSpPr>
          <p:cNvPr id="3" name="Rectangle 2">
            <a:extLst>
              <a:ext uri="{FF2B5EF4-FFF2-40B4-BE49-F238E27FC236}">
                <a16:creationId xmlns:a16="http://schemas.microsoft.com/office/drawing/2014/main" id="{74C265D6-38F1-57DE-F1B9-56B30B3DFD14}"/>
              </a:ext>
            </a:extLst>
          </p:cNvPr>
          <p:cNvSpPr/>
          <p:nvPr/>
        </p:nvSpPr>
        <p:spPr>
          <a:xfrm>
            <a:off x="5458262" y="2457746"/>
            <a:ext cx="5723259" cy="3719215"/>
          </a:xfrm>
          <a:prstGeom prst="rect">
            <a:avLst/>
          </a:prstGeom>
          <a:noFill/>
          <a:ln w="12700" cap="sq">
            <a:noFill/>
            <a:miter lim="800000"/>
          </a:ln>
        </p:spPr>
        <p:txBody>
          <a:bodyPr wrap="square" lIns="0" tIns="0" rIns="0" bIns="0" rtlCol="0">
            <a:noAutofit/>
          </a:bodyPr>
          <a:lstStyle/>
          <a:p>
            <a:pPr marL="211328" indent="-211328" defTabSz="457184">
              <a:spcBef>
                <a:spcPts val="1195"/>
              </a:spcBef>
              <a:buSzPct val="100000"/>
              <a:buFont typeface="Arial"/>
              <a:buChar char="•"/>
              <a:defRPr sz="3000">
                <a:solidFill>
                  <a:srgbClr val="191B23"/>
                </a:solidFill>
                <a:latin typeface="Calibri"/>
                <a:ea typeface="Calibri"/>
                <a:cs typeface="Calibri"/>
                <a:sym typeface="Calibri"/>
              </a:defRPr>
            </a:pPr>
            <a:r>
              <a:rPr lang="en-US" sz="2000" dirty="0">
                <a:latin typeface="Helvetica" pitchFamily="2" charset="0"/>
              </a:rPr>
              <a:t>Receive updates about Blackboard Ally</a:t>
            </a:r>
          </a:p>
          <a:p>
            <a:pPr marL="211328" indent="-211328" defTabSz="457184">
              <a:spcBef>
                <a:spcPts val="2461"/>
              </a:spcBef>
              <a:buSzPct val="100000"/>
              <a:buFont typeface="Arial"/>
              <a:buChar char="•"/>
              <a:defRPr sz="3000">
                <a:solidFill>
                  <a:srgbClr val="191B23"/>
                </a:solidFill>
                <a:latin typeface="Calibri"/>
                <a:ea typeface="Calibri"/>
                <a:cs typeface="Calibri"/>
                <a:sym typeface="Calibri"/>
              </a:defRPr>
            </a:pPr>
            <a:r>
              <a:rPr lang="en-US" sz="2000" dirty="0">
                <a:latin typeface="Helvetica" pitchFamily="2" charset="0"/>
              </a:rPr>
              <a:t>Participate in UX research, usability testing, early access, etc.</a:t>
            </a:r>
          </a:p>
          <a:p>
            <a:pPr marL="211328" indent="-211328" defTabSz="457184">
              <a:spcBef>
                <a:spcPts val="2461"/>
              </a:spcBef>
              <a:buSzPct val="100000"/>
              <a:buFont typeface="Arial"/>
              <a:buChar char="•"/>
              <a:defRPr sz="3000">
                <a:solidFill>
                  <a:srgbClr val="191B23"/>
                </a:solidFill>
                <a:latin typeface="Calibri"/>
                <a:ea typeface="Calibri"/>
                <a:cs typeface="Calibri"/>
                <a:sym typeface="Calibri"/>
              </a:defRPr>
            </a:pPr>
            <a:r>
              <a:rPr lang="en-US" sz="2000" dirty="0">
                <a:latin typeface="Helvetica" pitchFamily="2" charset="0"/>
              </a:rPr>
              <a:t>Read institutional stories and case studies</a:t>
            </a:r>
          </a:p>
          <a:p>
            <a:endParaRPr lang="en-US" sz="2000" dirty="0">
              <a:latin typeface="Helvetica" pitchFamily="2" charset="0"/>
            </a:endParaRPr>
          </a:p>
          <a:p>
            <a:r>
              <a:rPr lang="en-US" sz="2000" b="1" dirty="0">
                <a:latin typeface="Helvetica" pitchFamily="2" charset="0"/>
              </a:rPr>
              <a:t>Sign up at:</a:t>
            </a:r>
          </a:p>
          <a:p>
            <a:r>
              <a:rPr lang="en-US" sz="2000" dirty="0">
                <a:latin typeface="Helvetica" pitchFamily="2" charset="0"/>
                <a:hlinkClick r:id="rId4">
                  <a:extLst>
                    <a:ext uri="{A12FA001-AC4F-418D-AE19-62706E023703}">
                      <ahyp:hlinkClr xmlns:ahyp="http://schemas.microsoft.com/office/drawing/2018/hyperlinkcolor" val="tx"/>
                    </a:ext>
                  </a:extLst>
                </a:hlinkClick>
              </a:rPr>
              <a:t>https://usergroup.ally.ac</a:t>
            </a:r>
            <a:r>
              <a:rPr lang="en-US" sz="2000" dirty="0">
                <a:latin typeface="Helvetica" pitchFamily="2" charset="0"/>
              </a:rPr>
              <a:t> </a:t>
            </a:r>
          </a:p>
        </p:txBody>
      </p:sp>
      <p:pic>
        <p:nvPicPr>
          <p:cNvPr id="4" name="Picture 3" descr="Icon&#10;&#10;This is the Ally Logo.&#10;A white A with a figure for the holes&#10;Two green L &#10;A blue Y with a figure and a little head">
            <a:extLst>
              <a:ext uri="{FF2B5EF4-FFF2-40B4-BE49-F238E27FC236}">
                <a16:creationId xmlns:a16="http://schemas.microsoft.com/office/drawing/2014/main" id="{06AD8E2B-4B91-04CC-79C7-3883BBE4E241}"/>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89562" y="6179609"/>
            <a:ext cx="2285281" cy="684515"/>
          </a:xfrm>
          <a:prstGeom prst="rect">
            <a:avLst/>
          </a:prstGeom>
        </p:spPr>
      </p:pic>
    </p:spTree>
    <p:extLst>
      <p:ext uri="{BB962C8B-B14F-4D97-AF65-F5344CB8AC3E}">
        <p14:creationId xmlns:p14="http://schemas.microsoft.com/office/powerpoint/2010/main" val="3554408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2">
            <a:extLst>
              <a:ext uri="{FF2B5EF4-FFF2-40B4-BE49-F238E27FC236}">
                <a16:creationId xmlns:a16="http://schemas.microsoft.com/office/drawing/2014/main" id="{8444615E-E651-F7D1-0770-57C705A5B54F}"/>
              </a:ext>
              <a:ext uri="{C183D7F6-B498-43B3-948B-1728B52AA6E4}">
                <adec:decorative xmlns:adec="http://schemas.microsoft.com/office/drawing/2017/decorative" val="0"/>
              </a:ext>
            </a:extLst>
          </p:cNvPr>
          <p:cNvSpPr>
            <a:spLocks noGrp="1"/>
          </p:cNvSpPr>
          <p:nvPr>
            <p:ph type="title"/>
          </p:nvPr>
        </p:nvSpPr>
        <p:spPr>
          <a:xfrm>
            <a:off x="685800" y="291162"/>
            <a:ext cx="10789920" cy="1080438"/>
          </a:xfrm>
        </p:spPr>
        <p:txBody>
          <a:bodyPr/>
          <a:lstStyle/>
          <a:p>
            <a:r>
              <a:rPr lang="en-US" dirty="0">
                <a:latin typeface="Helvetica" pitchFamily="2" charset="0"/>
              </a:rPr>
              <a:t>More Useful Resources</a:t>
            </a:r>
          </a:p>
        </p:txBody>
      </p:sp>
      <p:sp>
        <p:nvSpPr>
          <p:cNvPr id="14" name="Rectangle 13">
            <a:extLst>
              <a:ext uri="{FF2B5EF4-FFF2-40B4-BE49-F238E27FC236}">
                <a16:creationId xmlns:a16="http://schemas.microsoft.com/office/drawing/2014/main" id="{6FA0D11E-74E1-43F7-839B-70BE56FB08C2}"/>
              </a:ext>
              <a:ext uri="{C183D7F6-B498-43B3-948B-1728B52AA6E4}">
                <adec:decorative xmlns:adec="http://schemas.microsoft.com/office/drawing/2017/decorative" val="1"/>
              </a:ext>
            </a:extLst>
          </p:cNvPr>
          <p:cNvSpPr/>
          <p:nvPr/>
        </p:nvSpPr>
        <p:spPr>
          <a:xfrm>
            <a:off x="0" y="1600199"/>
            <a:ext cx="12192000" cy="45767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4" name="Picture 3">
            <a:extLst>
              <a:ext uri="{FF2B5EF4-FFF2-40B4-BE49-F238E27FC236}">
                <a16:creationId xmlns:a16="http://schemas.microsoft.com/office/drawing/2014/main" id="{40AC4F56-D458-6BA4-91DD-A07E7E2C4450}"/>
              </a:ext>
              <a:ext uri="{C183D7F6-B498-43B3-948B-1728B52AA6E4}">
                <adec:decorative xmlns:adec="http://schemas.microsoft.com/office/drawing/2017/decorative" val="1"/>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433417" y="2452667"/>
            <a:ext cx="3863600" cy="3356864"/>
          </a:xfrm>
          <a:prstGeom prst="rect">
            <a:avLst/>
          </a:prstGeom>
        </p:spPr>
      </p:pic>
      <p:sp>
        <p:nvSpPr>
          <p:cNvPr id="5" name="Rectangle 4">
            <a:extLst>
              <a:ext uri="{FF2B5EF4-FFF2-40B4-BE49-F238E27FC236}">
                <a16:creationId xmlns:a16="http://schemas.microsoft.com/office/drawing/2014/main" id="{768A9929-955C-4A89-1505-E9BA2DB80424}"/>
              </a:ext>
            </a:extLst>
          </p:cNvPr>
          <p:cNvSpPr/>
          <p:nvPr/>
        </p:nvSpPr>
        <p:spPr>
          <a:xfrm>
            <a:off x="5616105" y="2457747"/>
            <a:ext cx="4332965" cy="3346704"/>
          </a:xfrm>
          <a:prstGeom prst="rect">
            <a:avLst/>
          </a:prstGeom>
          <a:noFill/>
          <a:ln w="12700" cap="sq">
            <a:noFill/>
            <a:miter lim="800000"/>
          </a:ln>
        </p:spPr>
        <p:txBody>
          <a:bodyPr wrap="square" lIns="0" tIns="0" rIns="0" bIns="0" rtlCol="0">
            <a:noAutofit/>
          </a:bodyPr>
          <a:lstStyle/>
          <a:p>
            <a:pPr marL="211328" indent="-211328" defTabSz="457184">
              <a:spcBef>
                <a:spcPts val="1195"/>
              </a:spcBef>
              <a:spcAft>
                <a:spcPts val="1200"/>
              </a:spcAft>
              <a:buSzPct val="100000"/>
              <a:buFont typeface="Arial"/>
              <a:buChar char="•"/>
              <a:defRPr sz="3000">
                <a:solidFill>
                  <a:srgbClr val="191B23"/>
                </a:solidFill>
                <a:latin typeface="Calibri"/>
                <a:ea typeface="Calibri"/>
                <a:cs typeface="Calibri"/>
                <a:sym typeface="Calibri"/>
              </a:defRPr>
            </a:pPr>
            <a:r>
              <a:rPr lang="en-US" sz="2000" dirty="0">
                <a:latin typeface="Helvetica" pitchFamily="2" charset="0"/>
              </a:rPr>
              <a:t>End-user documentation</a:t>
            </a:r>
          </a:p>
          <a:p>
            <a:pPr marL="211328" indent="-211328" defTabSz="457184">
              <a:spcBef>
                <a:spcPts val="1195"/>
              </a:spcBef>
              <a:spcAft>
                <a:spcPts val="1200"/>
              </a:spcAft>
              <a:buSzPct val="100000"/>
              <a:buFont typeface="Arial"/>
              <a:buChar char="•"/>
              <a:defRPr sz="3000">
                <a:solidFill>
                  <a:srgbClr val="191B23"/>
                </a:solidFill>
                <a:latin typeface="Calibri"/>
                <a:ea typeface="Calibri"/>
                <a:cs typeface="Calibri"/>
                <a:sym typeface="Calibri"/>
              </a:defRPr>
            </a:pPr>
            <a:r>
              <a:rPr lang="en-US" sz="2000" dirty="0">
                <a:latin typeface="Helvetica" pitchFamily="2" charset="0"/>
              </a:rPr>
              <a:t>Ally release notes</a:t>
            </a:r>
          </a:p>
          <a:p>
            <a:endParaRPr lang="en-US" sz="2000" dirty="0">
              <a:latin typeface="Helvetica" pitchFamily="2" charset="0"/>
            </a:endParaRPr>
          </a:p>
          <a:p>
            <a:r>
              <a:rPr lang="en-US" sz="2000" u="sng" dirty="0">
                <a:latin typeface="Helvetica" pitchFamily="2" charset="0"/>
                <a:hlinkClick r:id="rId4">
                  <a:extLst>
                    <a:ext uri="{A12FA001-AC4F-418D-AE19-62706E023703}">
                      <ahyp:hlinkClr xmlns:ahyp="http://schemas.microsoft.com/office/drawing/2018/hyperlinkcolor" val="tx"/>
                    </a:ext>
                  </a:extLst>
                </a:hlinkClick>
              </a:rPr>
              <a:t>https://help.blackboard.com/Ally</a:t>
            </a:r>
            <a:r>
              <a:rPr lang="en-US" sz="2000" u="sng" dirty="0">
                <a:latin typeface="Helvetica" pitchFamily="2" charset="0"/>
              </a:rPr>
              <a:t> </a:t>
            </a:r>
            <a:endParaRPr lang="en-US" sz="2000" dirty="0">
              <a:latin typeface="Helvetica" pitchFamily="2" charset="0"/>
            </a:endParaRPr>
          </a:p>
        </p:txBody>
      </p:sp>
      <p:sp>
        <p:nvSpPr>
          <p:cNvPr id="15" name="Rectangle 14">
            <a:extLst>
              <a:ext uri="{FF2B5EF4-FFF2-40B4-BE49-F238E27FC236}">
                <a16:creationId xmlns:a16="http://schemas.microsoft.com/office/drawing/2014/main" id="{686EAE45-A4CE-4011-993A-26C1A1B0EE25}"/>
              </a:ext>
              <a:ext uri="{C183D7F6-B498-43B3-948B-1728B52AA6E4}">
                <adec:decorative xmlns:adec="http://schemas.microsoft.com/office/drawing/2017/decorative" val="1"/>
              </a:ext>
            </a:extLst>
          </p:cNvPr>
          <p:cNvSpPr/>
          <p:nvPr/>
        </p:nvSpPr>
        <p:spPr>
          <a:xfrm>
            <a:off x="685799" y="1783080"/>
            <a:ext cx="10789921" cy="379277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2880" rIns="0" bIns="182880" rtlCol="0" anchor="t"/>
          <a:lstStyle/>
          <a:p>
            <a:pPr lvl="1" defTabSz="1218072">
              <a:spcAft>
                <a:spcPts val="1200"/>
              </a:spcAft>
            </a:pPr>
            <a:r>
              <a:rPr lang="en-US" sz="2000" b="1" kern="0" dirty="0">
                <a:solidFill>
                  <a:schemeClr val="tx1"/>
                </a:solidFill>
                <a:latin typeface="Helvetica" pitchFamily="2" charset="0"/>
              </a:rPr>
              <a:t>Ally Documentation</a:t>
            </a:r>
          </a:p>
        </p:txBody>
      </p:sp>
      <p:pic>
        <p:nvPicPr>
          <p:cNvPr id="6" name="Picture 5" descr="Icon&#10;&#10;This is the Ally Logo.&#10;A white A with a figure for the holes&#10;Two green L &#10;A blue Y with a figure and a little head">
            <a:extLst>
              <a:ext uri="{FF2B5EF4-FFF2-40B4-BE49-F238E27FC236}">
                <a16:creationId xmlns:a16="http://schemas.microsoft.com/office/drawing/2014/main" id="{C704B655-9228-2B72-65B6-2FB74DAAE6E2}"/>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189562" y="6179609"/>
            <a:ext cx="2285281" cy="684515"/>
          </a:xfrm>
          <a:prstGeom prst="rect">
            <a:avLst/>
          </a:prstGeom>
        </p:spPr>
      </p:pic>
    </p:spTree>
    <p:extLst>
      <p:ext uri="{BB962C8B-B14F-4D97-AF65-F5344CB8AC3E}">
        <p14:creationId xmlns:p14="http://schemas.microsoft.com/office/powerpoint/2010/main" val="5097369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C6EDBC29-66C5-11E1-7347-6F17B68CB8C4}"/>
              </a:ext>
            </a:extLst>
          </p:cNvPr>
          <p:cNvSpPr>
            <a:spLocks noGrp="1"/>
          </p:cNvSpPr>
          <p:nvPr>
            <p:ph type="title"/>
          </p:nvPr>
        </p:nvSpPr>
        <p:spPr/>
        <p:txBody>
          <a:bodyPr/>
          <a:lstStyle/>
          <a:p>
            <a:r>
              <a:rPr lang="en-US" dirty="0"/>
              <a:t>Questions</a:t>
            </a:r>
          </a:p>
        </p:txBody>
      </p:sp>
      <p:sp>
        <p:nvSpPr>
          <p:cNvPr id="3" name="Slide Number Placeholder 2">
            <a:extLst>
              <a:ext uri="{FF2B5EF4-FFF2-40B4-BE49-F238E27FC236}">
                <a16:creationId xmlns:a16="http://schemas.microsoft.com/office/drawing/2014/main" id="{39FDF5A4-EC36-9539-BB70-6C56BD3AACEA}"/>
              </a:ext>
            </a:extLst>
          </p:cNvPr>
          <p:cNvSpPr>
            <a:spLocks noGrp="1"/>
          </p:cNvSpPr>
          <p:nvPr>
            <p:ph type="sldNum" sz="quarter" idx="16"/>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F9396FD-A8D2-5548-97AD-44EE9AACF15F}" type="slidenum">
              <a:rPr kumimoji="0" lang="en-US" sz="900" b="0" i="0" u="none" strike="noStrike" kern="1200" cap="none" spc="0" normalizeH="0" baseline="0" noProof="0" smtClean="0">
                <a:ln>
                  <a:noFill/>
                </a:ln>
                <a:solidFill>
                  <a:srgbClr val="000000"/>
                </a:solidFill>
                <a:effectLst/>
                <a:uLnTx/>
                <a:uFillTx/>
                <a:latin typeface="Nunito Sans Light"/>
                <a:ea typeface="Roboto" panose="020000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900" b="0" i="0" u="none" strike="noStrike" kern="1200" cap="none" spc="0" normalizeH="0" baseline="0" noProof="0">
              <a:ln>
                <a:noFill/>
              </a:ln>
              <a:solidFill>
                <a:srgbClr val="000000"/>
              </a:solidFill>
              <a:effectLst/>
              <a:uLnTx/>
              <a:uFillTx/>
              <a:latin typeface="Nunito Sans Light"/>
              <a:ea typeface="Roboto" panose="02000000000000000000" pitchFamily="2" charset="0"/>
            </a:endParaRPr>
          </a:p>
        </p:txBody>
      </p:sp>
    </p:spTree>
    <p:extLst>
      <p:ext uri="{BB962C8B-B14F-4D97-AF65-F5344CB8AC3E}">
        <p14:creationId xmlns:p14="http://schemas.microsoft.com/office/powerpoint/2010/main" val="79666600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3E29E9-EECB-2FE1-7B05-2A394F4C3A43}"/>
              </a:ext>
            </a:extLst>
          </p:cNvPr>
          <p:cNvSpPr>
            <a:spLocks noGrp="1"/>
          </p:cNvSpPr>
          <p:nvPr>
            <p:ph type="title" idx="4294967295"/>
          </p:nvPr>
        </p:nvSpPr>
        <p:spPr>
          <a:xfrm>
            <a:off x="685800" y="-1080438"/>
            <a:ext cx="10789920" cy="1080438"/>
          </a:xfrm>
        </p:spPr>
        <p:txBody>
          <a:bodyPr vert="horz" lIns="0" tIns="0" rIns="0" bIns="0" rtlCol="0" anchor="b" anchorCtr="0">
            <a:noAutofit/>
          </a:bodyPr>
          <a:lstStyle/>
          <a:p>
            <a:r>
              <a:rPr lang="en-US" dirty="0"/>
              <a:t>Anthology Ally – The End</a:t>
            </a:r>
          </a:p>
        </p:txBody>
      </p:sp>
    </p:spTree>
    <p:extLst>
      <p:ext uri="{BB962C8B-B14F-4D97-AF65-F5344CB8AC3E}">
        <p14:creationId xmlns:p14="http://schemas.microsoft.com/office/powerpoint/2010/main" val="24019984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a:extLst>
              <a:ext uri="{FF2B5EF4-FFF2-40B4-BE49-F238E27FC236}">
                <a16:creationId xmlns:a16="http://schemas.microsoft.com/office/drawing/2014/main" id="{A10297DC-6D6B-41E4-8927-E362F496930C}"/>
              </a:ext>
            </a:extLst>
          </p:cNvPr>
          <p:cNvSpPr>
            <a:spLocks noGrp="1"/>
          </p:cNvSpPr>
          <p:nvPr>
            <p:ph type="title"/>
          </p:nvPr>
        </p:nvSpPr>
        <p:spPr/>
        <p:txBody>
          <a:bodyPr/>
          <a:lstStyle/>
          <a:p>
            <a:r>
              <a:rPr lang="en-US"/>
              <a:t>Combining Best-in-Tech Solutions</a:t>
            </a:r>
            <a:br>
              <a:rPr lang="en-US"/>
            </a:br>
            <a:r>
              <a:rPr lang="en-US"/>
              <a:t>to Power Your Success</a:t>
            </a:r>
          </a:p>
        </p:txBody>
      </p:sp>
      <p:sp>
        <p:nvSpPr>
          <p:cNvPr id="14" name="Rectangle 13">
            <a:extLst>
              <a:ext uri="{FF2B5EF4-FFF2-40B4-BE49-F238E27FC236}">
                <a16:creationId xmlns:a16="http://schemas.microsoft.com/office/drawing/2014/main" id="{6FA0D11E-74E1-43F7-839B-70BE56FB08C2}"/>
              </a:ext>
              <a:ext uri="{C183D7F6-B498-43B3-948B-1728B52AA6E4}">
                <adec:decorative xmlns:adec="http://schemas.microsoft.com/office/drawing/2017/decorative" val="1"/>
              </a:ext>
            </a:extLst>
          </p:cNvPr>
          <p:cNvSpPr/>
          <p:nvPr/>
        </p:nvSpPr>
        <p:spPr>
          <a:xfrm>
            <a:off x="0" y="1600199"/>
            <a:ext cx="12192000" cy="45767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686EAE45-A4CE-4011-993A-26C1A1B0EE25}"/>
              </a:ext>
            </a:extLst>
          </p:cNvPr>
          <p:cNvSpPr/>
          <p:nvPr/>
        </p:nvSpPr>
        <p:spPr>
          <a:xfrm>
            <a:off x="685799" y="1783080"/>
            <a:ext cx="5227317" cy="30175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2880" rIns="0" bIns="182880" rtlCol="0" anchor="t"/>
          <a:lstStyle/>
          <a:p>
            <a:pPr defTabSz="1218072">
              <a:spcAft>
                <a:spcPts val="1200"/>
              </a:spcAft>
            </a:pPr>
            <a:r>
              <a:rPr lang="en-US" sz="2000" kern="0">
                <a:solidFill>
                  <a:schemeClr val="tx1"/>
                </a:solidFill>
              </a:rPr>
              <a:t>Anthology and Blackboard completed their merger on October 25, 2021, creating the largest EdTech ecosystem at a global scale. </a:t>
            </a:r>
          </a:p>
          <a:p>
            <a:pPr defTabSz="1218072">
              <a:spcAft>
                <a:spcPts val="1200"/>
              </a:spcAft>
            </a:pPr>
            <a:r>
              <a:rPr lang="en-US" sz="2000" kern="0">
                <a:solidFill>
                  <a:schemeClr val="tx1"/>
                </a:solidFill>
              </a:rPr>
              <a:t>Our passion is making the lives of learners, educators, and leaders easier. That’s why we create experiences that are more informed </a:t>
            </a:r>
            <a:br>
              <a:rPr lang="en-US" sz="2000" kern="0">
                <a:solidFill>
                  <a:schemeClr val="tx1"/>
                </a:solidFill>
              </a:rPr>
            </a:br>
            <a:r>
              <a:rPr lang="en-US" sz="2000" kern="0">
                <a:solidFill>
                  <a:schemeClr val="tx1"/>
                </a:solidFill>
              </a:rPr>
              <a:t>and personalized to support learning, teaching, and leading more effectively. </a:t>
            </a:r>
          </a:p>
        </p:txBody>
      </p:sp>
      <p:sp>
        <p:nvSpPr>
          <p:cNvPr id="23" name="Rectangle 22">
            <a:extLst>
              <a:ext uri="{FF2B5EF4-FFF2-40B4-BE49-F238E27FC236}">
                <a16:creationId xmlns:a16="http://schemas.microsoft.com/office/drawing/2014/main" id="{DE190AE5-0BCE-4DB0-8659-3A5D2BAD5BA3}"/>
              </a:ext>
            </a:extLst>
          </p:cNvPr>
          <p:cNvSpPr/>
          <p:nvPr/>
        </p:nvSpPr>
        <p:spPr>
          <a:xfrm>
            <a:off x="6278883" y="1783080"/>
            <a:ext cx="5227317" cy="301752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182880" rIns="0" bIns="182880" rtlCol="0" anchor="t"/>
          <a:lstStyle/>
          <a:p>
            <a:pPr defTabSz="1218072">
              <a:spcAft>
                <a:spcPts val="1200"/>
              </a:spcAft>
            </a:pPr>
            <a:r>
              <a:rPr lang="en-US" sz="2000" kern="0">
                <a:solidFill>
                  <a:schemeClr val="tx1"/>
                </a:solidFill>
              </a:rPr>
              <a:t>By responsibly leveraging data, our solutions enable insights and information at the right time, in the right way, to support the right actions—with data privacy and security </a:t>
            </a:r>
            <a:br>
              <a:rPr lang="en-US" sz="2000" kern="0">
                <a:solidFill>
                  <a:schemeClr val="tx1"/>
                </a:solidFill>
              </a:rPr>
            </a:br>
            <a:r>
              <a:rPr lang="en-US" sz="2000" kern="0">
                <a:solidFill>
                  <a:schemeClr val="tx1"/>
                </a:solidFill>
              </a:rPr>
              <a:t>at the forefront of our approach.</a:t>
            </a:r>
          </a:p>
        </p:txBody>
      </p:sp>
      <p:sp>
        <p:nvSpPr>
          <p:cNvPr id="24" name="Rectangle 23">
            <a:extLst>
              <a:ext uri="{FF2B5EF4-FFF2-40B4-BE49-F238E27FC236}">
                <a16:creationId xmlns:a16="http://schemas.microsoft.com/office/drawing/2014/main" id="{D0CB9F67-8DCB-4568-8207-50AD51F3537B}"/>
              </a:ext>
              <a:ext uri="{C183D7F6-B498-43B3-948B-1728B52AA6E4}">
                <adec:decorative xmlns:adec="http://schemas.microsoft.com/office/drawing/2017/decorative" val="1"/>
              </a:ext>
            </a:extLst>
          </p:cNvPr>
          <p:cNvSpPr/>
          <p:nvPr/>
        </p:nvSpPr>
        <p:spPr>
          <a:xfrm>
            <a:off x="-1" y="4800601"/>
            <a:ext cx="12191999" cy="10601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Freeform 9" descr="Blackboard logo">
            <a:extLst>
              <a:ext uri="{FF2B5EF4-FFF2-40B4-BE49-F238E27FC236}">
                <a16:creationId xmlns:a16="http://schemas.microsoft.com/office/drawing/2014/main" id="{9AF1882C-8EEE-4AF3-AF1A-CA61CD7252D5}"/>
              </a:ext>
            </a:extLst>
          </p:cNvPr>
          <p:cNvSpPr>
            <a:spLocks noChangeAspect="1" noEditPoints="1"/>
          </p:cNvSpPr>
          <p:nvPr/>
        </p:nvSpPr>
        <p:spPr bwMode="auto">
          <a:xfrm>
            <a:off x="685800" y="5188745"/>
            <a:ext cx="1954054" cy="274320"/>
          </a:xfrm>
          <a:custGeom>
            <a:avLst/>
            <a:gdLst>
              <a:gd name="T0" fmla="*/ 2816 w 28721"/>
              <a:gd name="T1" fmla="*/ 2190 h 4032"/>
              <a:gd name="T2" fmla="*/ 2963 w 28721"/>
              <a:gd name="T3" fmla="*/ 3530 h 4032"/>
              <a:gd name="T4" fmla="*/ 2225 w 28721"/>
              <a:gd name="T5" fmla="*/ 231 h 4032"/>
              <a:gd name="T6" fmla="*/ 2956 w 28721"/>
              <a:gd name="T7" fmla="*/ 1108 h 4032"/>
              <a:gd name="T8" fmla="*/ 1761 w 28721"/>
              <a:gd name="T9" fmla="*/ 1754 h 4032"/>
              <a:gd name="T10" fmla="*/ 2330 w 28721"/>
              <a:gd name="T11" fmla="*/ 2484 h 4032"/>
              <a:gd name="T12" fmla="*/ 2449 w 28721"/>
              <a:gd name="T13" fmla="*/ 3076 h 4032"/>
              <a:gd name="T14" fmla="*/ 5839 w 28721"/>
              <a:gd name="T15" fmla="*/ 4019 h 4032"/>
              <a:gd name="T16" fmla="*/ 4666 w 28721"/>
              <a:gd name="T17" fmla="*/ 3246 h 4032"/>
              <a:gd name="T18" fmla="*/ 5210 w 28721"/>
              <a:gd name="T19" fmla="*/ 2316 h 4032"/>
              <a:gd name="T20" fmla="*/ 6435 w 28721"/>
              <a:gd name="T21" fmla="*/ 1799 h 4032"/>
              <a:gd name="T22" fmla="*/ 5536 w 28721"/>
              <a:gd name="T23" fmla="*/ 1093 h 4032"/>
              <a:gd name="T24" fmla="*/ 7058 w 28721"/>
              <a:gd name="T25" fmla="*/ 1499 h 4032"/>
              <a:gd name="T26" fmla="*/ 5971 w 28721"/>
              <a:gd name="T27" fmla="*/ 2636 h 4032"/>
              <a:gd name="T28" fmla="*/ 5380 w 28721"/>
              <a:gd name="T29" fmla="*/ 3327 h 4032"/>
              <a:gd name="T30" fmla="*/ 6539 w 28721"/>
              <a:gd name="T31" fmla="*/ 3228 h 4032"/>
              <a:gd name="T32" fmla="*/ 8038 w 28721"/>
              <a:gd name="T33" fmla="*/ 3596 h 4032"/>
              <a:gd name="T34" fmla="*/ 7681 w 28721"/>
              <a:gd name="T35" fmla="*/ 2100 h 4032"/>
              <a:gd name="T36" fmla="*/ 8832 w 28721"/>
              <a:gd name="T37" fmla="*/ 1062 h 4032"/>
              <a:gd name="T38" fmla="*/ 9729 w 28721"/>
              <a:gd name="T39" fmla="*/ 1861 h 4032"/>
              <a:gd name="T40" fmla="*/ 8389 w 28721"/>
              <a:gd name="T41" fmla="*/ 2057 h 4032"/>
              <a:gd name="T42" fmla="*/ 9132 w 28721"/>
              <a:gd name="T43" fmla="*/ 3462 h 4032"/>
              <a:gd name="T44" fmla="*/ 9754 w 28721"/>
              <a:gd name="T45" fmla="*/ 3899 h 4032"/>
              <a:gd name="T46" fmla="*/ 14745 w 28721"/>
              <a:gd name="T47" fmla="*/ 3907 h 4032"/>
              <a:gd name="T48" fmla="*/ 14883 w 28721"/>
              <a:gd name="T49" fmla="*/ 1103 h 4032"/>
              <a:gd name="T50" fmla="*/ 16241 w 28721"/>
              <a:gd name="T51" fmla="*/ 1476 h 4032"/>
              <a:gd name="T52" fmla="*/ 16521 w 28721"/>
              <a:gd name="T53" fmla="*/ 3099 h 4032"/>
              <a:gd name="T54" fmla="*/ 15431 w 28721"/>
              <a:gd name="T55" fmla="*/ 4017 h 4032"/>
              <a:gd name="T56" fmla="*/ 14300 w 28721"/>
              <a:gd name="T57" fmla="*/ 2733 h 4032"/>
              <a:gd name="T58" fmla="*/ 15698 w 28721"/>
              <a:gd name="T59" fmla="*/ 3208 h 4032"/>
              <a:gd name="T60" fmla="*/ 15283 w 28721"/>
              <a:gd name="T61" fmla="*/ 1625 h 4032"/>
              <a:gd name="T62" fmla="*/ 17145 w 28721"/>
              <a:gd name="T63" fmla="*/ 3434 h 4032"/>
              <a:gd name="T64" fmla="*/ 16998 w 28721"/>
              <a:gd name="T65" fmla="*/ 1894 h 4032"/>
              <a:gd name="T66" fmla="*/ 18344 w 28721"/>
              <a:gd name="T67" fmla="*/ 1039 h 4032"/>
              <a:gd name="T68" fmla="*/ 19717 w 28721"/>
              <a:gd name="T69" fmla="*/ 1789 h 4032"/>
              <a:gd name="T70" fmla="*/ 19678 w 28721"/>
              <a:gd name="T71" fmla="*/ 3337 h 4032"/>
              <a:gd name="T72" fmla="*/ 18325 w 28721"/>
              <a:gd name="T73" fmla="*/ 1615 h 4032"/>
              <a:gd name="T74" fmla="*/ 17674 w 28721"/>
              <a:gd name="T75" fmla="*/ 3088 h 4032"/>
              <a:gd name="T76" fmla="*/ 19207 w 28721"/>
              <a:gd name="T77" fmla="*/ 2859 h 4032"/>
              <a:gd name="T78" fmla="*/ 22043 w 28721"/>
              <a:gd name="T79" fmla="*/ 3635 h 4032"/>
              <a:gd name="T80" fmla="*/ 20530 w 28721"/>
              <a:gd name="T81" fmla="*/ 3877 h 4032"/>
              <a:gd name="T82" fmla="*/ 20161 w 28721"/>
              <a:gd name="T83" fmla="*/ 2815 h 4032"/>
              <a:gd name="T84" fmla="*/ 21619 w 28721"/>
              <a:gd name="T85" fmla="*/ 2226 h 4032"/>
              <a:gd name="T86" fmla="*/ 21302 w 28721"/>
              <a:gd name="T87" fmla="*/ 1643 h 4032"/>
              <a:gd name="T88" fmla="*/ 21852 w 28721"/>
              <a:gd name="T89" fmla="*/ 1093 h 4032"/>
              <a:gd name="T90" fmla="*/ 22695 w 28721"/>
              <a:gd name="T91" fmla="*/ 1994 h 4032"/>
              <a:gd name="T92" fmla="*/ 20917 w 28721"/>
              <a:gd name="T93" fmla="*/ 2772 h 4032"/>
              <a:gd name="T94" fmla="*/ 21205 w 28721"/>
              <a:gd name="T95" fmla="*/ 3525 h 4032"/>
              <a:gd name="T96" fmla="*/ 23899 w 28721"/>
              <a:gd name="T97" fmla="*/ 1705 h 4032"/>
              <a:gd name="T98" fmla="*/ 24421 w 28721"/>
              <a:gd name="T99" fmla="*/ 1829 h 4032"/>
              <a:gd name="T100" fmla="*/ 27278 w 28721"/>
              <a:gd name="T101" fmla="*/ 3489 h 4032"/>
              <a:gd name="T102" fmla="*/ 25927 w 28721"/>
              <a:gd name="T103" fmla="*/ 3971 h 4032"/>
              <a:gd name="T104" fmla="*/ 24992 w 28721"/>
              <a:gd name="T105" fmla="*/ 2832 h 4032"/>
              <a:gd name="T106" fmla="*/ 25500 w 28721"/>
              <a:gd name="T107" fmla="*/ 1317 h 4032"/>
              <a:gd name="T108" fmla="*/ 26918 w 28721"/>
              <a:gd name="T109" fmla="*/ 1209 h 4032"/>
              <a:gd name="T110" fmla="*/ 25682 w 28721"/>
              <a:gd name="T111" fmla="*/ 2189 h 4032"/>
              <a:gd name="T112" fmla="*/ 26619 w 28721"/>
              <a:gd name="T113" fmla="*/ 3439 h 4032"/>
              <a:gd name="T114" fmla="*/ 27038 w 28721"/>
              <a:gd name="T115" fmla="*/ 1860 h 4032"/>
              <a:gd name="T116" fmla="*/ 28311 w 28721"/>
              <a:gd name="T117" fmla="*/ 380 h 4032"/>
              <a:gd name="T118" fmla="*/ 28305 w 28721"/>
              <a:gd name="T119" fmla="*/ 251 h 4032"/>
              <a:gd name="T120" fmla="*/ 28563 w 28721"/>
              <a:gd name="T121" fmla="*/ 59 h 4032"/>
              <a:gd name="T122" fmla="*/ 28584 w 28721"/>
              <a:gd name="T123" fmla="*/ 221 h 4032"/>
              <a:gd name="T124" fmla="*/ 28522 w 28721"/>
              <a:gd name="T125" fmla="*/ 211 h 40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721" h="4032">
                <a:moveTo>
                  <a:pt x="2956" y="1136"/>
                </a:moveTo>
                <a:lnTo>
                  <a:pt x="2956" y="1136"/>
                </a:lnTo>
                <a:lnTo>
                  <a:pt x="2955" y="1179"/>
                </a:lnTo>
                <a:lnTo>
                  <a:pt x="2953" y="1221"/>
                </a:lnTo>
                <a:lnTo>
                  <a:pt x="2949" y="1261"/>
                </a:lnTo>
                <a:lnTo>
                  <a:pt x="2944" y="1301"/>
                </a:lnTo>
                <a:lnTo>
                  <a:pt x="2938" y="1339"/>
                </a:lnTo>
                <a:lnTo>
                  <a:pt x="2929" y="1375"/>
                </a:lnTo>
                <a:lnTo>
                  <a:pt x="2921" y="1411"/>
                </a:lnTo>
                <a:lnTo>
                  <a:pt x="2911" y="1446"/>
                </a:lnTo>
                <a:lnTo>
                  <a:pt x="2899" y="1479"/>
                </a:lnTo>
                <a:lnTo>
                  <a:pt x="2886" y="1512"/>
                </a:lnTo>
                <a:lnTo>
                  <a:pt x="2873" y="1542"/>
                </a:lnTo>
                <a:lnTo>
                  <a:pt x="2858" y="1573"/>
                </a:lnTo>
                <a:lnTo>
                  <a:pt x="2842" y="1602"/>
                </a:lnTo>
                <a:lnTo>
                  <a:pt x="2826" y="1629"/>
                </a:lnTo>
                <a:lnTo>
                  <a:pt x="2809" y="1657"/>
                </a:lnTo>
                <a:lnTo>
                  <a:pt x="2790" y="1683"/>
                </a:lnTo>
                <a:lnTo>
                  <a:pt x="2771" y="1708"/>
                </a:lnTo>
                <a:lnTo>
                  <a:pt x="2751" y="1732"/>
                </a:lnTo>
                <a:lnTo>
                  <a:pt x="2730" y="1755"/>
                </a:lnTo>
                <a:lnTo>
                  <a:pt x="2708" y="1778"/>
                </a:lnTo>
                <a:lnTo>
                  <a:pt x="2686" y="1799"/>
                </a:lnTo>
                <a:lnTo>
                  <a:pt x="2664" y="1820"/>
                </a:lnTo>
                <a:lnTo>
                  <a:pt x="2640" y="1840"/>
                </a:lnTo>
                <a:lnTo>
                  <a:pt x="2617" y="1860"/>
                </a:lnTo>
                <a:lnTo>
                  <a:pt x="2592" y="1878"/>
                </a:lnTo>
                <a:lnTo>
                  <a:pt x="2568" y="1896"/>
                </a:lnTo>
                <a:lnTo>
                  <a:pt x="2542" y="1913"/>
                </a:lnTo>
                <a:lnTo>
                  <a:pt x="2517" y="1929"/>
                </a:lnTo>
                <a:lnTo>
                  <a:pt x="2491" y="1945"/>
                </a:lnTo>
                <a:lnTo>
                  <a:pt x="2465" y="1960"/>
                </a:lnTo>
                <a:lnTo>
                  <a:pt x="2412" y="1989"/>
                </a:lnTo>
                <a:lnTo>
                  <a:pt x="2412" y="1989"/>
                </a:lnTo>
                <a:lnTo>
                  <a:pt x="2453" y="2004"/>
                </a:lnTo>
                <a:lnTo>
                  <a:pt x="2494" y="2019"/>
                </a:lnTo>
                <a:lnTo>
                  <a:pt x="2534" y="2034"/>
                </a:lnTo>
                <a:lnTo>
                  <a:pt x="2573" y="2051"/>
                </a:lnTo>
                <a:lnTo>
                  <a:pt x="2611" y="2068"/>
                </a:lnTo>
                <a:lnTo>
                  <a:pt x="2647" y="2087"/>
                </a:lnTo>
                <a:lnTo>
                  <a:pt x="2683" y="2106"/>
                </a:lnTo>
                <a:lnTo>
                  <a:pt x="2719" y="2125"/>
                </a:lnTo>
                <a:lnTo>
                  <a:pt x="2752" y="2146"/>
                </a:lnTo>
                <a:lnTo>
                  <a:pt x="2785" y="2167"/>
                </a:lnTo>
                <a:lnTo>
                  <a:pt x="2816" y="2190"/>
                </a:lnTo>
                <a:lnTo>
                  <a:pt x="2847" y="2213"/>
                </a:lnTo>
                <a:lnTo>
                  <a:pt x="2876" y="2237"/>
                </a:lnTo>
                <a:lnTo>
                  <a:pt x="2904" y="2262"/>
                </a:lnTo>
                <a:lnTo>
                  <a:pt x="2932" y="2288"/>
                </a:lnTo>
                <a:lnTo>
                  <a:pt x="2957" y="2316"/>
                </a:lnTo>
                <a:lnTo>
                  <a:pt x="2981" y="2344"/>
                </a:lnTo>
                <a:lnTo>
                  <a:pt x="3004" y="2373"/>
                </a:lnTo>
                <a:lnTo>
                  <a:pt x="3026" y="2404"/>
                </a:lnTo>
                <a:lnTo>
                  <a:pt x="3046" y="2435"/>
                </a:lnTo>
                <a:lnTo>
                  <a:pt x="3065" y="2468"/>
                </a:lnTo>
                <a:lnTo>
                  <a:pt x="3082" y="2502"/>
                </a:lnTo>
                <a:lnTo>
                  <a:pt x="3097" y="2538"/>
                </a:lnTo>
                <a:lnTo>
                  <a:pt x="3112" y="2575"/>
                </a:lnTo>
                <a:lnTo>
                  <a:pt x="3125" y="2612"/>
                </a:lnTo>
                <a:lnTo>
                  <a:pt x="3136" y="2652"/>
                </a:lnTo>
                <a:lnTo>
                  <a:pt x="3146" y="2692"/>
                </a:lnTo>
                <a:lnTo>
                  <a:pt x="3153" y="2735"/>
                </a:lnTo>
                <a:lnTo>
                  <a:pt x="3159" y="2778"/>
                </a:lnTo>
                <a:lnTo>
                  <a:pt x="3163" y="2823"/>
                </a:lnTo>
                <a:lnTo>
                  <a:pt x="3167" y="2871"/>
                </a:lnTo>
                <a:lnTo>
                  <a:pt x="3168" y="2919"/>
                </a:lnTo>
                <a:lnTo>
                  <a:pt x="3168" y="2919"/>
                </a:lnTo>
                <a:lnTo>
                  <a:pt x="3167" y="2950"/>
                </a:lnTo>
                <a:lnTo>
                  <a:pt x="3165" y="2982"/>
                </a:lnTo>
                <a:lnTo>
                  <a:pt x="3163" y="3012"/>
                </a:lnTo>
                <a:lnTo>
                  <a:pt x="3161" y="3043"/>
                </a:lnTo>
                <a:lnTo>
                  <a:pt x="3157" y="3073"/>
                </a:lnTo>
                <a:lnTo>
                  <a:pt x="3153" y="3102"/>
                </a:lnTo>
                <a:lnTo>
                  <a:pt x="3148" y="3132"/>
                </a:lnTo>
                <a:lnTo>
                  <a:pt x="3141" y="3160"/>
                </a:lnTo>
                <a:lnTo>
                  <a:pt x="3135" y="3188"/>
                </a:lnTo>
                <a:lnTo>
                  <a:pt x="3128" y="3216"/>
                </a:lnTo>
                <a:lnTo>
                  <a:pt x="3119" y="3243"/>
                </a:lnTo>
                <a:lnTo>
                  <a:pt x="3110" y="3269"/>
                </a:lnTo>
                <a:lnTo>
                  <a:pt x="3100" y="3295"/>
                </a:lnTo>
                <a:lnTo>
                  <a:pt x="3090" y="3322"/>
                </a:lnTo>
                <a:lnTo>
                  <a:pt x="3078" y="3347"/>
                </a:lnTo>
                <a:lnTo>
                  <a:pt x="3067" y="3371"/>
                </a:lnTo>
                <a:lnTo>
                  <a:pt x="3054" y="3395"/>
                </a:lnTo>
                <a:lnTo>
                  <a:pt x="3041" y="3419"/>
                </a:lnTo>
                <a:lnTo>
                  <a:pt x="3027" y="3442"/>
                </a:lnTo>
                <a:lnTo>
                  <a:pt x="3011" y="3465"/>
                </a:lnTo>
                <a:lnTo>
                  <a:pt x="2997" y="3487"/>
                </a:lnTo>
                <a:lnTo>
                  <a:pt x="2980" y="3510"/>
                </a:lnTo>
                <a:lnTo>
                  <a:pt x="2963" y="3530"/>
                </a:lnTo>
                <a:lnTo>
                  <a:pt x="2945" y="3551"/>
                </a:lnTo>
                <a:lnTo>
                  <a:pt x="2927" y="3571"/>
                </a:lnTo>
                <a:lnTo>
                  <a:pt x="2908" y="3591"/>
                </a:lnTo>
                <a:lnTo>
                  <a:pt x="2889" y="3610"/>
                </a:lnTo>
                <a:lnTo>
                  <a:pt x="2869" y="3629"/>
                </a:lnTo>
                <a:lnTo>
                  <a:pt x="2848" y="3648"/>
                </a:lnTo>
                <a:lnTo>
                  <a:pt x="2827" y="3666"/>
                </a:lnTo>
                <a:lnTo>
                  <a:pt x="2805" y="3683"/>
                </a:lnTo>
                <a:lnTo>
                  <a:pt x="2782" y="3699"/>
                </a:lnTo>
                <a:lnTo>
                  <a:pt x="2759" y="3716"/>
                </a:lnTo>
                <a:lnTo>
                  <a:pt x="2734" y="3732"/>
                </a:lnTo>
                <a:lnTo>
                  <a:pt x="2710" y="3748"/>
                </a:lnTo>
                <a:lnTo>
                  <a:pt x="2685" y="3762"/>
                </a:lnTo>
                <a:lnTo>
                  <a:pt x="2659" y="3776"/>
                </a:lnTo>
                <a:lnTo>
                  <a:pt x="2633" y="3790"/>
                </a:lnTo>
                <a:lnTo>
                  <a:pt x="2605" y="3803"/>
                </a:lnTo>
                <a:lnTo>
                  <a:pt x="2578" y="3816"/>
                </a:lnTo>
                <a:lnTo>
                  <a:pt x="2550" y="3828"/>
                </a:lnTo>
                <a:lnTo>
                  <a:pt x="2521" y="3840"/>
                </a:lnTo>
                <a:lnTo>
                  <a:pt x="2492" y="3852"/>
                </a:lnTo>
                <a:lnTo>
                  <a:pt x="2463" y="3862"/>
                </a:lnTo>
                <a:lnTo>
                  <a:pt x="2432" y="3873"/>
                </a:lnTo>
                <a:lnTo>
                  <a:pt x="2401" y="3882"/>
                </a:lnTo>
                <a:lnTo>
                  <a:pt x="2369" y="3891"/>
                </a:lnTo>
                <a:lnTo>
                  <a:pt x="2338" y="3900"/>
                </a:lnTo>
                <a:lnTo>
                  <a:pt x="2273" y="3916"/>
                </a:lnTo>
                <a:lnTo>
                  <a:pt x="2205" y="3929"/>
                </a:lnTo>
                <a:lnTo>
                  <a:pt x="2135" y="3941"/>
                </a:lnTo>
                <a:lnTo>
                  <a:pt x="2064" y="3950"/>
                </a:lnTo>
                <a:lnTo>
                  <a:pt x="1991" y="3958"/>
                </a:lnTo>
                <a:lnTo>
                  <a:pt x="1916" y="3963"/>
                </a:lnTo>
                <a:lnTo>
                  <a:pt x="1840" y="3966"/>
                </a:lnTo>
                <a:lnTo>
                  <a:pt x="1761" y="3968"/>
                </a:lnTo>
                <a:lnTo>
                  <a:pt x="0" y="3968"/>
                </a:lnTo>
                <a:lnTo>
                  <a:pt x="0" y="163"/>
                </a:lnTo>
                <a:lnTo>
                  <a:pt x="1705" y="163"/>
                </a:lnTo>
                <a:lnTo>
                  <a:pt x="1705" y="163"/>
                </a:lnTo>
                <a:lnTo>
                  <a:pt x="1777" y="164"/>
                </a:lnTo>
                <a:lnTo>
                  <a:pt x="1846" y="167"/>
                </a:lnTo>
                <a:lnTo>
                  <a:pt x="1913" y="172"/>
                </a:lnTo>
                <a:lnTo>
                  <a:pt x="1979" y="179"/>
                </a:lnTo>
                <a:lnTo>
                  <a:pt x="2043" y="190"/>
                </a:lnTo>
                <a:lnTo>
                  <a:pt x="2106" y="201"/>
                </a:lnTo>
                <a:lnTo>
                  <a:pt x="2166" y="215"/>
                </a:lnTo>
                <a:lnTo>
                  <a:pt x="2225" y="231"/>
                </a:lnTo>
                <a:lnTo>
                  <a:pt x="2281" y="249"/>
                </a:lnTo>
                <a:lnTo>
                  <a:pt x="2335" y="268"/>
                </a:lnTo>
                <a:lnTo>
                  <a:pt x="2362" y="278"/>
                </a:lnTo>
                <a:lnTo>
                  <a:pt x="2387" y="290"/>
                </a:lnTo>
                <a:lnTo>
                  <a:pt x="2413" y="301"/>
                </a:lnTo>
                <a:lnTo>
                  <a:pt x="2438" y="313"/>
                </a:lnTo>
                <a:lnTo>
                  <a:pt x="2463" y="325"/>
                </a:lnTo>
                <a:lnTo>
                  <a:pt x="2486" y="338"/>
                </a:lnTo>
                <a:lnTo>
                  <a:pt x="2510" y="351"/>
                </a:lnTo>
                <a:lnTo>
                  <a:pt x="2532" y="365"/>
                </a:lnTo>
                <a:lnTo>
                  <a:pt x="2555" y="380"/>
                </a:lnTo>
                <a:lnTo>
                  <a:pt x="2576" y="394"/>
                </a:lnTo>
                <a:lnTo>
                  <a:pt x="2598" y="409"/>
                </a:lnTo>
                <a:lnTo>
                  <a:pt x="2618" y="425"/>
                </a:lnTo>
                <a:lnTo>
                  <a:pt x="2638" y="441"/>
                </a:lnTo>
                <a:lnTo>
                  <a:pt x="2658" y="457"/>
                </a:lnTo>
                <a:lnTo>
                  <a:pt x="2677" y="474"/>
                </a:lnTo>
                <a:lnTo>
                  <a:pt x="2695" y="492"/>
                </a:lnTo>
                <a:lnTo>
                  <a:pt x="2712" y="510"/>
                </a:lnTo>
                <a:lnTo>
                  <a:pt x="2730" y="528"/>
                </a:lnTo>
                <a:lnTo>
                  <a:pt x="2746" y="547"/>
                </a:lnTo>
                <a:lnTo>
                  <a:pt x="2763" y="566"/>
                </a:lnTo>
                <a:lnTo>
                  <a:pt x="2777" y="584"/>
                </a:lnTo>
                <a:lnTo>
                  <a:pt x="2792" y="604"/>
                </a:lnTo>
                <a:lnTo>
                  <a:pt x="2807" y="624"/>
                </a:lnTo>
                <a:lnTo>
                  <a:pt x="2820" y="645"/>
                </a:lnTo>
                <a:lnTo>
                  <a:pt x="2833" y="666"/>
                </a:lnTo>
                <a:lnTo>
                  <a:pt x="2846" y="688"/>
                </a:lnTo>
                <a:lnTo>
                  <a:pt x="2857" y="709"/>
                </a:lnTo>
                <a:lnTo>
                  <a:pt x="2869" y="731"/>
                </a:lnTo>
                <a:lnTo>
                  <a:pt x="2879" y="754"/>
                </a:lnTo>
                <a:lnTo>
                  <a:pt x="2889" y="777"/>
                </a:lnTo>
                <a:lnTo>
                  <a:pt x="2898" y="801"/>
                </a:lnTo>
                <a:lnTo>
                  <a:pt x="2906" y="825"/>
                </a:lnTo>
                <a:lnTo>
                  <a:pt x="2914" y="848"/>
                </a:lnTo>
                <a:lnTo>
                  <a:pt x="2921" y="873"/>
                </a:lnTo>
                <a:lnTo>
                  <a:pt x="2927" y="897"/>
                </a:lnTo>
                <a:lnTo>
                  <a:pt x="2934" y="922"/>
                </a:lnTo>
                <a:lnTo>
                  <a:pt x="2939" y="948"/>
                </a:lnTo>
                <a:lnTo>
                  <a:pt x="2943" y="974"/>
                </a:lnTo>
                <a:lnTo>
                  <a:pt x="2947" y="1000"/>
                </a:lnTo>
                <a:lnTo>
                  <a:pt x="2950" y="1026"/>
                </a:lnTo>
                <a:lnTo>
                  <a:pt x="2953" y="1053"/>
                </a:lnTo>
                <a:lnTo>
                  <a:pt x="2955" y="1081"/>
                </a:lnTo>
                <a:lnTo>
                  <a:pt x="2956" y="1108"/>
                </a:lnTo>
                <a:lnTo>
                  <a:pt x="2956" y="1136"/>
                </a:lnTo>
                <a:lnTo>
                  <a:pt x="2956" y="1136"/>
                </a:lnTo>
                <a:close/>
                <a:moveTo>
                  <a:pt x="2288" y="1245"/>
                </a:moveTo>
                <a:lnTo>
                  <a:pt x="2288" y="1245"/>
                </a:lnTo>
                <a:lnTo>
                  <a:pt x="2287" y="1216"/>
                </a:lnTo>
                <a:lnTo>
                  <a:pt x="2284" y="1189"/>
                </a:lnTo>
                <a:lnTo>
                  <a:pt x="2281" y="1161"/>
                </a:lnTo>
                <a:lnTo>
                  <a:pt x="2276" y="1135"/>
                </a:lnTo>
                <a:lnTo>
                  <a:pt x="2270" y="1109"/>
                </a:lnTo>
                <a:lnTo>
                  <a:pt x="2262" y="1085"/>
                </a:lnTo>
                <a:lnTo>
                  <a:pt x="2254" y="1061"/>
                </a:lnTo>
                <a:lnTo>
                  <a:pt x="2244" y="1038"/>
                </a:lnTo>
                <a:lnTo>
                  <a:pt x="2232" y="1016"/>
                </a:lnTo>
                <a:lnTo>
                  <a:pt x="2219" y="994"/>
                </a:lnTo>
                <a:lnTo>
                  <a:pt x="2205" y="974"/>
                </a:lnTo>
                <a:lnTo>
                  <a:pt x="2189" y="954"/>
                </a:lnTo>
                <a:lnTo>
                  <a:pt x="2172" y="935"/>
                </a:lnTo>
                <a:lnTo>
                  <a:pt x="2154" y="917"/>
                </a:lnTo>
                <a:lnTo>
                  <a:pt x="2134" y="900"/>
                </a:lnTo>
                <a:lnTo>
                  <a:pt x="2115" y="883"/>
                </a:lnTo>
                <a:lnTo>
                  <a:pt x="2092" y="869"/>
                </a:lnTo>
                <a:lnTo>
                  <a:pt x="2069" y="854"/>
                </a:lnTo>
                <a:lnTo>
                  <a:pt x="2044" y="840"/>
                </a:lnTo>
                <a:lnTo>
                  <a:pt x="2019" y="828"/>
                </a:lnTo>
                <a:lnTo>
                  <a:pt x="1992" y="816"/>
                </a:lnTo>
                <a:lnTo>
                  <a:pt x="1965" y="806"/>
                </a:lnTo>
                <a:lnTo>
                  <a:pt x="1935" y="796"/>
                </a:lnTo>
                <a:lnTo>
                  <a:pt x="1905" y="788"/>
                </a:lnTo>
                <a:lnTo>
                  <a:pt x="1873" y="781"/>
                </a:lnTo>
                <a:lnTo>
                  <a:pt x="1840" y="773"/>
                </a:lnTo>
                <a:lnTo>
                  <a:pt x="1806" y="768"/>
                </a:lnTo>
                <a:lnTo>
                  <a:pt x="1770" y="764"/>
                </a:lnTo>
                <a:lnTo>
                  <a:pt x="1735" y="760"/>
                </a:lnTo>
                <a:lnTo>
                  <a:pt x="1697" y="758"/>
                </a:lnTo>
                <a:lnTo>
                  <a:pt x="1658" y="755"/>
                </a:lnTo>
                <a:lnTo>
                  <a:pt x="1619" y="755"/>
                </a:lnTo>
                <a:lnTo>
                  <a:pt x="658" y="755"/>
                </a:lnTo>
                <a:lnTo>
                  <a:pt x="658" y="1767"/>
                </a:lnTo>
                <a:lnTo>
                  <a:pt x="1570" y="1767"/>
                </a:lnTo>
                <a:lnTo>
                  <a:pt x="1570" y="1767"/>
                </a:lnTo>
                <a:lnTo>
                  <a:pt x="1610" y="1766"/>
                </a:lnTo>
                <a:lnTo>
                  <a:pt x="1649" y="1765"/>
                </a:lnTo>
                <a:lnTo>
                  <a:pt x="1688" y="1762"/>
                </a:lnTo>
                <a:lnTo>
                  <a:pt x="1724" y="1758"/>
                </a:lnTo>
                <a:lnTo>
                  <a:pt x="1761" y="1754"/>
                </a:lnTo>
                <a:lnTo>
                  <a:pt x="1796" y="1749"/>
                </a:lnTo>
                <a:lnTo>
                  <a:pt x="1830" y="1742"/>
                </a:lnTo>
                <a:lnTo>
                  <a:pt x="1864" y="1734"/>
                </a:lnTo>
                <a:lnTo>
                  <a:pt x="1895" y="1726"/>
                </a:lnTo>
                <a:lnTo>
                  <a:pt x="1927" y="1716"/>
                </a:lnTo>
                <a:lnTo>
                  <a:pt x="1957" y="1706"/>
                </a:lnTo>
                <a:lnTo>
                  <a:pt x="1985" y="1694"/>
                </a:lnTo>
                <a:lnTo>
                  <a:pt x="2014" y="1682"/>
                </a:lnTo>
                <a:lnTo>
                  <a:pt x="2040" y="1668"/>
                </a:lnTo>
                <a:lnTo>
                  <a:pt x="2065" y="1654"/>
                </a:lnTo>
                <a:lnTo>
                  <a:pt x="2089" y="1638"/>
                </a:lnTo>
                <a:lnTo>
                  <a:pt x="2112" y="1621"/>
                </a:lnTo>
                <a:lnTo>
                  <a:pt x="2134" y="1603"/>
                </a:lnTo>
                <a:lnTo>
                  <a:pt x="2154" y="1585"/>
                </a:lnTo>
                <a:lnTo>
                  <a:pt x="2173" y="1565"/>
                </a:lnTo>
                <a:lnTo>
                  <a:pt x="2191" y="1544"/>
                </a:lnTo>
                <a:lnTo>
                  <a:pt x="2208" y="1522"/>
                </a:lnTo>
                <a:lnTo>
                  <a:pt x="2223" y="1499"/>
                </a:lnTo>
                <a:lnTo>
                  <a:pt x="2236" y="1475"/>
                </a:lnTo>
                <a:lnTo>
                  <a:pt x="2248" y="1450"/>
                </a:lnTo>
                <a:lnTo>
                  <a:pt x="2258" y="1424"/>
                </a:lnTo>
                <a:lnTo>
                  <a:pt x="2267" y="1396"/>
                </a:lnTo>
                <a:lnTo>
                  <a:pt x="2274" y="1369"/>
                </a:lnTo>
                <a:lnTo>
                  <a:pt x="2280" y="1340"/>
                </a:lnTo>
                <a:lnTo>
                  <a:pt x="2284" y="1309"/>
                </a:lnTo>
                <a:lnTo>
                  <a:pt x="2287" y="1278"/>
                </a:lnTo>
                <a:lnTo>
                  <a:pt x="2288" y="1245"/>
                </a:lnTo>
                <a:lnTo>
                  <a:pt x="2288" y="1245"/>
                </a:lnTo>
                <a:close/>
                <a:moveTo>
                  <a:pt x="2499" y="2847"/>
                </a:moveTo>
                <a:lnTo>
                  <a:pt x="2499" y="2847"/>
                </a:lnTo>
                <a:lnTo>
                  <a:pt x="2499" y="2817"/>
                </a:lnTo>
                <a:lnTo>
                  <a:pt x="2496" y="2788"/>
                </a:lnTo>
                <a:lnTo>
                  <a:pt x="2493" y="2759"/>
                </a:lnTo>
                <a:lnTo>
                  <a:pt x="2488" y="2732"/>
                </a:lnTo>
                <a:lnTo>
                  <a:pt x="2481" y="2705"/>
                </a:lnTo>
                <a:lnTo>
                  <a:pt x="2472" y="2679"/>
                </a:lnTo>
                <a:lnTo>
                  <a:pt x="2463" y="2653"/>
                </a:lnTo>
                <a:lnTo>
                  <a:pt x="2451" y="2629"/>
                </a:lnTo>
                <a:lnTo>
                  <a:pt x="2439" y="2606"/>
                </a:lnTo>
                <a:lnTo>
                  <a:pt x="2424" y="2584"/>
                </a:lnTo>
                <a:lnTo>
                  <a:pt x="2408" y="2562"/>
                </a:lnTo>
                <a:lnTo>
                  <a:pt x="2391" y="2541"/>
                </a:lnTo>
                <a:lnTo>
                  <a:pt x="2373" y="2521"/>
                </a:lnTo>
                <a:lnTo>
                  <a:pt x="2352" y="2502"/>
                </a:lnTo>
                <a:lnTo>
                  <a:pt x="2330" y="2484"/>
                </a:lnTo>
                <a:lnTo>
                  <a:pt x="2306" y="2468"/>
                </a:lnTo>
                <a:lnTo>
                  <a:pt x="2281" y="2452"/>
                </a:lnTo>
                <a:lnTo>
                  <a:pt x="2254" y="2436"/>
                </a:lnTo>
                <a:lnTo>
                  <a:pt x="2226" y="2423"/>
                </a:lnTo>
                <a:lnTo>
                  <a:pt x="2196" y="2409"/>
                </a:lnTo>
                <a:lnTo>
                  <a:pt x="2165" y="2397"/>
                </a:lnTo>
                <a:lnTo>
                  <a:pt x="2132" y="2386"/>
                </a:lnTo>
                <a:lnTo>
                  <a:pt x="2098" y="2375"/>
                </a:lnTo>
                <a:lnTo>
                  <a:pt x="2062" y="2367"/>
                </a:lnTo>
                <a:lnTo>
                  <a:pt x="2024" y="2359"/>
                </a:lnTo>
                <a:lnTo>
                  <a:pt x="1985" y="2351"/>
                </a:lnTo>
                <a:lnTo>
                  <a:pt x="1945" y="2346"/>
                </a:lnTo>
                <a:lnTo>
                  <a:pt x="1903" y="2341"/>
                </a:lnTo>
                <a:lnTo>
                  <a:pt x="1859" y="2337"/>
                </a:lnTo>
                <a:lnTo>
                  <a:pt x="1812" y="2334"/>
                </a:lnTo>
                <a:lnTo>
                  <a:pt x="1766" y="2332"/>
                </a:lnTo>
                <a:lnTo>
                  <a:pt x="1717" y="2332"/>
                </a:lnTo>
                <a:lnTo>
                  <a:pt x="658" y="2332"/>
                </a:lnTo>
                <a:lnTo>
                  <a:pt x="658" y="3375"/>
                </a:lnTo>
                <a:lnTo>
                  <a:pt x="1765" y="3375"/>
                </a:lnTo>
                <a:lnTo>
                  <a:pt x="1765" y="3375"/>
                </a:lnTo>
                <a:lnTo>
                  <a:pt x="1807" y="3374"/>
                </a:lnTo>
                <a:lnTo>
                  <a:pt x="1849" y="3373"/>
                </a:lnTo>
                <a:lnTo>
                  <a:pt x="1889" y="3370"/>
                </a:lnTo>
                <a:lnTo>
                  <a:pt x="1928" y="3367"/>
                </a:lnTo>
                <a:lnTo>
                  <a:pt x="1966" y="3362"/>
                </a:lnTo>
                <a:lnTo>
                  <a:pt x="2003" y="3356"/>
                </a:lnTo>
                <a:lnTo>
                  <a:pt x="2038" y="3349"/>
                </a:lnTo>
                <a:lnTo>
                  <a:pt x="2073" y="3342"/>
                </a:lnTo>
                <a:lnTo>
                  <a:pt x="2106" y="3332"/>
                </a:lnTo>
                <a:lnTo>
                  <a:pt x="2139" y="3323"/>
                </a:lnTo>
                <a:lnTo>
                  <a:pt x="2169" y="3311"/>
                </a:lnTo>
                <a:lnTo>
                  <a:pt x="2198" y="3300"/>
                </a:lnTo>
                <a:lnTo>
                  <a:pt x="2227" y="3287"/>
                </a:lnTo>
                <a:lnTo>
                  <a:pt x="2254" y="3272"/>
                </a:lnTo>
                <a:lnTo>
                  <a:pt x="2279" y="3258"/>
                </a:lnTo>
                <a:lnTo>
                  <a:pt x="2304" y="3242"/>
                </a:lnTo>
                <a:lnTo>
                  <a:pt x="2326" y="3224"/>
                </a:lnTo>
                <a:lnTo>
                  <a:pt x="2348" y="3206"/>
                </a:lnTo>
                <a:lnTo>
                  <a:pt x="2369" y="3187"/>
                </a:lnTo>
                <a:lnTo>
                  <a:pt x="2388" y="3167"/>
                </a:lnTo>
                <a:lnTo>
                  <a:pt x="2405" y="3146"/>
                </a:lnTo>
                <a:lnTo>
                  <a:pt x="2422" y="3124"/>
                </a:lnTo>
                <a:lnTo>
                  <a:pt x="2437" y="3100"/>
                </a:lnTo>
                <a:lnTo>
                  <a:pt x="2449" y="3076"/>
                </a:lnTo>
                <a:lnTo>
                  <a:pt x="2461" y="3051"/>
                </a:lnTo>
                <a:lnTo>
                  <a:pt x="2471" y="3025"/>
                </a:lnTo>
                <a:lnTo>
                  <a:pt x="2480" y="2999"/>
                </a:lnTo>
                <a:lnTo>
                  <a:pt x="2487" y="2970"/>
                </a:lnTo>
                <a:lnTo>
                  <a:pt x="2492" y="2941"/>
                </a:lnTo>
                <a:lnTo>
                  <a:pt x="2496" y="2910"/>
                </a:lnTo>
                <a:lnTo>
                  <a:pt x="2498" y="2880"/>
                </a:lnTo>
                <a:lnTo>
                  <a:pt x="2499" y="2847"/>
                </a:lnTo>
                <a:lnTo>
                  <a:pt x="2499" y="2847"/>
                </a:lnTo>
                <a:close/>
                <a:moveTo>
                  <a:pt x="3612" y="3968"/>
                </a:moveTo>
                <a:lnTo>
                  <a:pt x="3612" y="0"/>
                </a:lnTo>
                <a:lnTo>
                  <a:pt x="4270" y="0"/>
                </a:lnTo>
                <a:lnTo>
                  <a:pt x="4270" y="3968"/>
                </a:lnTo>
                <a:lnTo>
                  <a:pt x="3612" y="3968"/>
                </a:lnTo>
                <a:close/>
                <a:moveTo>
                  <a:pt x="6612" y="3968"/>
                </a:moveTo>
                <a:lnTo>
                  <a:pt x="6612" y="3614"/>
                </a:lnTo>
                <a:lnTo>
                  <a:pt x="6612" y="3614"/>
                </a:lnTo>
                <a:lnTo>
                  <a:pt x="6593" y="3635"/>
                </a:lnTo>
                <a:lnTo>
                  <a:pt x="6574" y="3657"/>
                </a:lnTo>
                <a:lnTo>
                  <a:pt x="6554" y="3678"/>
                </a:lnTo>
                <a:lnTo>
                  <a:pt x="6533" y="3699"/>
                </a:lnTo>
                <a:lnTo>
                  <a:pt x="6512" y="3719"/>
                </a:lnTo>
                <a:lnTo>
                  <a:pt x="6490" y="3739"/>
                </a:lnTo>
                <a:lnTo>
                  <a:pt x="6468" y="3758"/>
                </a:lnTo>
                <a:lnTo>
                  <a:pt x="6445" y="3777"/>
                </a:lnTo>
                <a:lnTo>
                  <a:pt x="6421" y="3796"/>
                </a:lnTo>
                <a:lnTo>
                  <a:pt x="6397" y="3814"/>
                </a:lnTo>
                <a:lnTo>
                  <a:pt x="6372" y="3831"/>
                </a:lnTo>
                <a:lnTo>
                  <a:pt x="6347" y="3847"/>
                </a:lnTo>
                <a:lnTo>
                  <a:pt x="6320" y="3864"/>
                </a:lnTo>
                <a:lnTo>
                  <a:pt x="6293" y="3879"/>
                </a:lnTo>
                <a:lnTo>
                  <a:pt x="6265" y="3895"/>
                </a:lnTo>
                <a:lnTo>
                  <a:pt x="6237" y="3908"/>
                </a:lnTo>
                <a:lnTo>
                  <a:pt x="6207" y="3922"/>
                </a:lnTo>
                <a:lnTo>
                  <a:pt x="6178" y="3934"/>
                </a:lnTo>
                <a:lnTo>
                  <a:pt x="6147" y="3947"/>
                </a:lnTo>
                <a:lnTo>
                  <a:pt x="6116" y="3959"/>
                </a:lnTo>
                <a:lnTo>
                  <a:pt x="6084" y="3969"/>
                </a:lnTo>
                <a:lnTo>
                  <a:pt x="6051" y="3978"/>
                </a:lnTo>
                <a:lnTo>
                  <a:pt x="6017" y="3988"/>
                </a:lnTo>
                <a:lnTo>
                  <a:pt x="5984" y="3995"/>
                </a:lnTo>
                <a:lnTo>
                  <a:pt x="5949" y="4003"/>
                </a:lnTo>
                <a:lnTo>
                  <a:pt x="5913" y="4009"/>
                </a:lnTo>
                <a:lnTo>
                  <a:pt x="5877" y="4014"/>
                </a:lnTo>
                <a:lnTo>
                  <a:pt x="5839" y="4019"/>
                </a:lnTo>
                <a:lnTo>
                  <a:pt x="5801" y="4023"/>
                </a:lnTo>
                <a:lnTo>
                  <a:pt x="5762" y="4026"/>
                </a:lnTo>
                <a:lnTo>
                  <a:pt x="5723" y="4027"/>
                </a:lnTo>
                <a:lnTo>
                  <a:pt x="5683" y="4027"/>
                </a:lnTo>
                <a:lnTo>
                  <a:pt x="5683" y="4027"/>
                </a:lnTo>
                <a:lnTo>
                  <a:pt x="5632" y="4027"/>
                </a:lnTo>
                <a:lnTo>
                  <a:pt x="5582" y="4024"/>
                </a:lnTo>
                <a:lnTo>
                  <a:pt x="5532" y="4019"/>
                </a:lnTo>
                <a:lnTo>
                  <a:pt x="5482" y="4013"/>
                </a:lnTo>
                <a:lnTo>
                  <a:pt x="5434" y="4005"/>
                </a:lnTo>
                <a:lnTo>
                  <a:pt x="5387" y="3995"/>
                </a:lnTo>
                <a:lnTo>
                  <a:pt x="5340" y="3983"/>
                </a:lnTo>
                <a:lnTo>
                  <a:pt x="5294" y="3970"/>
                </a:lnTo>
                <a:lnTo>
                  <a:pt x="5249" y="3954"/>
                </a:lnTo>
                <a:lnTo>
                  <a:pt x="5204" y="3938"/>
                </a:lnTo>
                <a:lnTo>
                  <a:pt x="5163" y="3919"/>
                </a:lnTo>
                <a:lnTo>
                  <a:pt x="5121" y="3899"/>
                </a:lnTo>
                <a:lnTo>
                  <a:pt x="5081" y="3877"/>
                </a:lnTo>
                <a:lnTo>
                  <a:pt x="5042" y="3853"/>
                </a:lnTo>
                <a:lnTo>
                  <a:pt x="5004" y="3827"/>
                </a:lnTo>
                <a:lnTo>
                  <a:pt x="4968" y="3800"/>
                </a:lnTo>
                <a:lnTo>
                  <a:pt x="4934" y="3772"/>
                </a:lnTo>
                <a:lnTo>
                  <a:pt x="4901" y="3740"/>
                </a:lnTo>
                <a:lnTo>
                  <a:pt x="4870" y="3709"/>
                </a:lnTo>
                <a:lnTo>
                  <a:pt x="4842" y="3674"/>
                </a:lnTo>
                <a:lnTo>
                  <a:pt x="4827" y="3657"/>
                </a:lnTo>
                <a:lnTo>
                  <a:pt x="4814" y="3639"/>
                </a:lnTo>
                <a:lnTo>
                  <a:pt x="4801" y="3621"/>
                </a:lnTo>
                <a:lnTo>
                  <a:pt x="4789" y="3602"/>
                </a:lnTo>
                <a:lnTo>
                  <a:pt x="4777" y="3583"/>
                </a:lnTo>
                <a:lnTo>
                  <a:pt x="4766" y="3563"/>
                </a:lnTo>
                <a:lnTo>
                  <a:pt x="4754" y="3543"/>
                </a:lnTo>
                <a:lnTo>
                  <a:pt x="4744" y="3522"/>
                </a:lnTo>
                <a:lnTo>
                  <a:pt x="4735" y="3502"/>
                </a:lnTo>
                <a:lnTo>
                  <a:pt x="4725" y="3480"/>
                </a:lnTo>
                <a:lnTo>
                  <a:pt x="4717" y="3459"/>
                </a:lnTo>
                <a:lnTo>
                  <a:pt x="4709" y="3437"/>
                </a:lnTo>
                <a:lnTo>
                  <a:pt x="4702" y="3414"/>
                </a:lnTo>
                <a:lnTo>
                  <a:pt x="4695" y="3392"/>
                </a:lnTo>
                <a:lnTo>
                  <a:pt x="4688" y="3368"/>
                </a:lnTo>
                <a:lnTo>
                  <a:pt x="4683" y="3345"/>
                </a:lnTo>
                <a:lnTo>
                  <a:pt x="4678" y="3321"/>
                </a:lnTo>
                <a:lnTo>
                  <a:pt x="4674" y="3297"/>
                </a:lnTo>
                <a:lnTo>
                  <a:pt x="4670" y="3271"/>
                </a:lnTo>
                <a:lnTo>
                  <a:pt x="4666" y="3246"/>
                </a:lnTo>
                <a:lnTo>
                  <a:pt x="4664" y="3221"/>
                </a:lnTo>
                <a:lnTo>
                  <a:pt x="4663" y="3195"/>
                </a:lnTo>
                <a:lnTo>
                  <a:pt x="4662" y="3169"/>
                </a:lnTo>
                <a:lnTo>
                  <a:pt x="4661" y="3141"/>
                </a:lnTo>
                <a:lnTo>
                  <a:pt x="4661" y="3130"/>
                </a:lnTo>
                <a:lnTo>
                  <a:pt x="4661" y="3130"/>
                </a:lnTo>
                <a:lnTo>
                  <a:pt x="4662" y="3101"/>
                </a:lnTo>
                <a:lnTo>
                  <a:pt x="4663" y="3073"/>
                </a:lnTo>
                <a:lnTo>
                  <a:pt x="4664" y="3045"/>
                </a:lnTo>
                <a:lnTo>
                  <a:pt x="4667" y="3017"/>
                </a:lnTo>
                <a:lnTo>
                  <a:pt x="4671" y="2991"/>
                </a:lnTo>
                <a:lnTo>
                  <a:pt x="4674" y="2964"/>
                </a:lnTo>
                <a:lnTo>
                  <a:pt x="4679" y="2939"/>
                </a:lnTo>
                <a:lnTo>
                  <a:pt x="4684" y="2913"/>
                </a:lnTo>
                <a:lnTo>
                  <a:pt x="4689" y="2887"/>
                </a:lnTo>
                <a:lnTo>
                  <a:pt x="4697" y="2863"/>
                </a:lnTo>
                <a:lnTo>
                  <a:pt x="4703" y="2839"/>
                </a:lnTo>
                <a:lnTo>
                  <a:pt x="4711" y="2815"/>
                </a:lnTo>
                <a:lnTo>
                  <a:pt x="4720" y="2792"/>
                </a:lnTo>
                <a:lnTo>
                  <a:pt x="4729" y="2769"/>
                </a:lnTo>
                <a:lnTo>
                  <a:pt x="4739" y="2747"/>
                </a:lnTo>
                <a:lnTo>
                  <a:pt x="4749" y="2725"/>
                </a:lnTo>
                <a:lnTo>
                  <a:pt x="4760" y="2704"/>
                </a:lnTo>
                <a:lnTo>
                  <a:pt x="4771" y="2683"/>
                </a:lnTo>
                <a:lnTo>
                  <a:pt x="4784" y="2662"/>
                </a:lnTo>
                <a:lnTo>
                  <a:pt x="4796" y="2642"/>
                </a:lnTo>
                <a:lnTo>
                  <a:pt x="4810" y="2622"/>
                </a:lnTo>
                <a:lnTo>
                  <a:pt x="4824" y="2603"/>
                </a:lnTo>
                <a:lnTo>
                  <a:pt x="4838" y="2584"/>
                </a:lnTo>
                <a:lnTo>
                  <a:pt x="4853" y="2566"/>
                </a:lnTo>
                <a:lnTo>
                  <a:pt x="4869" y="2548"/>
                </a:lnTo>
                <a:lnTo>
                  <a:pt x="4885" y="2531"/>
                </a:lnTo>
                <a:lnTo>
                  <a:pt x="4901" y="2514"/>
                </a:lnTo>
                <a:lnTo>
                  <a:pt x="4918" y="2498"/>
                </a:lnTo>
                <a:lnTo>
                  <a:pt x="4936" y="2482"/>
                </a:lnTo>
                <a:lnTo>
                  <a:pt x="4954" y="2467"/>
                </a:lnTo>
                <a:lnTo>
                  <a:pt x="4973" y="2451"/>
                </a:lnTo>
                <a:lnTo>
                  <a:pt x="4992" y="2436"/>
                </a:lnTo>
                <a:lnTo>
                  <a:pt x="5011" y="2423"/>
                </a:lnTo>
                <a:lnTo>
                  <a:pt x="5031" y="2409"/>
                </a:lnTo>
                <a:lnTo>
                  <a:pt x="5052" y="2395"/>
                </a:lnTo>
                <a:lnTo>
                  <a:pt x="5073" y="2383"/>
                </a:lnTo>
                <a:lnTo>
                  <a:pt x="5117" y="2359"/>
                </a:lnTo>
                <a:lnTo>
                  <a:pt x="5163" y="2337"/>
                </a:lnTo>
                <a:lnTo>
                  <a:pt x="5210" y="2316"/>
                </a:lnTo>
                <a:lnTo>
                  <a:pt x="5258" y="2297"/>
                </a:lnTo>
                <a:lnTo>
                  <a:pt x="5308" y="2280"/>
                </a:lnTo>
                <a:lnTo>
                  <a:pt x="5361" y="2264"/>
                </a:lnTo>
                <a:lnTo>
                  <a:pt x="5413" y="2250"/>
                </a:lnTo>
                <a:lnTo>
                  <a:pt x="5469" y="2239"/>
                </a:lnTo>
                <a:lnTo>
                  <a:pt x="5524" y="2230"/>
                </a:lnTo>
                <a:lnTo>
                  <a:pt x="5582" y="2221"/>
                </a:lnTo>
                <a:lnTo>
                  <a:pt x="5641" y="2215"/>
                </a:lnTo>
                <a:lnTo>
                  <a:pt x="5701" y="2211"/>
                </a:lnTo>
                <a:lnTo>
                  <a:pt x="5761" y="2207"/>
                </a:lnTo>
                <a:lnTo>
                  <a:pt x="5823" y="2207"/>
                </a:lnTo>
                <a:lnTo>
                  <a:pt x="5823" y="2207"/>
                </a:lnTo>
                <a:lnTo>
                  <a:pt x="5887" y="2207"/>
                </a:lnTo>
                <a:lnTo>
                  <a:pt x="5948" y="2210"/>
                </a:lnTo>
                <a:lnTo>
                  <a:pt x="6007" y="2212"/>
                </a:lnTo>
                <a:lnTo>
                  <a:pt x="6063" y="2216"/>
                </a:lnTo>
                <a:lnTo>
                  <a:pt x="6117" y="2220"/>
                </a:lnTo>
                <a:lnTo>
                  <a:pt x="6169" y="2226"/>
                </a:lnTo>
                <a:lnTo>
                  <a:pt x="6219" y="2233"/>
                </a:lnTo>
                <a:lnTo>
                  <a:pt x="6267" y="2240"/>
                </a:lnTo>
                <a:lnTo>
                  <a:pt x="6314" y="2248"/>
                </a:lnTo>
                <a:lnTo>
                  <a:pt x="6360" y="2258"/>
                </a:lnTo>
                <a:lnTo>
                  <a:pt x="6404" y="2267"/>
                </a:lnTo>
                <a:lnTo>
                  <a:pt x="6448" y="2278"/>
                </a:lnTo>
                <a:lnTo>
                  <a:pt x="6491" y="2288"/>
                </a:lnTo>
                <a:lnTo>
                  <a:pt x="6533" y="2301"/>
                </a:lnTo>
                <a:lnTo>
                  <a:pt x="6617" y="2326"/>
                </a:lnTo>
                <a:lnTo>
                  <a:pt x="6617" y="2256"/>
                </a:lnTo>
                <a:lnTo>
                  <a:pt x="6617" y="2256"/>
                </a:lnTo>
                <a:lnTo>
                  <a:pt x="6616" y="2219"/>
                </a:lnTo>
                <a:lnTo>
                  <a:pt x="6614" y="2183"/>
                </a:lnTo>
                <a:lnTo>
                  <a:pt x="6611" y="2149"/>
                </a:lnTo>
                <a:lnTo>
                  <a:pt x="6606" y="2115"/>
                </a:lnTo>
                <a:lnTo>
                  <a:pt x="6599" y="2083"/>
                </a:lnTo>
                <a:lnTo>
                  <a:pt x="6591" y="2051"/>
                </a:lnTo>
                <a:lnTo>
                  <a:pt x="6582" y="2022"/>
                </a:lnTo>
                <a:lnTo>
                  <a:pt x="6571" y="1992"/>
                </a:lnTo>
                <a:lnTo>
                  <a:pt x="6559" y="1964"/>
                </a:lnTo>
                <a:lnTo>
                  <a:pt x="6546" y="1937"/>
                </a:lnTo>
                <a:lnTo>
                  <a:pt x="6530" y="1912"/>
                </a:lnTo>
                <a:lnTo>
                  <a:pt x="6514" y="1886"/>
                </a:lnTo>
                <a:lnTo>
                  <a:pt x="6497" y="1863"/>
                </a:lnTo>
                <a:lnTo>
                  <a:pt x="6478" y="1841"/>
                </a:lnTo>
                <a:lnTo>
                  <a:pt x="6457" y="1820"/>
                </a:lnTo>
                <a:lnTo>
                  <a:pt x="6435" y="1799"/>
                </a:lnTo>
                <a:lnTo>
                  <a:pt x="6412" y="1780"/>
                </a:lnTo>
                <a:lnTo>
                  <a:pt x="6388" y="1764"/>
                </a:lnTo>
                <a:lnTo>
                  <a:pt x="6362" y="1747"/>
                </a:lnTo>
                <a:lnTo>
                  <a:pt x="6335" y="1731"/>
                </a:lnTo>
                <a:lnTo>
                  <a:pt x="6307" y="1718"/>
                </a:lnTo>
                <a:lnTo>
                  <a:pt x="6276" y="1704"/>
                </a:lnTo>
                <a:lnTo>
                  <a:pt x="6246" y="1692"/>
                </a:lnTo>
                <a:lnTo>
                  <a:pt x="6213" y="1682"/>
                </a:lnTo>
                <a:lnTo>
                  <a:pt x="6180" y="1672"/>
                </a:lnTo>
                <a:lnTo>
                  <a:pt x="6145" y="1665"/>
                </a:lnTo>
                <a:lnTo>
                  <a:pt x="6110" y="1658"/>
                </a:lnTo>
                <a:lnTo>
                  <a:pt x="6072" y="1652"/>
                </a:lnTo>
                <a:lnTo>
                  <a:pt x="6033" y="1647"/>
                </a:lnTo>
                <a:lnTo>
                  <a:pt x="5994" y="1644"/>
                </a:lnTo>
                <a:lnTo>
                  <a:pt x="5952" y="1643"/>
                </a:lnTo>
                <a:lnTo>
                  <a:pt x="5910" y="1642"/>
                </a:lnTo>
                <a:lnTo>
                  <a:pt x="5910" y="1642"/>
                </a:lnTo>
                <a:lnTo>
                  <a:pt x="5852" y="1643"/>
                </a:lnTo>
                <a:lnTo>
                  <a:pt x="5794" y="1645"/>
                </a:lnTo>
                <a:lnTo>
                  <a:pt x="5738" y="1649"/>
                </a:lnTo>
                <a:lnTo>
                  <a:pt x="5684" y="1655"/>
                </a:lnTo>
                <a:lnTo>
                  <a:pt x="5631" y="1661"/>
                </a:lnTo>
                <a:lnTo>
                  <a:pt x="5579" y="1669"/>
                </a:lnTo>
                <a:lnTo>
                  <a:pt x="5529" y="1680"/>
                </a:lnTo>
                <a:lnTo>
                  <a:pt x="5478" y="1690"/>
                </a:lnTo>
                <a:lnTo>
                  <a:pt x="5429" y="1703"/>
                </a:lnTo>
                <a:lnTo>
                  <a:pt x="5381" y="1716"/>
                </a:lnTo>
                <a:lnTo>
                  <a:pt x="5332" y="1730"/>
                </a:lnTo>
                <a:lnTo>
                  <a:pt x="5284" y="1747"/>
                </a:lnTo>
                <a:lnTo>
                  <a:pt x="5236" y="1764"/>
                </a:lnTo>
                <a:lnTo>
                  <a:pt x="5188" y="1782"/>
                </a:lnTo>
                <a:lnTo>
                  <a:pt x="5139" y="1800"/>
                </a:lnTo>
                <a:lnTo>
                  <a:pt x="5091" y="1820"/>
                </a:lnTo>
                <a:lnTo>
                  <a:pt x="4911" y="1294"/>
                </a:lnTo>
                <a:lnTo>
                  <a:pt x="4911" y="1294"/>
                </a:lnTo>
                <a:lnTo>
                  <a:pt x="4971" y="1267"/>
                </a:lnTo>
                <a:lnTo>
                  <a:pt x="5029" y="1242"/>
                </a:lnTo>
                <a:lnTo>
                  <a:pt x="5089" y="1219"/>
                </a:lnTo>
                <a:lnTo>
                  <a:pt x="5149" y="1196"/>
                </a:lnTo>
                <a:lnTo>
                  <a:pt x="5210" y="1175"/>
                </a:lnTo>
                <a:lnTo>
                  <a:pt x="5273" y="1156"/>
                </a:lnTo>
                <a:lnTo>
                  <a:pt x="5336" y="1137"/>
                </a:lnTo>
                <a:lnTo>
                  <a:pt x="5401" y="1121"/>
                </a:lnTo>
                <a:lnTo>
                  <a:pt x="5467" y="1106"/>
                </a:lnTo>
                <a:lnTo>
                  <a:pt x="5536" y="1093"/>
                </a:lnTo>
                <a:lnTo>
                  <a:pt x="5607" y="1082"/>
                </a:lnTo>
                <a:lnTo>
                  <a:pt x="5681" y="1072"/>
                </a:lnTo>
                <a:lnTo>
                  <a:pt x="5756" y="1065"/>
                </a:lnTo>
                <a:lnTo>
                  <a:pt x="5836" y="1059"/>
                </a:lnTo>
                <a:lnTo>
                  <a:pt x="5918" y="1055"/>
                </a:lnTo>
                <a:lnTo>
                  <a:pt x="6004" y="1054"/>
                </a:lnTo>
                <a:lnTo>
                  <a:pt x="6004" y="1054"/>
                </a:lnTo>
                <a:lnTo>
                  <a:pt x="6042" y="1055"/>
                </a:lnTo>
                <a:lnTo>
                  <a:pt x="6081" y="1055"/>
                </a:lnTo>
                <a:lnTo>
                  <a:pt x="6120" y="1058"/>
                </a:lnTo>
                <a:lnTo>
                  <a:pt x="6158" y="1060"/>
                </a:lnTo>
                <a:lnTo>
                  <a:pt x="6195" y="1063"/>
                </a:lnTo>
                <a:lnTo>
                  <a:pt x="6230" y="1066"/>
                </a:lnTo>
                <a:lnTo>
                  <a:pt x="6266" y="1070"/>
                </a:lnTo>
                <a:lnTo>
                  <a:pt x="6301" y="1075"/>
                </a:lnTo>
                <a:lnTo>
                  <a:pt x="6335" y="1081"/>
                </a:lnTo>
                <a:lnTo>
                  <a:pt x="6369" y="1087"/>
                </a:lnTo>
                <a:lnTo>
                  <a:pt x="6402" y="1093"/>
                </a:lnTo>
                <a:lnTo>
                  <a:pt x="6435" y="1101"/>
                </a:lnTo>
                <a:lnTo>
                  <a:pt x="6466" y="1109"/>
                </a:lnTo>
                <a:lnTo>
                  <a:pt x="6498" y="1117"/>
                </a:lnTo>
                <a:lnTo>
                  <a:pt x="6528" y="1127"/>
                </a:lnTo>
                <a:lnTo>
                  <a:pt x="6557" y="1136"/>
                </a:lnTo>
                <a:lnTo>
                  <a:pt x="6587" y="1147"/>
                </a:lnTo>
                <a:lnTo>
                  <a:pt x="6616" y="1157"/>
                </a:lnTo>
                <a:lnTo>
                  <a:pt x="6643" y="1169"/>
                </a:lnTo>
                <a:lnTo>
                  <a:pt x="6672" y="1181"/>
                </a:lnTo>
                <a:lnTo>
                  <a:pt x="6698" y="1194"/>
                </a:lnTo>
                <a:lnTo>
                  <a:pt x="6724" y="1208"/>
                </a:lnTo>
                <a:lnTo>
                  <a:pt x="6749" y="1221"/>
                </a:lnTo>
                <a:lnTo>
                  <a:pt x="6775" y="1236"/>
                </a:lnTo>
                <a:lnTo>
                  <a:pt x="6799" y="1251"/>
                </a:lnTo>
                <a:lnTo>
                  <a:pt x="6823" y="1266"/>
                </a:lnTo>
                <a:lnTo>
                  <a:pt x="6846" y="1283"/>
                </a:lnTo>
                <a:lnTo>
                  <a:pt x="6868" y="1300"/>
                </a:lnTo>
                <a:lnTo>
                  <a:pt x="6890" y="1318"/>
                </a:lnTo>
                <a:lnTo>
                  <a:pt x="6911" y="1336"/>
                </a:lnTo>
                <a:lnTo>
                  <a:pt x="6932" y="1354"/>
                </a:lnTo>
                <a:lnTo>
                  <a:pt x="6952" y="1373"/>
                </a:lnTo>
                <a:lnTo>
                  <a:pt x="6971" y="1393"/>
                </a:lnTo>
                <a:lnTo>
                  <a:pt x="6990" y="1413"/>
                </a:lnTo>
                <a:lnTo>
                  <a:pt x="7007" y="1434"/>
                </a:lnTo>
                <a:lnTo>
                  <a:pt x="7025" y="1455"/>
                </a:lnTo>
                <a:lnTo>
                  <a:pt x="7042" y="1477"/>
                </a:lnTo>
                <a:lnTo>
                  <a:pt x="7058" y="1499"/>
                </a:lnTo>
                <a:lnTo>
                  <a:pt x="7074" y="1522"/>
                </a:lnTo>
                <a:lnTo>
                  <a:pt x="7088" y="1546"/>
                </a:lnTo>
                <a:lnTo>
                  <a:pt x="7103" y="1571"/>
                </a:lnTo>
                <a:lnTo>
                  <a:pt x="7117" y="1595"/>
                </a:lnTo>
                <a:lnTo>
                  <a:pt x="7129" y="1620"/>
                </a:lnTo>
                <a:lnTo>
                  <a:pt x="7142" y="1646"/>
                </a:lnTo>
                <a:lnTo>
                  <a:pt x="7154" y="1672"/>
                </a:lnTo>
                <a:lnTo>
                  <a:pt x="7165" y="1699"/>
                </a:lnTo>
                <a:lnTo>
                  <a:pt x="7176" y="1726"/>
                </a:lnTo>
                <a:lnTo>
                  <a:pt x="7186" y="1754"/>
                </a:lnTo>
                <a:lnTo>
                  <a:pt x="7195" y="1783"/>
                </a:lnTo>
                <a:lnTo>
                  <a:pt x="7205" y="1811"/>
                </a:lnTo>
                <a:lnTo>
                  <a:pt x="7212" y="1840"/>
                </a:lnTo>
                <a:lnTo>
                  <a:pt x="7220" y="1870"/>
                </a:lnTo>
                <a:lnTo>
                  <a:pt x="7227" y="1900"/>
                </a:lnTo>
                <a:lnTo>
                  <a:pt x="7233" y="1932"/>
                </a:lnTo>
                <a:lnTo>
                  <a:pt x="7239" y="1962"/>
                </a:lnTo>
                <a:lnTo>
                  <a:pt x="7244" y="1994"/>
                </a:lnTo>
                <a:lnTo>
                  <a:pt x="7249" y="2027"/>
                </a:lnTo>
                <a:lnTo>
                  <a:pt x="7253" y="2060"/>
                </a:lnTo>
                <a:lnTo>
                  <a:pt x="7256" y="2093"/>
                </a:lnTo>
                <a:lnTo>
                  <a:pt x="7259" y="2127"/>
                </a:lnTo>
                <a:lnTo>
                  <a:pt x="7261" y="2160"/>
                </a:lnTo>
                <a:lnTo>
                  <a:pt x="7262" y="2196"/>
                </a:lnTo>
                <a:lnTo>
                  <a:pt x="7263" y="2266"/>
                </a:lnTo>
                <a:lnTo>
                  <a:pt x="7263" y="3968"/>
                </a:lnTo>
                <a:lnTo>
                  <a:pt x="6612" y="3968"/>
                </a:lnTo>
                <a:close/>
                <a:moveTo>
                  <a:pt x="6628" y="2750"/>
                </a:moveTo>
                <a:lnTo>
                  <a:pt x="6628" y="2750"/>
                </a:lnTo>
                <a:lnTo>
                  <a:pt x="6595" y="2737"/>
                </a:lnTo>
                <a:lnTo>
                  <a:pt x="6562" y="2726"/>
                </a:lnTo>
                <a:lnTo>
                  <a:pt x="6527" y="2715"/>
                </a:lnTo>
                <a:lnTo>
                  <a:pt x="6490" y="2705"/>
                </a:lnTo>
                <a:lnTo>
                  <a:pt x="6453" y="2694"/>
                </a:lnTo>
                <a:lnTo>
                  <a:pt x="6414" y="2685"/>
                </a:lnTo>
                <a:lnTo>
                  <a:pt x="6373" y="2676"/>
                </a:lnTo>
                <a:lnTo>
                  <a:pt x="6332" y="2669"/>
                </a:lnTo>
                <a:lnTo>
                  <a:pt x="6290" y="2662"/>
                </a:lnTo>
                <a:lnTo>
                  <a:pt x="6247" y="2654"/>
                </a:lnTo>
                <a:lnTo>
                  <a:pt x="6203" y="2649"/>
                </a:lnTo>
                <a:lnTo>
                  <a:pt x="6158" y="2645"/>
                </a:lnTo>
                <a:lnTo>
                  <a:pt x="6112" y="2641"/>
                </a:lnTo>
                <a:lnTo>
                  <a:pt x="6066" y="2639"/>
                </a:lnTo>
                <a:lnTo>
                  <a:pt x="6018" y="2637"/>
                </a:lnTo>
                <a:lnTo>
                  <a:pt x="5971" y="2636"/>
                </a:lnTo>
                <a:lnTo>
                  <a:pt x="5971" y="2636"/>
                </a:lnTo>
                <a:lnTo>
                  <a:pt x="5932" y="2637"/>
                </a:lnTo>
                <a:lnTo>
                  <a:pt x="5896" y="2638"/>
                </a:lnTo>
                <a:lnTo>
                  <a:pt x="5859" y="2641"/>
                </a:lnTo>
                <a:lnTo>
                  <a:pt x="5824" y="2644"/>
                </a:lnTo>
                <a:lnTo>
                  <a:pt x="5790" y="2648"/>
                </a:lnTo>
                <a:lnTo>
                  <a:pt x="5757" y="2653"/>
                </a:lnTo>
                <a:lnTo>
                  <a:pt x="5725" y="2660"/>
                </a:lnTo>
                <a:lnTo>
                  <a:pt x="5694" y="2667"/>
                </a:lnTo>
                <a:lnTo>
                  <a:pt x="5664" y="2675"/>
                </a:lnTo>
                <a:lnTo>
                  <a:pt x="5636" y="2684"/>
                </a:lnTo>
                <a:lnTo>
                  <a:pt x="5608" y="2694"/>
                </a:lnTo>
                <a:lnTo>
                  <a:pt x="5581" y="2705"/>
                </a:lnTo>
                <a:lnTo>
                  <a:pt x="5556" y="2716"/>
                </a:lnTo>
                <a:lnTo>
                  <a:pt x="5532" y="2729"/>
                </a:lnTo>
                <a:lnTo>
                  <a:pt x="5509" y="2743"/>
                </a:lnTo>
                <a:lnTo>
                  <a:pt x="5488" y="2757"/>
                </a:lnTo>
                <a:lnTo>
                  <a:pt x="5467" y="2772"/>
                </a:lnTo>
                <a:lnTo>
                  <a:pt x="5448" y="2789"/>
                </a:lnTo>
                <a:lnTo>
                  <a:pt x="5429" y="2806"/>
                </a:lnTo>
                <a:lnTo>
                  <a:pt x="5412" y="2823"/>
                </a:lnTo>
                <a:lnTo>
                  <a:pt x="5397" y="2841"/>
                </a:lnTo>
                <a:lnTo>
                  <a:pt x="5383" y="2861"/>
                </a:lnTo>
                <a:lnTo>
                  <a:pt x="5370" y="2881"/>
                </a:lnTo>
                <a:lnTo>
                  <a:pt x="5359" y="2902"/>
                </a:lnTo>
                <a:lnTo>
                  <a:pt x="5348" y="2924"/>
                </a:lnTo>
                <a:lnTo>
                  <a:pt x="5339" y="2946"/>
                </a:lnTo>
                <a:lnTo>
                  <a:pt x="5331" y="2970"/>
                </a:lnTo>
                <a:lnTo>
                  <a:pt x="5325" y="2994"/>
                </a:lnTo>
                <a:lnTo>
                  <a:pt x="5320" y="3018"/>
                </a:lnTo>
                <a:lnTo>
                  <a:pt x="5317" y="3045"/>
                </a:lnTo>
                <a:lnTo>
                  <a:pt x="5315" y="3071"/>
                </a:lnTo>
                <a:lnTo>
                  <a:pt x="5314" y="3098"/>
                </a:lnTo>
                <a:lnTo>
                  <a:pt x="5314" y="3109"/>
                </a:lnTo>
                <a:lnTo>
                  <a:pt x="5314" y="3109"/>
                </a:lnTo>
                <a:lnTo>
                  <a:pt x="5315" y="3134"/>
                </a:lnTo>
                <a:lnTo>
                  <a:pt x="5317" y="3158"/>
                </a:lnTo>
                <a:lnTo>
                  <a:pt x="5320" y="3182"/>
                </a:lnTo>
                <a:lnTo>
                  <a:pt x="5325" y="3205"/>
                </a:lnTo>
                <a:lnTo>
                  <a:pt x="5330" y="3227"/>
                </a:lnTo>
                <a:lnTo>
                  <a:pt x="5338" y="3248"/>
                </a:lnTo>
                <a:lnTo>
                  <a:pt x="5347" y="3269"/>
                </a:lnTo>
                <a:lnTo>
                  <a:pt x="5357" y="3289"/>
                </a:lnTo>
                <a:lnTo>
                  <a:pt x="5367" y="3309"/>
                </a:lnTo>
                <a:lnTo>
                  <a:pt x="5380" y="3327"/>
                </a:lnTo>
                <a:lnTo>
                  <a:pt x="5393" y="3345"/>
                </a:lnTo>
                <a:lnTo>
                  <a:pt x="5407" y="3362"/>
                </a:lnTo>
                <a:lnTo>
                  <a:pt x="5423" y="3378"/>
                </a:lnTo>
                <a:lnTo>
                  <a:pt x="5438" y="3394"/>
                </a:lnTo>
                <a:lnTo>
                  <a:pt x="5456" y="3409"/>
                </a:lnTo>
                <a:lnTo>
                  <a:pt x="5474" y="3422"/>
                </a:lnTo>
                <a:lnTo>
                  <a:pt x="5494" y="3435"/>
                </a:lnTo>
                <a:lnTo>
                  <a:pt x="5514" y="3448"/>
                </a:lnTo>
                <a:lnTo>
                  <a:pt x="5535" y="3459"/>
                </a:lnTo>
                <a:lnTo>
                  <a:pt x="5556" y="3470"/>
                </a:lnTo>
                <a:lnTo>
                  <a:pt x="5579" y="3480"/>
                </a:lnTo>
                <a:lnTo>
                  <a:pt x="5602" y="3489"/>
                </a:lnTo>
                <a:lnTo>
                  <a:pt x="5626" y="3497"/>
                </a:lnTo>
                <a:lnTo>
                  <a:pt x="5650" y="3504"/>
                </a:lnTo>
                <a:lnTo>
                  <a:pt x="5675" y="3511"/>
                </a:lnTo>
                <a:lnTo>
                  <a:pt x="5702" y="3517"/>
                </a:lnTo>
                <a:lnTo>
                  <a:pt x="5728" y="3521"/>
                </a:lnTo>
                <a:lnTo>
                  <a:pt x="5755" y="3525"/>
                </a:lnTo>
                <a:lnTo>
                  <a:pt x="5782" y="3528"/>
                </a:lnTo>
                <a:lnTo>
                  <a:pt x="5811" y="3530"/>
                </a:lnTo>
                <a:lnTo>
                  <a:pt x="5839" y="3532"/>
                </a:lnTo>
                <a:lnTo>
                  <a:pt x="5867" y="3533"/>
                </a:lnTo>
                <a:lnTo>
                  <a:pt x="5867" y="3533"/>
                </a:lnTo>
                <a:lnTo>
                  <a:pt x="5908" y="3532"/>
                </a:lnTo>
                <a:lnTo>
                  <a:pt x="5948" y="3529"/>
                </a:lnTo>
                <a:lnTo>
                  <a:pt x="5987" y="3526"/>
                </a:lnTo>
                <a:lnTo>
                  <a:pt x="6025" y="3521"/>
                </a:lnTo>
                <a:lnTo>
                  <a:pt x="6062" y="3515"/>
                </a:lnTo>
                <a:lnTo>
                  <a:pt x="6099" y="3507"/>
                </a:lnTo>
                <a:lnTo>
                  <a:pt x="6135" y="3499"/>
                </a:lnTo>
                <a:lnTo>
                  <a:pt x="6169" y="3489"/>
                </a:lnTo>
                <a:lnTo>
                  <a:pt x="6204" y="3477"/>
                </a:lnTo>
                <a:lnTo>
                  <a:pt x="6237" y="3464"/>
                </a:lnTo>
                <a:lnTo>
                  <a:pt x="6268" y="3451"/>
                </a:lnTo>
                <a:lnTo>
                  <a:pt x="6299" y="3436"/>
                </a:lnTo>
                <a:lnTo>
                  <a:pt x="6329" y="3420"/>
                </a:lnTo>
                <a:lnTo>
                  <a:pt x="6357" y="3402"/>
                </a:lnTo>
                <a:lnTo>
                  <a:pt x="6384" y="3385"/>
                </a:lnTo>
                <a:lnTo>
                  <a:pt x="6411" y="3366"/>
                </a:lnTo>
                <a:lnTo>
                  <a:pt x="6436" y="3345"/>
                </a:lnTo>
                <a:lnTo>
                  <a:pt x="6459" y="3324"/>
                </a:lnTo>
                <a:lnTo>
                  <a:pt x="6481" y="3301"/>
                </a:lnTo>
                <a:lnTo>
                  <a:pt x="6502" y="3278"/>
                </a:lnTo>
                <a:lnTo>
                  <a:pt x="6521" y="3254"/>
                </a:lnTo>
                <a:lnTo>
                  <a:pt x="6539" y="3228"/>
                </a:lnTo>
                <a:lnTo>
                  <a:pt x="6555" y="3202"/>
                </a:lnTo>
                <a:lnTo>
                  <a:pt x="6570" y="3175"/>
                </a:lnTo>
                <a:lnTo>
                  <a:pt x="6584" y="3146"/>
                </a:lnTo>
                <a:lnTo>
                  <a:pt x="6595" y="3118"/>
                </a:lnTo>
                <a:lnTo>
                  <a:pt x="6605" y="3088"/>
                </a:lnTo>
                <a:lnTo>
                  <a:pt x="6613" y="3057"/>
                </a:lnTo>
                <a:lnTo>
                  <a:pt x="6619" y="3027"/>
                </a:lnTo>
                <a:lnTo>
                  <a:pt x="6624" y="2994"/>
                </a:lnTo>
                <a:lnTo>
                  <a:pt x="6627" y="2962"/>
                </a:lnTo>
                <a:lnTo>
                  <a:pt x="6628" y="2928"/>
                </a:lnTo>
                <a:lnTo>
                  <a:pt x="6628" y="2750"/>
                </a:lnTo>
                <a:close/>
                <a:moveTo>
                  <a:pt x="9100" y="4032"/>
                </a:moveTo>
                <a:lnTo>
                  <a:pt x="9100" y="4032"/>
                </a:lnTo>
                <a:lnTo>
                  <a:pt x="9060" y="4032"/>
                </a:lnTo>
                <a:lnTo>
                  <a:pt x="9021" y="4031"/>
                </a:lnTo>
                <a:lnTo>
                  <a:pt x="8981" y="4028"/>
                </a:lnTo>
                <a:lnTo>
                  <a:pt x="8943" y="4025"/>
                </a:lnTo>
                <a:lnTo>
                  <a:pt x="8905" y="4020"/>
                </a:lnTo>
                <a:lnTo>
                  <a:pt x="8866" y="4015"/>
                </a:lnTo>
                <a:lnTo>
                  <a:pt x="8828" y="4009"/>
                </a:lnTo>
                <a:lnTo>
                  <a:pt x="8792" y="4002"/>
                </a:lnTo>
                <a:lnTo>
                  <a:pt x="8755" y="3994"/>
                </a:lnTo>
                <a:lnTo>
                  <a:pt x="8718" y="3986"/>
                </a:lnTo>
                <a:lnTo>
                  <a:pt x="8682" y="3975"/>
                </a:lnTo>
                <a:lnTo>
                  <a:pt x="8647" y="3965"/>
                </a:lnTo>
                <a:lnTo>
                  <a:pt x="8611" y="3954"/>
                </a:lnTo>
                <a:lnTo>
                  <a:pt x="8577" y="3942"/>
                </a:lnTo>
                <a:lnTo>
                  <a:pt x="8542" y="3929"/>
                </a:lnTo>
                <a:lnTo>
                  <a:pt x="8508" y="3916"/>
                </a:lnTo>
                <a:lnTo>
                  <a:pt x="8475" y="3901"/>
                </a:lnTo>
                <a:lnTo>
                  <a:pt x="8442" y="3885"/>
                </a:lnTo>
                <a:lnTo>
                  <a:pt x="8410" y="3869"/>
                </a:lnTo>
                <a:lnTo>
                  <a:pt x="8378" y="3853"/>
                </a:lnTo>
                <a:lnTo>
                  <a:pt x="8347" y="3835"/>
                </a:lnTo>
                <a:lnTo>
                  <a:pt x="8316" y="3816"/>
                </a:lnTo>
                <a:lnTo>
                  <a:pt x="8286" y="3797"/>
                </a:lnTo>
                <a:lnTo>
                  <a:pt x="8256" y="3778"/>
                </a:lnTo>
                <a:lnTo>
                  <a:pt x="8227" y="3757"/>
                </a:lnTo>
                <a:lnTo>
                  <a:pt x="8198" y="3736"/>
                </a:lnTo>
                <a:lnTo>
                  <a:pt x="8171" y="3714"/>
                </a:lnTo>
                <a:lnTo>
                  <a:pt x="8142" y="3692"/>
                </a:lnTo>
                <a:lnTo>
                  <a:pt x="8116" y="3669"/>
                </a:lnTo>
                <a:lnTo>
                  <a:pt x="8090" y="3645"/>
                </a:lnTo>
                <a:lnTo>
                  <a:pt x="8064" y="3621"/>
                </a:lnTo>
                <a:lnTo>
                  <a:pt x="8038" y="3596"/>
                </a:lnTo>
                <a:lnTo>
                  <a:pt x="8014" y="3570"/>
                </a:lnTo>
                <a:lnTo>
                  <a:pt x="7990" y="3544"/>
                </a:lnTo>
                <a:lnTo>
                  <a:pt x="7967" y="3517"/>
                </a:lnTo>
                <a:lnTo>
                  <a:pt x="7945" y="3490"/>
                </a:lnTo>
                <a:lnTo>
                  <a:pt x="7923" y="3462"/>
                </a:lnTo>
                <a:lnTo>
                  <a:pt x="7902" y="3434"/>
                </a:lnTo>
                <a:lnTo>
                  <a:pt x="7881" y="3405"/>
                </a:lnTo>
                <a:lnTo>
                  <a:pt x="7861" y="3375"/>
                </a:lnTo>
                <a:lnTo>
                  <a:pt x="7842" y="3345"/>
                </a:lnTo>
                <a:lnTo>
                  <a:pt x="7823" y="3314"/>
                </a:lnTo>
                <a:lnTo>
                  <a:pt x="7807" y="3284"/>
                </a:lnTo>
                <a:lnTo>
                  <a:pt x="7789" y="3252"/>
                </a:lnTo>
                <a:lnTo>
                  <a:pt x="7773" y="3221"/>
                </a:lnTo>
                <a:lnTo>
                  <a:pt x="7757" y="3188"/>
                </a:lnTo>
                <a:lnTo>
                  <a:pt x="7743" y="3156"/>
                </a:lnTo>
                <a:lnTo>
                  <a:pt x="7729" y="3122"/>
                </a:lnTo>
                <a:lnTo>
                  <a:pt x="7715" y="3089"/>
                </a:lnTo>
                <a:lnTo>
                  <a:pt x="7703" y="3055"/>
                </a:lnTo>
                <a:lnTo>
                  <a:pt x="7691" y="3021"/>
                </a:lnTo>
                <a:lnTo>
                  <a:pt x="7681" y="2986"/>
                </a:lnTo>
                <a:lnTo>
                  <a:pt x="7671" y="2950"/>
                </a:lnTo>
                <a:lnTo>
                  <a:pt x="7662" y="2915"/>
                </a:lnTo>
                <a:lnTo>
                  <a:pt x="7654" y="2879"/>
                </a:lnTo>
                <a:lnTo>
                  <a:pt x="7646" y="2843"/>
                </a:lnTo>
                <a:lnTo>
                  <a:pt x="7639" y="2807"/>
                </a:lnTo>
                <a:lnTo>
                  <a:pt x="7634" y="2770"/>
                </a:lnTo>
                <a:lnTo>
                  <a:pt x="7628" y="2733"/>
                </a:lnTo>
                <a:lnTo>
                  <a:pt x="7624" y="2695"/>
                </a:lnTo>
                <a:lnTo>
                  <a:pt x="7621" y="2659"/>
                </a:lnTo>
                <a:lnTo>
                  <a:pt x="7619" y="2620"/>
                </a:lnTo>
                <a:lnTo>
                  <a:pt x="7618" y="2582"/>
                </a:lnTo>
                <a:lnTo>
                  <a:pt x="7617" y="2544"/>
                </a:lnTo>
                <a:lnTo>
                  <a:pt x="7617" y="2544"/>
                </a:lnTo>
                <a:lnTo>
                  <a:pt x="7618" y="2505"/>
                </a:lnTo>
                <a:lnTo>
                  <a:pt x="7619" y="2468"/>
                </a:lnTo>
                <a:lnTo>
                  <a:pt x="7621" y="2430"/>
                </a:lnTo>
                <a:lnTo>
                  <a:pt x="7624" y="2392"/>
                </a:lnTo>
                <a:lnTo>
                  <a:pt x="7628" y="2354"/>
                </a:lnTo>
                <a:lnTo>
                  <a:pt x="7634" y="2317"/>
                </a:lnTo>
                <a:lnTo>
                  <a:pt x="7639" y="2280"/>
                </a:lnTo>
                <a:lnTo>
                  <a:pt x="7646" y="2243"/>
                </a:lnTo>
                <a:lnTo>
                  <a:pt x="7654" y="2207"/>
                </a:lnTo>
                <a:lnTo>
                  <a:pt x="7662" y="2171"/>
                </a:lnTo>
                <a:lnTo>
                  <a:pt x="7671" y="2135"/>
                </a:lnTo>
                <a:lnTo>
                  <a:pt x="7681" y="2100"/>
                </a:lnTo>
                <a:lnTo>
                  <a:pt x="7691" y="2065"/>
                </a:lnTo>
                <a:lnTo>
                  <a:pt x="7704" y="2030"/>
                </a:lnTo>
                <a:lnTo>
                  <a:pt x="7715" y="1997"/>
                </a:lnTo>
                <a:lnTo>
                  <a:pt x="7729" y="1962"/>
                </a:lnTo>
                <a:lnTo>
                  <a:pt x="7743" y="1928"/>
                </a:lnTo>
                <a:lnTo>
                  <a:pt x="7757" y="1896"/>
                </a:lnTo>
                <a:lnTo>
                  <a:pt x="7773" y="1863"/>
                </a:lnTo>
                <a:lnTo>
                  <a:pt x="7790" y="1831"/>
                </a:lnTo>
                <a:lnTo>
                  <a:pt x="7807" y="1799"/>
                </a:lnTo>
                <a:lnTo>
                  <a:pt x="7825" y="1768"/>
                </a:lnTo>
                <a:lnTo>
                  <a:pt x="7842" y="1737"/>
                </a:lnTo>
                <a:lnTo>
                  <a:pt x="7861" y="1707"/>
                </a:lnTo>
                <a:lnTo>
                  <a:pt x="7881" y="1677"/>
                </a:lnTo>
                <a:lnTo>
                  <a:pt x="7902" y="1647"/>
                </a:lnTo>
                <a:lnTo>
                  <a:pt x="7923" y="1619"/>
                </a:lnTo>
                <a:lnTo>
                  <a:pt x="7945" y="1591"/>
                </a:lnTo>
                <a:lnTo>
                  <a:pt x="7968" y="1563"/>
                </a:lnTo>
                <a:lnTo>
                  <a:pt x="7991" y="1536"/>
                </a:lnTo>
                <a:lnTo>
                  <a:pt x="8014" y="1509"/>
                </a:lnTo>
                <a:lnTo>
                  <a:pt x="8040" y="1484"/>
                </a:lnTo>
                <a:lnTo>
                  <a:pt x="8065" y="1458"/>
                </a:lnTo>
                <a:lnTo>
                  <a:pt x="8090" y="1433"/>
                </a:lnTo>
                <a:lnTo>
                  <a:pt x="8116" y="1409"/>
                </a:lnTo>
                <a:lnTo>
                  <a:pt x="8143" y="1386"/>
                </a:lnTo>
                <a:lnTo>
                  <a:pt x="8171" y="1363"/>
                </a:lnTo>
                <a:lnTo>
                  <a:pt x="8199" y="1341"/>
                </a:lnTo>
                <a:lnTo>
                  <a:pt x="8228" y="1319"/>
                </a:lnTo>
                <a:lnTo>
                  <a:pt x="8258" y="1298"/>
                </a:lnTo>
                <a:lnTo>
                  <a:pt x="8287" y="1278"/>
                </a:lnTo>
                <a:lnTo>
                  <a:pt x="8317" y="1259"/>
                </a:lnTo>
                <a:lnTo>
                  <a:pt x="8348" y="1240"/>
                </a:lnTo>
                <a:lnTo>
                  <a:pt x="8379" y="1222"/>
                </a:lnTo>
                <a:lnTo>
                  <a:pt x="8412" y="1204"/>
                </a:lnTo>
                <a:lnTo>
                  <a:pt x="8444" y="1189"/>
                </a:lnTo>
                <a:lnTo>
                  <a:pt x="8477" y="1173"/>
                </a:lnTo>
                <a:lnTo>
                  <a:pt x="8510" y="1158"/>
                </a:lnTo>
                <a:lnTo>
                  <a:pt x="8545" y="1144"/>
                </a:lnTo>
                <a:lnTo>
                  <a:pt x="8579" y="1131"/>
                </a:lnTo>
                <a:lnTo>
                  <a:pt x="8614" y="1118"/>
                </a:lnTo>
                <a:lnTo>
                  <a:pt x="8649" y="1107"/>
                </a:lnTo>
                <a:lnTo>
                  <a:pt x="8685" y="1096"/>
                </a:lnTo>
                <a:lnTo>
                  <a:pt x="8721" y="1086"/>
                </a:lnTo>
                <a:lnTo>
                  <a:pt x="8758" y="1078"/>
                </a:lnTo>
                <a:lnTo>
                  <a:pt x="8795" y="1069"/>
                </a:lnTo>
                <a:lnTo>
                  <a:pt x="8832" y="1062"/>
                </a:lnTo>
                <a:lnTo>
                  <a:pt x="8870" y="1055"/>
                </a:lnTo>
                <a:lnTo>
                  <a:pt x="8908" y="1050"/>
                </a:lnTo>
                <a:lnTo>
                  <a:pt x="8947" y="1046"/>
                </a:lnTo>
                <a:lnTo>
                  <a:pt x="8986" y="1043"/>
                </a:lnTo>
                <a:lnTo>
                  <a:pt x="9025" y="1041"/>
                </a:lnTo>
                <a:lnTo>
                  <a:pt x="9065" y="1039"/>
                </a:lnTo>
                <a:lnTo>
                  <a:pt x="9105" y="1039"/>
                </a:lnTo>
                <a:lnTo>
                  <a:pt x="9105" y="1039"/>
                </a:lnTo>
                <a:lnTo>
                  <a:pt x="9156" y="1039"/>
                </a:lnTo>
                <a:lnTo>
                  <a:pt x="9205" y="1041"/>
                </a:lnTo>
                <a:lnTo>
                  <a:pt x="9253" y="1044"/>
                </a:lnTo>
                <a:lnTo>
                  <a:pt x="9299" y="1047"/>
                </a:lnTo>
                <a:lnTo>
                  <a:pt x="9345" y="1052"/>
                </a:lnTo>
                <a:lnTo>
                  <a:pt x="9390" y="1059"/>
                </a:lnTo>
                <a:lnTo>
                  <a:pt x="9433" y="1066"/>
                </a:lnTo>
                <a:lnTo>
                  <a:pt x="9476" y="1074"/>
                </a:lnTo>
                <a:lnTo>
                  <a:pt x="9517" y="1084"/>
                </a:lnTo>
                <a:lnTo>
                  <a:pt x="9558" y="1094"/>
                </a:lnTo>
                <a:lnTo>
                  <a:pt x="9598" y="1105"/>
                </a:lnTo>
                <a:lnTo>
                  <a:pt x="9637" y="1117"/>
                </a:lnTo>
                <a:lnTo>
                  <a:pt x="9675" y="1131"/>
                </a:lnTo>
                <a:lnTo>
                  <a:pt x="9711" y="1145"/>
                </a:lnTo>
                <a:lnTo>
                  <a:pt x="9747" y="1159"/>
                </a:lnTo>
                <a:lnTo>
                  <a:pt x="9783" y="1175"/>
                </a:lnTo>
                <a:lnTo>
                  <a:pt x="9816" y="1192"/>
                </a:lnTo>
                <a:lnTo>
                  <a:pt x="9850" y="1210"/>
                </a:lnTo>
                <a:lnTo>
                  <a:pt x="9883" y="1229"/>
                </a:lnTo>
                <a:lnTo>
                  <a:pt x="9915" y="1247"/>
                </a:lnTo>
                <a:lnTo>
                  <a:pt x="9946" y="1267"/>
                </a:lnTo>
                <a:lnTo>
                  <a:pt x="9977" y="1288"/>
                </a:lnTo>
                <a:lnTo>
                  <a:pt x="10007" y="1309"/>
                </a:lnTo>
                <a:lnTo>
                  <a:pt x="10037" y="1331"/>
                </a:lnTo>
                <a:lnTo>
                  <a:pt x="10065" y="1354"/>
                </a:lnTo>
                <a:lnTo>
                  <a:pt x="10093" y="1379"/>
                </a:lnTo>
                <a:lnTo>
                  <a:pt x="10120" y="1403"/>
                </a:lnTo>
                <a:lnTo>
                  <a:pt x="10148" y="1428"/>
                </a:lnTo>
                <a:lnTo>
                  <a:pt x="10174" y="1453"/>
                </a:lnTo>
                <a:lnTo>
                  <a:pt x="10200" y="1479"/>
                </a:lnTo>
                <a:lnTo>
                  <a:pt x="10226" y="1506"/>
                </a:lnTo>
                <a:lnTo>
                  <a:pt x="10252" y="1533"/>
                </a:lnTo>
                <a:lnTo>
                  <a:pt x="9844" y="1972"/>
                </a:lnTo>
                <a:lnTo>
                  <a:pt x="9844" y="1972"/>
                </a:lnTo>
                <a:lnTo>
                  <a:pt x="9806" y="1934"/>
                </a:lnTo>
                <a:lnTo>
                  <a:pt x="9768" y="1896"/>
                </a:lnTo>
                <a:lnTo>
                  <a:pt x="9729" y="1861"/>
                </a:lnTo>
                <a:lnTo>
                  <a:pt x="9689" y="1827"/>
                </a:lnTo>
                <a:lnTo>
                  <a:pt x="9648" y="1795"/>
                </a:lnTo>
                <a:lnTo>
                  <a:pt x="9608" y="1766"/>
                </a:lnTo>
                <a:lnTo>
                  <a:pt x="9587" y="1752"/>
                </a:lnTo>
                <a:lnTo>
                  <a:pt x="9565" y="1738"/>
                </a:lnTo>
                <a:lnTo>
                  <a:pt x="9543" y="1726"/>
                </a:lnTo>
                <a:lnTo>
                  <a:pt x="9521" y="1713"/>
                </a:lnTo>
                <a:lnTo>
                  <a:pt x="9498" y="1702"/>
                </a:lnTo>
                <a:lnTo>
                  <a:pt x="9475" y="1691"/>
                </a:lnTo>
                <a:lnTo>
                  <a:pt x="9451" y="1681"/>
                </a:lnTo>
                <a:lnTo>
                  <a:pt x="9428" y="1671"/>
                </a:lnTo>
                <a:lnTo>
                  <a:pt x="9403" y="1663"/>
                </a:lnTo>
                <a:lnTo>
                  <a:pt x="9379" y="1655"/>
                </a:lnTo>
                <a:lnTo>
                  <a:pt x="9354" y="1647"/>
                </a:lnTo>
                <a:lnTo>
                  <a:pt x="9328" y="1640"/>
                </a:lnTo>
                <a:lnTo>
                  <a:pt x="9301" y="1634"/>
                </a:lnTo>
                <a:lnTo>
                  <a:pt x="9274" y="1628"/>
                </a:lnTo>
                <a:lnTo>
                  <a:pt x="9247" y="1624"/>
                </a:lnTo>
                <a:lnTo>
                  <a:pt x="9218" y="1620"/>
                </a:lnTo>
                <a:lnTo>
                  <a:pt x="9190" y="1618"/>
                </a:lnTo>
                <a:lnTo>
                  <a:pt x="9161" y="1616"/>
                </a:lnTo>
                <a:lnTo>
                  <a:pt x="9130" y="1614"/>
                </a:lnTo>
                <a:lnTo>
                  <a:pt x="9100" y="1614"/>
                </a:lnTo>
                <a:lnTo>
                  <a:pt x="9100" y="1614"/>
                </a:lnTo>
                <a:lnTo>
                  <a:pt x="9056" y="1615"/>
                </a:lnTo>
                <a:lnTo>
                  <a:pt x="9012" y="1619"/>
                </a:lnTo>
                <a:lnTo>
                  <a:pt x="8969" y="1624"/>
                </a:lnTo>
                <a:lnTo>
                  <a:pt x="8927" y="1633"/>
                </a:lnTo>
                <a:lnTo>
                  <a:pt x="8886" y="1643"/>
                </a:lnTo>
                <a:lnTo>
                  <a:pt x="8846" y="1656"/>
                </a:lnTo>
                <a:lnTo>
                  <a:pt x="8807" y="1669"/>
                </a:lnTo>
                <a:lnTo>
                  <a:pt x="8770" y="1686"/>
                </a:lnTo>
                <a:lnTo>
                  <a:pt x="8732" y="1705"/>
                </a:lnTo>
                <a:lnTo>
                  <a:pt x="8696" y="1725"/>
                </a:lnTo>
                <a:lnTo>
                  <a:pt x="8662" y="1747"/>
                </a:lnTo>
                <a:lnTo>
                  <a:pt x="8629" y="1771"/>
                </a:lnTo>
                <a:lnTo>
                  <a:pt x="8596" y="1797"/>
                </a:lnTo>
                <a:lnTo>
                  <a:pt x="8565" y="1825"/>
                </a:lnTo>
                <a:lnTo>
                  <a:pt x="8536" y="1853"/>
                </a:lnTo>
                <a:lnTo>
                  <a:pt x="8507" y="1883"/>
                </a:lnTo>
                <a:lnTo>
                  <a:pt x="8481" y="1916"/>
                </a:lnTo>
                <a:lnTo>
                  <a:pt x="8456" y="1949"/>
                </a:lnTo>
                <a:lnTo>
                  <a:pt x="8432" y="1984"/>
                </a:lnTo>
                <a:lnTo>
                  <a:pt x="8410" y="2020"/>
                </a:lnTo>
                <a:lnTo>
                  <a:pt x="8389" y="2057"/>
                </a:lnTo>
                <a:lnTo>
                  <a:pt x="8369" y="2095"/>
                </a:lnTo>
                <a:lnTo>
                  <a:pt x="8352" y="2135"/>
                </a:lnTo>
                <a:lnTo>
                  <a:pt x="8336" y="2176"/>
                </a:lnTo>
                <a:lnTo>
                  <a:pt x="8322" y="2218"/>
                </a:lnTo>
                <a:lnTo>
                  <a:pt x="8309" y="2260"/>
                </a:lnTo>
                <a:lnTo>
                  <a:pt x="8299" y="2304"/>
                </a:lnTo>
                <a:lnTo>
                  <a:pt x="8290" y="2348"/>
                </a:lnTo>
                <a:lnTo>
                  <a:pt x="8283" y="2393"/>
                </a:lnTo>
                <a:lnTo>
                  <a:pt x="8278" y="2439"/>
                </a:lnTo>
                <a:lnTo>
                  <a:pt x="8276" y="2486"/>
                </a:lnTo>
                <a:lnTo>
                  <a:pt x="8274" y="2533"/>
                </a:lnTo>
                <a:lnTo>
                  <a:pt x="8274" y="2533"/>
                </a:lnTo>
                <a:lnTo>
                  <a:pt x="8276" y="2581"/>
                </a:lnTo>
                <a:lnTo>
                  <a:pt x="8279" y="2628"/>
                </a:lnTo>
                <a:lnTo>
                  <a:pt x="8283" y="2675"/>
                </a:lnTo>
                <a:lnTo>
                  <a:pt x="8290" y="2721"/>
                </a:lnTo>
                <a:lnTo>
                  <a:pt x="8300" y="2766"/>
                </a:lnTo>
                <a:lnTo>
                  <a:pt x="8310" y="2811"/>
                </a:lnTo>
                <a:lnTo>
                  <a:pt x="8323" y="2854"/>
                </a:lnTo>
                <a:lnTo>
                  <a:pt x="8337" y="2896"/>
                </a:lnTo>
                <a:lnTo>
                  <a:pt x="8353" y="2937"/>
                </a:lnTo>
                <a:lnTo>
                  <a:pt x="8371" y="2978"/>
                </a:lnTo>
                <a:lnTo>
                  <a:pt x="8391" y="3016"/>
                </a:lnTo>
                <a:lnTo>
                  <a:pt x="8412" y="3053"/>
                </a:lnTo>
                <a:lnTo>
                  <a:pt x="8435" y="3090"/>
                </a:lnTo>
                <a:lnTo>
                  <a:pt x="8460" y="3126"/>
                </a:lnTo>
                <a:lnTo>
                  <a:pt x="8486" y="3159"/>
                </a:lnTo>
                <a:lnTo>
                  <a:pt x="8514" y="3191"/>
                </a:lnTo>
                <a:lnTo>
                  <a:pt x="8543" y="3222"/>
                </a:lnTo>
                <a:lnTo>
                  <a:pt x="8573" y="3250"/>
                </a:lnTo>
                <a:lnTo>
                  <a:pt x="8605" y="3279"/>
                </a:lnTo>
                <a:lnTo>
                  <a:pt x="8638" y="3304"/>
                </a:lnTo>
                <a:lnTo>
                  <a:pt x="8673" y="3328"/>
                </a:lnTo>
                <a:lnTo>
                  <a:pt x="8710" y="3350"/>
                </a:lnTo>
                <a:lnTo>
                  <a:pt x="8746" y="3371"/>
                </a:lnTo>
                <a:lnTo>
                  <a:pt x="8785" y="3389"/>
                </a:lnTo>
                <a:lnTo>
                  <a:pt x="8825" y="3406"/>
                </a:lnTo>
                <a:lnTo>
                  <a:pt x="8865" y="3420"/>
                </a:lnTo>
                <a:lnTo>
                  <a:pt x="8907" y="3433"/>
                </a:lnTo>
                <a:lnTo>
                  <a:pt x="8950" y="3443"/>
                </a:lnTo>
                <a:lnTo>
                  <a:pt x="8994" y="3451"/>
                </a:lnTo>
                <a:lnTo>
                  <a:pt x="9039" y="3457"/>
                </a:lnTo>
                <a:lnTo>
                  <a:pt x="9085" y="3460"/>
                </a:lnTo>
                <a:lnTo>
                  <a:pt x="9132" y="3462"/>
                </a:lnTo>
                <a:lnTo>
                  <a:pt x="9132" y="3462"/>
                </a:lnTo>
                <a:lnTo>
                  <a:pt x="9161" y="3461"/>
                </a:lnTo>
                <a:lnTo>
                  <a:pt x="9189" y="3460"/>
                </a:lnTo>
                <a:lnTo>
                  <a:pt x="9217" y="3458"/>
                </a:lnTo>
                <a:lnTo>
                  <a:pt x="9245" y="3455"/>
                </a:lnTo>
                <a:lnTo>
                  <a:pt x="9272" y="3452"/>
                </a:lnTo>
                <a:lnTo>
                  <a:pt x="9298" y="3447"/>
                </a:lnTo>
                <a:lnTo>
                  <a:pt x="9324" y="3441"/>
                </a:lnTo>
                <a:lnTo>
                  <a:pt x="9351" y="3436"/>
                </a:lnTo>
                <a:lnTo>
                  <a:pt x="9376" y="3429"/>
                </a:lnTo>
                <a:lnTo>
                  <a:pt x="9401" y="3421"/>
                </a:lnTo>
                <a:lnTo>
                  <a:pt x="9425" y="3413"/>
                </a:lnTo>
                <a:lnTo>
                  <a:pt x="9449" y="3405"/>
                </a:lnTo>
                <a:lnTo>
                  <a:pt x="9473" y="3395"/>
                </a:lnTo>
                <a:lnTo>
                  <a:pt x="9497" y="3385"/>
                </a:lnTo>
                <a:lnTo>
                  <a:pt x="9521" y="3373"/>
                </a:lnTo>
                <a:lnTo>
                  <a:pt x="9544" y="3362"/>
                </a:lnTo>
                <a:lnTo>
                  <a:pt x="9566" y="3350"/>
                </a:lnTo>
                <a:lnTo>
                  <a:pt x="9589" y="3337"/>
                </a:lnTo>
                <a:lnTo>
                  <a:pt x="9611" y="3324"/>
                </a:lnTo>
                <a:lnTo>
                  <a:pt x="9632" y="3310"/>
                </a:lnTo>
                <a:lnTo>
                  <a:pt x="9675" y="3281"/>
                </a:lnTo>
                <a:lnTo>
                  <a:pt x="9717" y="3248"/>
                </a:lnTo>
                <a:lnTo>
                  <a:pt x="9758" y="3215"/>
                </a:lnTo>
                <a:lnTo>
                  <a:pt x="9798" y="3180"/>
                </a:lnTo>
                <a:lnTo>
                  <a:pt x="9838" y="3142"/>
                </a:lnTo>
                <a:lnTo>
                  <a:pt x="9877" y="3103"/>
                </a:lnTo>
                <a:lnTo>
                  <a:pt x="10274" y="3495"/>
                </a:lnTo>
                <a:lnTo>
                  <a:pt x="10274" y="3495"/>
                </a:lnTo>
                <a:lnTo>
                  <a:pt x="10246" y="3524"/>
                </a:lnTo>
                <a:lnTo>
                  <a:pt x="10220" y="3553"/>
                </a:lnTo>
                <a:lnTo>
                  <a:pt x="10193" y="3581"/>
                </a:lnTo>
                <a:lnTo>
                  <a:pt x="10165" y="3608"/>
                </a:lnTo>
                <a:lnTo>
                  <a:pt x="10136" y="3635"/>
                </a:lnTo>
                <a:lnTo>
                  <a:pt x="10108" y="3662"/>
                </a:lnTo>
                <a:lnTo>
                  <a:pt x="10079" y="3687"/>
                </a:lnTo>
                <a:lnTo>
                  <a:pt x="10049" y="3711"/>
                </a:lnTo>
                <a:lnTo>
                  <a:pt x="10020" y="3735"/>
                </a:lnTo>
                <a:lnTo>
                  <a:pt x="9988" y="3759"/>
                </a:lnTo>
                <a:lnTo>
                  <a:pt x="9958" y="3781"/>
                </a:lnTo>
                <a:lnTo>
                  <a:pt x="9925" y="3803"/>
                </a:lnTo>
                <a:lnTo>
                  <a:pt x="9893" y="3824"/>
                </a:lnTo>
                <a:lnTo>
                  <a:pt x="9859" y="3844"/>
                </a:lnTo>
                <a:lnTo>
                  <a:pt x="9826" y="3863"/>
                </a:lnTo>
                <a:lnTo>
                  <a:pt x="9790" y="3882"/>
                </a:lnTo>
                <a:lnTo>
                  <a:pt x="9754" y="3899"/>
                </a:lnTo>
                <a:lnTo>
                  <a:pt x="9719" y="3916"/>
                </a:lnTo>
                <a:lnTo>
                  <a:pt x="9681" y="3931"/>
                </a:lnTo>
                <a:lnTo>
                  <a:pt x="9642" y="3945"/>
                </a:lnTo>
                <a:lnTo>
                  <a:pt x="9603" y="3959"/>
                </a:lnTo>
                <a:lnTo>
                  <a:pt x="9564" y="3971"/>
                </a:lnTo>
                <a:lnTo>
                  <a:pt x="9522" y="3983"/>
                </a:lnTo>
                <a:lnTo>
                  <a:pt x="9480" y="3993"/>
                </a:lnTo>
                <a:lnTo>
                  <a:pt x="9437" y="4002"/>
                </a:lnTo>
                <a:lnTo>
                  <a:pt x="9392" y="4010"/>
                </a:lnTo>
                <a:lnTo>
                  <a:pt x="9346" y="4016"/>
                </a:lnTo>
                <a:lnTo>
                  <a:pt x="9299" y="4023"/>
                </a:lnTo>
                <a:lnTo>
                  <a:pt x="9252" y="4027"/>
                </a:lnTo>
                <a:lnTo>
                  <a:pt x="9203" y="4030"/>
                </a:lnTo>
                <a:lnTo>
                  <a:pt x="9151" y="4032"/>
                </a:lnTo>
                <a:lnTo>
                  <a:pt x="9100" y="4032"/>
                </a:lnTo>
                <a:lnTo>
                  <a:pt x="9100" y="4032"/>
                </a:lnTo>
                <a:close/>
                <a:moveTo>
                  <a:pt x="13288" y="3968"/>
                </a:moveTo>
                <a:lnTo>
                  <a:pt x="12528" y="3968"/>
                </a:lnTo>
                <a:lnTo>
                  <a:pt x="11664" y="2728"/>
                </a:lnTo>
                <a:lnTo>
                  <a:pt x="11263" y="3146"/>
                </a:lnTo>
                <a:lnTo>
                  <a:pt x="11263" y="3968"/>
                </a:lnTo>
                <a:lnTo>
                  <a:pt x="10605" y="3968"/>
                </a:lnTo>
                <a:lnTo>
                  <a:pt x="10605" y="0"/>
                </a:lnTo>
                <a:lnTo>
                  <a:pt x="11263" y="0"/>
                </a:lnTo>
                <a:lnTo>
                  <a:pt x="11263" y="2370"/>
                </a:lnTo>
                <a:lnTo>
                  <a:pt x="12452" y="1098"/>
                </a:lnTo>
                <a:lnTo>
                  <a:pt x="13250" y="1098"/>
                </a:lnTo>
                <a:lnTo>
                  <a:pt x="12109" y="2266"/>
                </a:lnTo>
                <a:lnTo>
                  <a:pt x="13288" y="3968"/>
                </a:lnTo>
                <a:close/>
                <a:moveTo>
                  <a:pt x="15271" y="4027"/>
                </a:moveTo>
                <a:lnTo>
                  <a:pt x="15271" y="4027"/>
                </a:lnTo>
                <a:lnTo>
                  <a:pt x="15227" y="4027"/>
                </a:lnTo>
                <a:lnTo>
                  <a:pt x="15184" y="4025"/>
                </a:lnTo>
                <a:lnTo>
                  <a:pt x="15143" y="4022"/>
                </a:lnTo>
                <a:lnTo>
                  <a:pt x="15103" y="4016"/>
                </a:lnTo>
                <a:lnTo>
                  <a:pt x="15063" y="4011"/>
                </a:lnTo>
                <a:lnTo>
                  <a:pt x="15024" y="4004"/>
                </a:lnTo>
                <a:lnTo>
                  <a:pt x="14985" y="3995"/>
                </a:lnTo>
                <a:lnTo>
                  <a:pt x="14948" y="3986"/>
                </a:lnTo>
                <a:lnTo>
                  <a:pt x="14912" y="3975"/>
                </a:lnTo>
                <a:lnTo>
                  <a:pt x="14877" y="3964"/>
                </a:lnTo>
                <a:lnTo>
                  <a:pt x="14842" y="3951"/>
                </a:lnTo>
                <a:lnTo>
                  <a:pt x="14809" y="3938"/>
                </a:lnTo>
                <a:lnTo>
                  <a:pt x="14776" y="3923"/>
                </a:lnTo>
                <a:lnTo>
                  <a:pt x="14745" y="3907"/>
                </a:lnTo>
                <a:lnTo>
                  <a:pt x="14713" y="3891"/>
                </a:lnTo>
                <a:lnTo>
                  <a:pt x="14683" y="3875"/>
                </a:lnTo>
                <a:lnTo>
                  <a:pt x="14654" y="3857"/>
                </a:lnTo>
                <a:lnTo>
                  <a:pt x="14625" y="3838"/>
                </a:lnTo>
                <a:lnTo>
                  <a:pt x="14597" y="3819"/>
                </a:lnTo>
                <a:lnTo>
                  <a:pt x="14570" y="3799"/>
                </a:lnTo>
                <a:lnTo>
                  <a:pt x="14544" y="3778"/>
                </a:lnTo>
                <a:lnTo>
                  <a:pt x="14518" y="3757"/>
                </a:lnTo>
                <a:lnTo>
                  <a:pt x="14493" y="3735"/>
                </a:lnTo>
                <a:lnTo>
                  <a:pt x="14469" y="3713"/>
                </a:lnTo>
                <a:lnTo>
                  <a:pt x="14446" y="3690"/>
                </a:lnTo>
                <a:lnTo>
                  <a:pt x="14423" y="3667"/>
                </a:lnTo>
                <a:lnTo>
                  <a:pt x="14401" y="3644"/>
                </a:lnTo>
                <a:lnTo>
                  <a:pt x="14379" y="3620"/>
                </a:lnTo>
                <a:lnTo>
                  <a:pt x="14358" y="3596"/>
                </a:lnTo>
                <a:lnTo>
                  <a:pt x="14338" y="3571"/>
                </a:lnTo>
                <a:lnTo>
                  <a:pt x="14299" y="3522"/>
                </a:lnTo>
                <a:lnTo>
                  <a:pt x="14299" y="3968"/>
                </a:lnTo>
                <a:lnTo>
                  <a:pt x="13642" y="3968"/>
                </a:lnTo>
                <a:lnTo>
                  <a:pt x="13642" y="0"/>
                </a:lnTo>
                <a:lnTo>
                  <a:pt x="14299" y="0"/>
                </a:lnTo>
                <a:lnTo>
                  <a:pt x="14299" y="1576"/>
                </a:lnTo>
                <a:lnTo>
                  <a:pt x="14299" y="1576"/>
                </a:lnTo>
                <a:lnTo>
                  <a:pt x="14319" y="1549"/>
                </a:lnTo>
                <a:lnTo>
                  <a:pt x="14340" y="1521"/>
                </a:lnTo>
                <a:lnTo>
                  <a:pt x="14361" y="1494"/>
                </a:lnTo>
                <a:lnTo>
                  <a:pt x="14383" y="1467"/>
                </a:lnTo>
                <a:lnTo>
                  <a:pt x="14405" y="1442"/>
                </a:lnTo>
                <a:lnTo>
                  <a:pt x="14428" y="1415"/>
                </a:lnTo>
                <a:lnTo>
                  <a:pt x="14451" y="1390"/>
                </a:lnTo>
                <a:lnTo>
                  <a:pt x="14475" y="1366"/>
                </a:lnTo>
                <a:lnTo>
                  <a:pt x="14499" y="1342"/>
                </a:lnTo>
                <a:lnTo>
                  <a:pt x="14526" y="1319"/>
                </a:lnTo>
                <a:lnTo>
                  <a:pt x="14551" y="1297"/>
                </a:lnTo>
                <a:lnTo>
                  <a:pt x="14578" y="1275"/>
                </a:lnTo>
                <a:lnTo>
                  <a:pt x="14605" y="1254"/>
                </a:lnTo>
                <a:lnTo>
                  <a:pt x="14633" y="1233"/>
                </a:lnTo>
                <a:lnTo>
                  <a:pt x="14662" y="1214"/>
                </a:lnTo>
                <a:lnTo>
                  <a:pt x="14691" y="1195"/>
                </a:lnTo>
                <a:lnTo>
                  <a:pt x="14722" y="1177"/>
                </a:lnTo>
                <a:lnTo>
                  <a:pt x="14752" y="1160"/>
                </a:lnTo>
                <a:lnTo>
                  <a:pt x="14784" y="1145"/>
                </a:lnTo>
                <a:lnTo>
                  <a:pt x="14816" y="1130"/>
                </a:lnTo>
                <a:lnTo>
                  <a:pt x="14850" y="1115"/>
                </a:lnTo>
                <a:lnTo>
                  <a:pt x="14883" y="1103"/>
                </a:lnTo>
                <a:lnTo>
                  <a:pt x="14919" y="1091"/>
                </a:lnTo>
                <a:lnTo>
                  <a:pt x="14955" y="1081"/>
                </a:lnTo>
                <a:lnTo>
                  <a:pt x="14990" y="1071"/>
                </a:lnTo>
                <a:lnTo>
                  <a:pt x="15028" y="1062"/>
                </a:lnTo>
                <a:lnTo>
                  <a:pt x="15067" y="1055"/>
                </a:lnTo>
                <a:lnTo>
                  <a:pt x="15106" y="1049"/>
                </a:lnTo>
                <a:lnTo>
                  <a:pt x="15146" y="1044"/>
                </a:lnTo>
                <a:lnTo>
                  <a:pt x="15186" y="1041"/>
                </a:lnTo>
                <a:lnTo>
                  <a:pt x="15228" y="1039"/>
                </a:lnTo>
                <a:lnTo>
                  <a:pt x="15271" y="1039"/>
                </a:lnTo>
                <a:lnTo>
                  <a:pt x="15271" y="1039"/>
                </a:lnTo>
                <a:lnTo>
                  <a:pt x="15303" y="1039"/>
                </a:lnTo>
                <a:lnTo>
                  <a:pt x="15335" y="1040"/>
                </a:lnTo>
                <a:lnTo>
                  <a:pt x="15367" y="1042"/>
                </a:lnTo>
                <a:lnTo>
                  <a:pt x="15398" y="1045"/>
                </a:lnTo>
                <a:lnTo>
                  <a:pt x="15430" y="1048"/>
                </a:lnTo>
                <a:lnTo>
                  <a:pt x="15461" y="1052"/>
                </a:lnTo>
                <a:lnTo>
                  <a:pt x="15493" y="1058"/>
                </a:lnTo>
                <a:lnTo>
                  <a:pt x="15524" y="1063"/>
                </a:lnTo>
                <a:lnTo>
                  <a:pt x="15555" y="1070"/>
                </a:lnTo>
                <a:lnTo>
                  <a:pt x="15586" y="1078"/>
                </a:lnTo>
                <a:lnTo>
                  <a:pt x="15617" y="1085"/>
                </a:lnTo>
                <a:lnTo>
                  <a:pt x="15647" y="1094"/>
                </a:lnTo>
                <a:lnTo>
                  <a:pt x="15677" y="1104"/>
                </a:lnTo>
                <a:lnTo>
                  <a:pt x="15708" y="1114"/>
                </a:lnTo>
                <a:lnTo>
                  <a:pt x="15737" y="1126"/>
                </a:lnTo>
                <a:lnTo>
                  <a:pt x="15767" y="1137"/>
                </a:lnTo>
                <a:lnTo>
                  <a:pt x="15796" y="1150"/>
                </a:lnTo>
                <a:lnTo>
                  <a:pt x="15825" y="1164"/>
                </a:lnTo>
                <a:lnTo>
                  <a:pt x="15854" y="1177"/>
                </a:lnTo>
                <a:lnTo>
                  <a:pt x="15883" y="1192"/>
                </a:lnTo>
                <a:lnTo>
                  <a:pt x="15910" y="1208"/>
                </a:lnTo>
                <a:lnTo>
                  <a:pt x="15939" y="1224"/>
                </a:lnTo>
                <a:lnTo>
                  <a:pt x="15966" y="1241"/>
                </a:lnTo>
                <a:lnTo>
                  <a:pt x="15993" y="1259"/>
                </a:lnTo>
                <a:lnTo>
                  <a:pt x="16019" y="1278"/>
                </a:lnTo>
                <a:lnTo>
                  <a:pt x="16045" y="1297"/>
                </a:lnTo>
                <a:lnTo>
                  <a:pt x="16072" y="1317"/>
                </a:lnTo>
                <a:lnTo>
                  <a:pt x="16097" y="1337"/>
                </a:lnTo>
                <a:lnTo>
                  <a:pt x="16122" y="1359"/>
                </a:lnTo>
                <a:lnTo>
                  <a:pt x="16147" y="1381"/>
                </a:lnTo>
                <a:lnTo>
                  <a:pt x="16171" y="1404"/>
                </a:lnTo>
                <a:lnTo>
                  <a:pt x="16194" y="1427"/>
                </a:lnTo>
                <a:lnTo>
                  <a:pt x="16218" y="1451"/>
                </a:lnTo>
                <a:lnTo>
                  <a:pt x="16241" y="1476"/>
                </a:lnTo>
                <a:lnTo>
                  <a:pt x="16263" y="1501"/>
                </a:lnTo>
                <a:lnTo>
                  <a:pt x="16284" y="1528"/>
                </a:lnTo>
                <a:lnTo>
                  <a:pt x="16305" y="1555"/>
                </a:lnTo>
                <a:lnTo>
                  <a:pt x="16326" y="1582"/>
                </a:lnTo>
                <a:lnTo>
                  <a:pt x="16345" y="1610"/>
                </a:lnTo>
                <a:lnTo>
                  <a:pt x="16364" y="1640"/>
                </a:lnTo>
                <a:lnTo>
                  <a:pt x="16383" y="1669"/>
                </a:lnTo>
                <a:lnTo>
                  <a:pt x="16401" y="1700"/>
                </a:lnTo>
                <a:lnTo>
                  <a:pt x="16418" y="1730"/>
                </a:lnTo>
                <a:lnTo>
                  <a:pt x="16435" y="1763"/>
                </a:lnTo>
                <a:lnTo>
                  <a:pt x="16451" y="1794"/>
                </a:lnTo>
                <a:lnTo>
                  <a:pt x="16466" y="1828"/>
                </a:lnTo>
                <a:lnTo>
                  <a:pt x="16481" y="1861"/>
                </a:lnTo>
                <a:lnTo>
                  <a:pt x="16494" y="1896"/>
                </a:lnTo>
                <a:lnTo>
                  <a:pt x="16508" y="1930"/>
                </a:lnTo>
                <a:lnTo>
                  <a:pt x="16521" y="1966"/>
                </a:lnTo>
                <a:lnTo>
                  <a:pt x="16532" y="2003"/>
                </a:lnTo>
                <a:lnTo>
                  <a:pt x="16543" y="2040"/>
                </a:lnTo>
                <a:lnTo>
                  <a:pt x="16553" y="2077"/>
                </a:lnTo>
                <a:lnTo>
                  <a:pt x="16563" y="2115"/>
                </a:lnTo>
                <a:lnTo>
                  <a:pt x="16571" y="2154"/>
                </a:lnTo>
                <a:lnTo>
                  <a:pt x="16578" y="2194"/>
                </a:lnTo>
                <a:lnTo>
                  <a:pt x="16586" y="2234"/>
                </a:lnTo>
                <a:lnTo>
                  <a:pt x="16591" y="2275"/>
                </a:lnTo>
                <a:lnTo>
                  <a:pt x="16596" y="2317"/>
                </a:lnTo>
                <a:lnTo>
                  <a:pt x="16600" y="2359"/>
                </a:lnTo>
                <a:lnTo>
                  <a:pt x="16603" y="2401"/>
                </a:lnTo>
                <a:lnTo>
                  <a:pt x="16607" y="2445"/>
                </a:lnTo>
                <a:lnTo>
                  <a:pt x="16608" y="2489"/>
                </a:lnTo>
                <a:lnTo>
                  <a:pt x="16608" y="2533"/>
                </a:lnTo>
                <a:lnTo>
                  <a:pt x="16608" y="2533"/>
                </a:lnTo>
                <a:lnTo>
                  <a:pt x="16608" y="2577"/>
                </a:lnTo>
                <a:lnTo>
                  <a:pt x="16607" y="2621"/>
                </a:lnTo>
                <a:lnTo>
                  <a:pt x="16603" y="2665"/>
                </a:lnTo>
                <a:lnTo>
                  <a:pt x="16600" y="2707"/>
                </a:lnTo>
                <a:lnTo>
                  <a:pt x="16596" y="2749"/>
                </a:lnTo>
                <a:lnTo>
                  <a:pt x="16592" y="2791"/>
                </a:lnTo>
                <a:lnTo>
                  <a:pt x="16586" y="2832"/>
                </a:lnTo>
                <a:lnTo>
                  <a:pt x="16578" y="2872"/>
                </a:lnTo>
                <a:lnTo>
                  <a:pt x="16571" y="2911"/>
                </a:lnTo>
                <a:lnTo>
                  <a:pt x="16563" y="2950"/>
                </a:lnTo>
                <a:lnTo>
                  <a:pt x="16553" y="2988"/>
                </a:lnTo>
                <a:lnTo>
                  <a:pt x="16544" y="3026"/>
                </a:lnTo>
                <a:lnTo>
                  <a:pt x="16532" y="3063"/>
                </a:lnTo>
                <a:lnTo>
                  <a:pt x="16521" y="3099"/>
                </a:lnTo>
                <a:lnTo>
                  <a:pt x="16509" y="3135"/>
                </a:lnTo>
                <a:lnTo>
                  <a:pt x="16495" y="3170"/>
                </a:lnTo>
                <a:lnTo>
                  <a:pt x="16482" y="3204"/>
                </a:lnTo>
                <a:lnTo>
                  <a:pt x="16467" y="3238"/>
                </a:lnTo>
                <a:lnTo>
                  <a:pt x="16451" y="3270"/>
                </a:lnTo>
                <a:lnTo>
                  <a:pt x="16436" y="3303"/>
                </a:lnTo>
                <a:lnTo>
                  <a:pt x="16419" y="3334"/>
                </a:lnTo>
                <a:lnTo>
                  <a:pt x="16402" y="3366"/>
                </a:lnTo>
                <a:lnTo>
                  <a:pt x="16384" y="3396"/>
                </a:lnTo>
                <a:lnTo>
                  <a:pt x="16365" y="3426"/>
                </a:lnTo>
                <a:lnTo>
                  <a:pt x="16347" y="3455"/>
                </a:lnTo>
                <a:lnTo>
                  <a:pt x="16327" y="3483"/>
                </a:lnTo>
                <a:lnTo>
                  <a:pt x="16307" y="3511"/>
                </a:lnTo>
                <a:lnTo>
                  <a:pt x="16286" y="3538"/>
                </a:lnTo>
                <a:lnTo>
                  <a:pt x="16264" y="3564"/>
                </a:lnTo>
                <a:lnTo>
                  <a:pt x="16242" y="3589"/>
                </a:lnTo>
                <a:lnTo>
                  <a:pt x="16220" y="3614"/>
                </a:lnTo>
                <a:lnTo>
                  <a:pt x="16197" y="3639"/>
                </a:lnTo>
                <a:lnTo>
                  <a:pt x="16172" y="3662"/>
                </a:lnTo>
                <a:lnTo>
                  <a:pt x="16149" y="3685"/>
                </a:lnTo>
                <a:lnTo>
                  <a:pt x="16124" y="3707"/>
                </a:lnTo>
                <a:lnTo>
                  <a:pt x="16099" y="3728"/>
                </a:lnTo>
                <a:lnTo>
                  <a:pt x="16074" y="3749"/>
                </a:lnTo>
                <a:lnTo>
                  <a:pt x="16049" y="3769"/>
                </a:lnTo>
                <a:lnTo>
                  <a:pt x="16021" y="3788"/>
                </a:lnTo>
                <a:lnTo>
                  <a:pt x="15995" y="3806"/>
                </a:lnTo>
                <a:lnTo>
                  <a:pt x="15968" y="3824"/>
                </a:lnTo>
                <a:lnTo>
                  <a:pt x="15941" y="3841"/>
                </a:lnTo>
                <a:lnTo>
                  <a:pt x="15913" y="3858"/>
                </a:lnTo>
                <a:lnTo>
                  <a:pt x="15885" y="3874"/>
                </a:lnTo>
                <a:lnTo>
                  <a:pt x="15857" y="3888"/>
                </a:lnTo>
                <a:lnTo>
                  <a:pt x="15827" y="3902"/>
                </a:lnTo>
                <a:lnTo>
                  <a:pt x="15798" y="3916"/>
                </a:lnTo>
                <a:lnTo>
                  <a:pt x="15769" y="3928"/>
                </a:lnTo>
                <a:lnTo>
                  <a:pt x="15739" y="3940"/>
                </a:lnTo>
                <a:lnTo>
                  <a:pt x="15710" y="3951"/>
                </a:lnTo>
                <a:lnTo>
                  <a:pt x="15679" y="3962"/>
                </a:lnTo>
                <a:lnTo>
                  <a:pt x="15649" y="3971"/>
                </a:lnTo>
                <a:lnTo>
                  <a:pt x="15619" y="3981"/>
                </a:lnTo>
                <a:lnTo>
                  <a:pt x="15587" y="3988"/>
                </a:lnTo>
                <a:lnTo>
                  <a:pt x="15557" y="3995"/>
                </a:lnTo>
                <a:lnTo>
                  <a:pt x="15525" y="4003"/>
                </a:lnTo>
                <a:lnTo>
                  <a:pt x="15494" y="4008"/>
                </a:lnTo>
                <a:lnTo>
                  <a:pt x="15462" y="4013"/>
                </a:lnTo>
                <a:lnTo>
                  <a:pt x="15431" y="4017"/>
                </a:lnTo>
                <a:lnTo>
                  <a:pt x="15399" y="4022"/>
                </a:lnTo>
                <a:lnTo>
                  <a:pt x="15368" y="4024"/>
                </a:lnTo>
                <a:lnTo>
                  <a:pt x="15335" y="4026"/>
                </a:lnTo>
                <a:lnTo>
                  <a:pt x="15304" y="4027"/>
                </a:lnTo>
                <a:lnTo>
                  <a:pt x="15271" y="4027"/>
                </a:lnTo>
                <a:lnTo>
                  <a:pt x="15271" y="4027"/>
                </a:lnTo>
                <a:close/>
                <a:moveTo>
                  <a:pt x="15119" y="1608"/>
                </a:moveTo>
                <a:lnTo>
                  <a:pt x="15119" y="1608"/>
                </a:lnTo>
                <a:lnTo>
                  <a:pt x="15078" y="1609"/>
                </a:lnTo>
                <a:lnTo>
                  <a:pt x="15036" y="1613"/>
                </a:lnTo>
                <a:lnTo>
                  <a:pt x="14996" y="1618"/>
                </a:lnTo>
                <a:lnTo>
                  <a:pt x="14956" y="1625"/>
                </a:lnTo>
                <a:lnTo>
                  <a:pt x="14916" y="1635"/>
                </a:lnTo>
                <a:lnTo>
                  <a:pt x="14877" y="1646"/>
                </a:lnTo>
                <a:lnTo>
                  <a:pt x="14838" y="1659"/>
                </a:lnTo>
                <a:lnTo>
                  <a:pt x="14800" y="1674"/>
                </a:lnTo>
                <a:lnTo>
                  <a:pt x="14764" y="1691"/>
                </a:lnTo>
                <a:lnTo>
                  <a:pt x="14728" y="1710"/>
                </a:lnTo>
                <a:lnTo>
                  <a:pt x="14692" y="1731"/>
                </a:lnTo>
                <a:lnTo>
                  <a:pt x="14659" y="1753"/>
                </a:lnTo>
                <a:lnTo>
                  <a:pt x="14626" y="1777"/>
                </a:lnTo>
                <a:lnTo>
                  <a:pt x="14594" y="1804"/>
                </a:lnTo>
                <a:lnTo>
                  <a:pt x="14563" y="1831"/>
                </a:lnTo>
                <a:lnTo>
                  <a:pt x="14534" y="1860"/>
                </a:lnTo>
                <a:lnTo>
                  <a:pt x="14506" y="1892"/>
                </a:lnTo>
                <a:lnTo>
                  <a:pt x="14480" y="1924"/>
                </a:lnTo>
                <a:lnTo>
                  <a:pt x="14453" y="1959"/>
                </a:lnTo>
                <a:lnTo>
                  <a:pt x="14430" y="1994"/>
                </a:lnTo>
                <a:lnTo>
                  <a:pt x="14407" y="2031"/>
                </a:lnTo>
                <a:lnTo>
                  <a:pt x="14387" y="2070"/>
                </a:lnTo>
                <a:lnTo>
                  <a:pt x="14368" y="2110"/>
                </a:lnTo>
                <a:lnTo>
                  <a:pt x="14351" y="2152"/>
                </a:lnTo>
                <a:lnTo>
                  <a:pt x="14335" y="2195"/>
                </a:lnTo>
                <a:lnTo>
                  <a:pt x="14321" y="2239"/>
                </a:lnTo>
                <a:lnTo>
                  <a:pt x="14310" y="2285"/>
                </a:lnTo>
                <a:lnTo>
                  <a:pt x="14300" y="2332"/>
                </a:lnTo>
                <a:lnTo>
                  <a:pt x="14293" y="2381"/>
                </a:lnTo>
                <a:lnTo>
                  <a:pt x="14287" y="2430"/>
                </a:lnTo>
                <a:lnTo>
                  <a:pt x="14283" y="2481"/>
                </a:lnTo>
                <a:lnTo>
                  <a:pt x="14282" y="2533"/>
                </a:lnTo>
                <a:lnTo>
                  <a:pt x="14282" y="2533"/>
                </a:lnTo>
                <a:lnTo>
                  <a:pt x="14283" y="2584"/>
                </a:lnTo>
                <a:lnTo>
                  <a:pt x="14287" y="2636"/>
                </a:lnTo>
                <a:lnTo>
                  <a:pt x="14293" y="2685"/>
                </a:lnTo>
                <a:lnTo>
                  <a:pt x="14300" y="2733"/>
                </a:lnTo>
                <a:lnTo>
                  <a:pt x="14310" y="2780"/>
                </a:lnTo>
                <a:lnTo>
                  <a:pt x="14321" y="2825"/>
                </a:lnTo>
                <a:lnTo>
                  <a:pt x="14335" y="2871"/>
                </a:lnTo>
                <a:lnTo>
                  <a:pt x="14351" y="2914"/>
                </a:lnTo>
                <a:lnTo>
                  <a:pt x="14368" y="2954"/>
                </a:lnTo>
                <a:lnTo>
                  <a:pt x="14387" y="2994"/>
                </a:lnTo>
                <a:lnTo>
                  <a:pt x="14407" y="3033"/>
                </a:lnTo>
                <a:lnTo>
                  <a:pt x="14430" y="3071"/>
                </a:lnTo>
                <a:lnTo>
                  <a:pt x="14453" y="3107"/>
                </a:lnTo>
                <a:lnTo>
                  <a:pt x="14480" y="3141"/>
                </a:lnTo>
                <a:lnTo>
                  <a:pt x="14506" y="3174"/>
                </a:lnTo>
                <a:lnTo>
                  <a:pt x="14534" y="3204"/>
                </a:lnTo>
                <a:lnTo>
                  <a:pt x="14563" y="3234"/>
                </a:lnTo>
                <a:lnTo>
                  <a:pt x="14594" y="3261"/>
                </a:lnTo>
                <a:lnTo>
                  <a:pt x="14626" y="3287"/>
                </a:lnTo>
                <a:lnTo>
                  <a:pt x="14659" y="3311"/>
                </a:lnTo>
                <a:lnTo>
                  <a:pt x="14692" y="3334"/>
                </a:lnTo>
                <a:lnTo>
                  <a:pt x="14728" y="3355"/>
                </a:lnTo>
                <a:lnTo>
                  <a:pt x="14764" y="3373"/>
                </a:lnTo>
                <a:lnTo>
                  <a:pt x="14800" y="3391"/>
                </a:lnTo>
                <a:lnTo>
                  <a:pt x="14838" y="3406"/>
                </a:lnTo>
                <a:lnTo>
                  <a:pt x="14877" y="3419"/>
                </a:lnTo>
                <a:lnTo>
                  <a:pt x="14916" y="3430"/>
                </a:lnTo>
                <a:lnTo>
                  <a:pt x="14956" y="3439"/>
                </a:lnTo>
                <a:lnTo>
                  <a:pt x="14996" y="3447"/>
                </a:lnTo>
                <a:lnTo>
                  <a:pt x="15036" y="3452"/>
                </a:lnTo>
                <a:lnTo>
                  <a:pt x="15078" y="3455"/>
                </a:lnTo>
                <a:lnTo>
                  <a:pt x="15119" y="3456"/>
                </a:lnTo>
                <a:lnTo>
                  <a:pt x="15119" y="3456"/>
                </a:lnTo>
                <a:lnTo>
                  <a:pt x="15161" y="3455"/>
                </a:lnTo>
                <a:lnTo>
                  <a:pt x="15203" y="3452"/>
                </a:lnTo>
                <a:lnTo>
                  <a:pt x="15244" y="3448"/>
                </a:lnTo>
                <a:lnTo>
                  <a:pt x="15284" y="3440"/>
                </a:lnTo>
                <a:lnTo>
                  <a:pt x="15324" y="3431"/>
                </a:lnTo>
                <a:lnTo>
                  <a:pt x="15363" y="3420"/>
                </a:lnTo>
                <a:lnTo>
                  <a:pt x="15400" y="3407"/>
                </a:lnTo>
                <a:lnTo>
                  <a:pt x="15438" y="3392"/>
                </a:lnTo>
                <a:lnTo>
                  <a:pt x="15474" y="3375"/>
                </a:lnTo>
                <a:lnTo>
                  <a:pt x="15510" y="3357"/>
                </a:lnTo>
                <a:lnTo>
                  <a:pt x="15544" y="3336"/>
                </a:lnTo>
                <a:lnTo>
                  <a:pt x="15577" y="3314"/>
                </a:lnTo>
                <a:lnTo>
                  <a:pt x="15609" y="3290"/>
                </a:lnTo>
                <a:lnTo>
                  <a:pt x="15641" y="3265"/>
                </a:lnTo>
                <a:lnTo>
                  <a:pt x="15670" y="3238"/>
                </a:lnTo>
                <a:lnTo>
                  <a:pt x="15698" y="3208"/>
                </a:lnTo>
                <a:lnTo>
                  <a:pt x="15726" y="3178"/>
                </a:lnTo>
                <a:lnTo>
                  <a:pt x="15752" y="3145"/>
                </a:lnTo>
                <a:lnTo>
                  <a:pt x="15776" y="3111"/>
                </a:lnTo>
                <a:lnTo>
                  <a:pt x="15799" y="3076"/>
                </a:lnTo>
                <a:lnTo>
                  <a:pt x="15820" y="3038"/>
                </a:lnTo>
                <a:lnTo>
                  <a:pt x="15840" y="3000"/>
                </a:lnTo>
                <a:lnTo>
                  <a:pt x="15859" y="2960"/>
                </a:lnTo>
                <a:lnTo>
                  <a:pt x="15875" y="2918"/>
                </a:lnTo>
                <a:lnTo>
                  <a:pt x="15889" y="2875"/>
                </a:lnTo>
                <a:lnTo>
                  <a:pt x="15903" y="2830"/>
                </a:lnTo>
                <a:lnTo>
                  <a:pt x="15913" y="2783"/>
                </a:lnTo>
                <a:lnTo>
                  <a:pt x="15923" y="2736"/>
                </a:lnTo>
                <a:lnTo>
                  <a:pt x="15930" y="2687"/>
                </a:lnTo>
                <a:lnTo>
                  <a:pt x="15935" y="2638"/>
                </a:lnTo>
                <a:lnTo>
                  <a:pt x="15939" y="2585"/>
                </a:lnTo>
                <a:lnTo>
                  <a:pt x="15940" y="2533"/>
                </a:lnTo>
                <a:lnTo>
                  <a:pt x="15940" y="2533"/>
                </a:lnTo>
                <a:lnTo>
                  <a:pt x="15939" y="2480"/>
                </a:lnTo>
                <a:lnTo>
                  <a:pt x="15935" y="2429"/>
                </a:lnTo>
                <a:lnTo>
                  <a:pt x="15930" y="2380"/>
                </a:lnTo>
                <a:lnTo>
                  <a:pt x="15923" y="2331"/>
                </a:lnTo>
                <a:lnTo>
                  <a:pt x="15913" y="2284"/>
                </a:lnTo>
                <a:lnTo>
                  <a:pt x="15902" y="2238"/>
                </a:lnTo>
                <a:lnTo>
                  <a:pt x="15889" y="2193"/>
                </a:lnTo>
                <a:lnTo>
                  <a:pt x="15875" y="2150"/>
                </a:lnTo>
                <a:lnTo>
                  <a:pt x="15858" y="2108"/>
                </a:lnTo>
                <a:lnTo>
                  <a:pt x="15839" y="2068"/>
                </a:lnTo>
                <a:lnTo>
                  <a:pt x="15819" y="2029"/>
                </a:lnTo>
                <a:lnTo>
                  <a:pt x="15798" y="1992"/>
                </a:lnTo>
                <a:lnTo>
                  <a:pt x="15775" y="1957"/>
                </a:lnTo>
                <a:lnTo>
                  <a:pt x="15750" y="1922"/>
                </a:lnTo>
                <a:lnTo>
                  <a:pt x="15723" y="1890"/>
                </a:lnTo>
                <a:lnTo>
                  <a:pt x="15696" y="1859"/>
                </a:lnTo>
                <a:lnTo>
                  <a:pt x="15668" y="1830"/>
                </a:lnTo>
                <a:lnTo>
                  <a:pt x="15639" y="1801"/>
                </a:lnTo>
                <a:lnTo>
                  <a:pt x="15607" y="1776"/>
                </a:lnTo>
                <a:lnTo>
                  <a:pt x="15575" y="1752"/>
                </a:lnTo>
                <a:lnTo>
                  <a:pt x="15541" y="1730"/>
                </a:lnTo>
                <a:lnTo>
                  <a:pt x="15507" y="1709"/>
                </a:lnTo>
                <a:lnTo>
                  <a:pt x="15472" y="1690"/>
                </a:lnTo>
                <a:lnTo>
                  <a:pt x="15435" y="1673"/>
                </a:lnTo>
                <a:lnTo>
                  <a:pt x="15398" y="1659"/>
                </a:lnTo>
                <a:lnTo>
                  <a:pt x="15361" y="1645"/>
                </a:lnTo>
                <a:lnTo>
                  <a:pt x="15322" y="1635"/>
                </a:lnTo>
                <a:lnTo>
                  <a:pt x="15283" y="1625"/>
                </a:lnTo>
                <a:lnTo>
                  <a:pt x="15243" y="1618"/>
                </a:lnTo>
                <a:lnTo>
                  <a:pt x="15202" y="1613"/>
                </a:lnTo>
                <a:lnTo>
                  <a:pt x="15161" y="1609"/>
                </a:lnTo>
                <a:lnTo>
                  <a:pt x="15119" y="1608"/>
                </a:lnTo>
                <a:lnTo>
                  <a:pt x="15119" y="1608"/>
                </a:lnTo>
                <a:close/>
                <a:moveTo>
                  <a:pt x="18374" y="4032"/>
                </a:moveTo>
                <a:lnTo>
                  <a:pt x="18374" y="4032"/>
                </a:lnTo>
                <a:lnTo>
                  <a:pt x="18333" y="4032"/>
                </a:lnTo>
                <a:lnTo>
                  <a:pt x="18292" y="4031"/>
                </a:lnTo>
                <a:lnTo>
                  <a:pt x="18252" y="4028"/>
                </a:lnTo>
                <a:lnTo>
                  <a:pt x="18212" y="4025"/>
                </a:lnTo>
                <a:lnTo>
                  <a:pt x="18173" y="4020"/>
                </a:lnTo>
                <a:lnTo>
                  <a:pt x="18134" y="4015"/>
                </a:lnTo>
                <a:lnTo>
                  <a:pt x="18095" y="4009"/>
                </a:lnTo>
                <a:lnTo>
                  <a:pt x="18057" y="4002"/>
                </a:lnTo>
                <a:lnTo>
                  <a:pt x="18019" y="3994"/>
                </a:lnTo>
                <a:lnTo>
                  <a:pt x="17982" y="3986"/>
                </a:lnTo>
                <a:lnTo>
                  <a:pt x="17945" y="3975"/>
                </a:lnTo>
                <a:lnTo>
                  <a:pt x="17908" y="3965"/>
                </a:lnTo>
                <a:lnTo>
                  <a:pt x="17873" y="3954"/>
                </a:lnTo>
                <a:lnTo>
                  <a:pt x="17837" y="3942"/>
                </a:lnTo>
                <a:lnTo>
                  <a:pt x="17801" y="3929"/>
                </a:lnTo>
                <a:lnTo>
                  <a:pt x="17767" y="3916"/>
                </a:lnTo>
                <a:lnTo>
                  <a:pt x="17733" y="3901"/>
                </a:lnTo>
                <a:lnTo>
                  <a:pt x="17700" y="3885"/>
                </a:lnTo>
                <a:lnTo>
                  <a:pt x="17666" y="3869"/>
                </a:lnTo>
                <a:lnTo>
                  <a:pt x="17633" y="3853"/>
                </a:lnTo>
                <a:lnTo>
                  <a:pt x="17601" y="3835"/>
                </a:lnTo>
                <a:lnTo>
                  <a:pt x="17569" y="3816"/>
                </a:lnTo>
                <a:lnTo>
                  <a:pt x="17538" y="3797"/>
                </a:lnTo>
                <a:lnTo>
                  <a:pt x="17508" y="3778"/>
                </a:lnTo>
                <a:lnTo>
                  <a:pt x="17478" y="3757"/>
                </a:lnTo>
                <a:lnTo>
                  <a:pt x="17449" y="3736"/>
                </a:lnTo>
                <a:lnTo>
                  <a:pt x="17420" y="3714"/>
                </a:lnTo>
                <a:lnTo>
                  <a:pt x="17391" y="3692"/>
                </a:lnTo>
                <a:lnTo>
                  <a:pt x="17364" y="3669"/>
                </a:lnTo>
                <a:lnTo>
                  <a:pt x="17337" y="3645"/>
                </a:lnTo>
                <a:lnTo>
                  <a:pt x="17310" y="3621"/>
                </a:lnTo>
                <a:lnTo>
                  <a:pt x="17285" y="3596"/>
                </a:lnTo>
                <a:lnTo>
                  <a:pt x="17260" y="3570"/>
                </a:lnTo>
                <a:lnTo>
                  <a:pt x="17236" y="3544"/>
                </a:lnTo>
                <a:lnTo>
                  <a:pt x="17212" y="3517"/>
                </a:lnTo>
                <a:lnTo>
                  <a:pt x="17189" y="3490"/>
                </a:lnTo>
                <a:lnTo>
                  <a:pt x="17166" y="3462"/>
                </a:lnTo>
                <a:lnTo>
                  <a:pt x="17145" y="3434"/>
                </a:lnTo>
                <a:lnTo>
                  <a:pt x="17124" y="3405"/>
                </a:lnTo>
                <a:lnTo>
                  <a:pt x="17103" y="3375"/>
                </a:lnTo>
                <a:lnTo>
                  <a:pt x="17084" y="3345"/>
                </a:lnTo>
                <a:lnTo>
                  <a:pt x="17065" y="3314"/>
                </a:lnTo>
                <a:lnTo>
                  <a:pt x="17046" y="3284"/>
                </a:lnTo>
                <a:lnTo>
                  <a:pt x="17029" y="3252"/>
                </a:lnTo>
                <a:lnTo>
                  <a:pt x="17013" y="3221"/>
                </a:lnTo>
                <a:lnTo>
                  <a:pt x="16997" y="3188"/>
                </a:lnTo>
                <a:lnTo>
                  <a:pt x="16981" y="3156"/>
                </a:lnTo>
                <a:lnTo>
                  <a:pt x="16967" y="3122"/>
                </a:lnTo>
                <a:lnTo>
                  <a:pt x="16954" y="3089"/>
                </a:lnTo>
                <a:lnTo>
                  <a:pt x="16941" y="3055"/>
                </a:lnTo>
                <a:lnTo>
                  <a:pt x="16929" y="3021"/>
                </a:lnTo>
                <a:lnTo>
                  <a:pt x="16918" y="2986"/>
                </a:lnTo>
                <a:lnTo>
                  <a:pt x="16908" y="2950"/>
                </a:lnTo>
                <a:lnTo>
                  <a:pt x="16898" y="2915"/>
                </a:lnTo>
                <a:lnTo>
                  <a:pt x="16890" y="2879"/>
                </a:lnTo>
                <a:lnTo>
                  <a:pt x="16881" y="2843"/>
                </a:lnTo>
                <a:lnTo>
                  <a:pt x="16875" y="2807"/>
                </a:lnTo>
                <a:lnTo>
                  <a:pt x="16869" y="2770"/>
                </a:lnTo>
                <a:lnTo>
                  <a:pt x="16864" y="2733"/>
                </a:lnTo>
                <a:lnTo>
                  <a:pt x="16859" y="2695"/>
                </a:lnTo>
                <a:lnTo>
                  <a:pt x="16856" y="2659"/>
                </a:lnTo>
                <a:lnTo>
                  <a:pt x="16854" y="2620"/>
                </a:lnTo>
                <a:lnTo>
                  <a:pt x="16853" y="2582"/>
                </a:lnTo>
                <a:lnTo>
                  <a:pt x="16852" y="2544"/>
                </a:lnTo>
                <a:lnTo>
                  <a:pt x="16852" y="2544"/>
                </a:lnTo>
                <a:lnTo>
                  <a:pt x="16853" y="2505"/>
                </a:lnTo>
                <a:lnTo>
                  <a:pt x="16854" y="2467"/>
                </a:lnTo>
                <a:lnTo>
                  <a:pt x="16856" y="2429"/>
                </a:lnTo>
                <a:lnTo>
                  <a:pt x="16859" y="2391"/>
                </a:lnTo>
                <a:lnTo>
                  <a:pt x="16864" y="2353"/>
                </a:lnTo>
                <a:lnTo>
                  <a:pt x="16869" y="2316"/>
                </a:lnTo>
                <a:lnTo>
                  <a:pt x="16875" y="2279"/>
                </a:lnTo>
                <a:lnTo>
                  <a:pt x="16882" y="2242"/>
                </a:lnTo>
                <a:lnTo>
                  <a:pt x="16890" y="2205"/>
                </a:lnTo>
                <a:lnTo>
                  <a:pt x="16898" y="2170"/>
                </a:lnTo>
                <a:lnTo>
                  <a:pt x="16908" y="2134"/>
                </a:lnTo>
                <a:lnTo>
                  <a:pt x="16918" y="2098"/>
                </a:lnTo>
                <a:lnTo>
                  <a:pt x="16930" y="2063"/>
                </a:lnTo>
                <a:lnTo>
                  <a:pt x="16941" y="2028"/>
                </a:lnTo>
                <a:lnTo>
                  <a:pt x="16955" y="1994"/>
                </a:lnTo>
                <a:lnTo>
                  <a:pt x="16968" y="1960"/>
                </a:lnTo>
                <a:lnTo>
                  <a:pt x="16982" y="1926"/>
                </a:lnTo>
                <a:lnTo>
                  <a:pt x="16998" y="1894"/>
                </a:lnTo>
                <a:lnTo>
                  <a:pt x="17014" y="1861"/>
                </a:lnTo>
                <a:lnTo>
                  <a:pt x="17030" y="1829"/>
                </a:lnTo>
                <a:lnTo>
                  <a:pt x="17048" y="1797"/>
                </a:lnTo>
                <a:lnTo>
                  <a:pt x="17066" y="1766"/>
                </a:lnTo>
                <a:lnTo>
                  <a:pt x="17085" y="1734"/>
                </a:lnTo>
                <a:lnTo>
                  <a:pt x="17105" y="1705"/>
                </a:lnTo>
                <a:lnTo>
                  <a:pt x="17126" y="1674"/>
                </a:lnTo>
                <a:lnTo>
                  <a:pt x="17147" y="1645"/>
                </a:lnTo>
                <a:lnTo>
                  <a:pt x="17169" y="1617"/>
                </a:lnTo>
                <a:lnTo>
                  <a:pt x="17191" y="1588"/>
                </a:lnTo>
                <a:lnTo>
                  <a:pt x="17215" y="1561"/>
                </a:lnTo>
                <a:lnTo>
                  <a:pt x="17238" y="1534"/>
                </a:lnTo>
                <a:lnTo>
                  <a:pt x="17263" y="1508"/>
                </a:lnTo>
                <a:lnTo>
                  <a:pt x="17288" y="1481"/>
                </a:lnTo>
                <a:lnTo>
                  <a:pt x="17315" y="1456"/>
                </a:lnTo>
                <a:lnTo>
                  <a:pt x="17341" y="1431"/>
                </a:lnTo>
                <a:lnTo>
                  <a:pt x="17368" y="1407"/>
                </a:lnTo>
                <a:lnTo>
                  <a:pt x="17395" y="1384"/>
                </a:lnTo>
                <a:lnTo>
                  <a:pt x="17424" y="1361"/>
                </a:lnTo>
                <a:lnTo>
                  <a:pt x="17453" y="1339"/>
                </a:lnTo>
                <a:lnTo>
                  <a:pt x="17482" y="1318"/>
                </a:lnTo>
                <a:lnTo>
                  <a:pt x="17513" y="1297"/>
                </a:lnTo>
                <a:lnTo>
                  <a:pt x="17543" y="1277"/>
                </a:lnTo>
                <a:lnTo>
                  <a:pt x="17575" y="1258"/>
                </a:lnTo>
                <a:lnTo>
                  <a:pt x="17606" y="1239"/>
                </a:lnTo>
                <a:lnTo>
                  <a:pt x="17639" y="1221"/>
                </a:lnTo>
                <a:lnTo>
                  <a:pt x="17672" y="1204"/>
                </a:lnTo>
                <a:lnTo>
                  <a:pt x="17705" y="1188"/>
                </a:lnTo>
                <a:lnTo>
                  <a:pt x="17739" y="1172"/>
                </a:lnTo>
                <a:lnTo>
                  <a:pt x="17774" y="1157"/>
                </a:lnTo>
                <a:lnTo>
                  <a:pt x="17809" y="1144"/>
                </a:lnTo>
                <a:lnTo>
                  <a:pt x="17844" y="1130"/>
                </a:lnTo>
                <a:lnTo>
                  <a:pt x="17880" y="1118"/>
                </a:lnTo>
                <a:lnTo>
                  <a:pt x="17916" y="1107"/>
                </a:lnTo>
                <a:lnTo>
                  <a:pt x="17953" y="1095"/>
                </a:lnTo>
                <a:lnTo>
                  <a:pt x="17990" y="1086"/>
                </a:lnTo>
                <a:lnTo>
                  <a:pt x="18028" y="1078"/>
                </a:lnTo>
                <a:lnTo>
                  <a:pt x="18066" y="1069"/>
                </a:lnTo>
                <a:lnTo>
                  <a:pt x="18104" y="1062"/>
                </a:lnTo>
                <a:lnTo>
                  <a:pt x="18143" y="1055"/>
                </a:lnTo>
                <a:lnTo>
                  <a:pt x="18182" y="1050"/>
                </a:lnTo>
                <a:lnTo>
                  <a:pt x="18222" y="1046"/>
                </a:lnTo>
                <a:lnTo>
                  <a:pt x="18262" y="1043"/>
                </a:lnTo>
                <a:lnTo>
                  <a:pt x="18303" y="1040"/>
                </a:lnTo>
                <a:lnTo>
                  <a:pt x="18344" y="1039"/>
                </a:lnTo>
                <a:lnTo>
                  <a:pt x="18384" y="1039"/>
                </a:lnTo>
                <a:lnTo>
                  <a:pt x="18384" y="1039"/>
                </a:lnTo>
                <a:lnTo>
                  <a:pt x="18425" y="1039"/>
                </a:lnTo>
                <a:lnTo>
                  <a:pt x="18466" y="1040"/>
                </a:lnTo>
                <a:lnTo>
                  <a:pt x="18506" y="1043"/>
                </a:lnTo>
                <a:lnTo>
                  <a:pt x="18547" y="1046"/>
                </a:lnTo>
                <a:lnTo>
                  <a:pt x="18586" y="1050"/>
                </a:lnTo>
                <a:lnTo>
                  <a:pt x="18626" y="1055"/>
                </a:lnTo>
                <a:lnTo>
                  <a:pt x="18665" y="1062"/>
                </a:lnTo>
                <a:lnTo>
                  <a:pt x="18702" y="1069"/>
                </a:lnTo>
                <a:lnTo>
                  <a:pt x="18741" y="1076"/>
                </a:lnTo>
                <a:lnTo>
                  <a:pt x="18778" y="1085"/>
                </a:lnTo>
                <a:lnTo>
                  <a:pt x="18816" y="1095"/>
                </a:lnTo>
                <a:lnTo>
                  <a:pt x="18852" y="1106"/>
                </a:lnTo>
                <a:lnTo>
                  <a:pt x="18888" y="1116"/>
                </a:lnTo>
                <a:lnTo>
                  <a:pt x="18924" y="1129"/>
                </a:lnTo>
                <a:lnTo>
                  <a:pt x="18959" y="1142"/>
                </a:lnTo>
                <a:lnTo>
                  <a:pt x="18994" y="1155"/>
                </a:lnTo>
                <a:lnTo>
                  <a:pt x="19028" y="1170"/>
                </a:lnTo>
                <a:lnTo>
                  <a:pt x="19062" y="1186"/>
                </a:lnTo>
                <a:lnTo>
                  <a:pt x="19096" y="1201"/>
                </a:lnTo>
                <a:lnTo>
                  <a:pt x="19128" y="1218"/>
                </a:lnTo>
                <a:lnTo>
                  <a:pt x="19161" y="1236"/>
                </a:lnTo>
                <a:lnTo>
                  <a:pt x="19192" y="1255"/>
                </a:lnTo>
                <a:lnTo>
                  <a:pt x="19224" y="1274"/>
                </a:lnTo>
                <a:lnTo>
                  <a:pt x="19254" y="1294"/>
                </a:lnTo>
                <a:lnTo>
                  <a:pt x="19284" y="1314"/>
                </a:lnTo>
                <a:lnTo>
                  <a:pt x="19314" y="1335"/>
                </a:lnTo>
                <a:lnTo>
                  <a:pt x="19342" y="1357"/>
                </a:lnTo>
                <a:lnTo>
                  <a:pt x="19370" y="1380"/>
                </a:lnTo>
                <a:lnTo>
                  <a:pt x="19399" y="1403"/>
                </a:lnTo>
                <a:lnTo>
                  <a:pt x="19426" y="1426"/>
                </a:lnTo>
                <a:lnTo>
                  <a:pt x="19452" y="1451"/>
                </a:lnTo>
                <a:lnTo>
                  <a:pt x="19477" y="1476"/>
                </a:lnTo>
                <a:lnTo>
                  <a:pt x="19503" y="1501"/>
                </a:lnTo>
                <a:lnTo>
                  <a:pt x="19528" y="1528"/>
                </a:lnTo>
                <a:lnTo>
                  <a:pt x="19551" y="1555"/>
                </a:lnTo>
                <a:lnTo>
                  <a:pt x="19574" y="1582"/>
                </a:lnTo>
                <a:lnTo>
                  <a:pt x="19597" y="1609"/>
                </a:lnTo>
                <a:lnTo>
                  <a:pt x="19619" y="1638"/>
                </a:lnTo>
                <a:lnTo>
                  <a:pt x="19640" y="1667"/>
                </a:lnTo>
                <a:lnTo>
                  <a:pt x="19660" y="1697"/>
                </a:lnTo>
                <a:lnTo>
                  <a:pt x="19680" y="1727"/>
                </a:lnTo>
                <a:lnTo>
                  <a:pt x="19699" y="1757"/>
                </a:lnTo>
                <a:lnTo>
                  <a:pt x="19717" y="1789"/>
                </a:lnTo>
                <a:lnTo>
                  <a:pt x="19734" y="1820"/>
                </a:lnTo>
                <a:lnTo>
                  <a:pt x="19751" y="1852"/>
                </a:lnTo>
                <a:lnTo>
                  <a:pt x="19767" y="1884"/>
                </a:lnTo>
                <a:lnTo>
                  <a:pt x="19782" y="1918"/>
                </a:lnTo>
                <a:lnTo>
                  <a:pt x="19796" y="1950"/>
                </a:lnTo>
                <a:lnTo>
                  <a:pt x="19810" y="1984"/>
                </a:lnTo>
                <a:lnTo>
                  <a:pt x="19822" y="2019"/>
                </a:lnTo>
                <a:lnTo>
                  <a:pt x="19834" y="2053"/>
                </a:lnTo>
                <a:lnTo>
                  <a:pt x="19846" y="2088"/>
                </a:lnTo>
                <a:lnTo>
                  <a:pt x="19856" y="2124"/>
                </a:lnTo>
                <a:lnTo>
                  <a:pt x="19865" y="2159"/>
                </a:lnTo>
                <a:lnTo>
                  <a:pt x="19874" y="2195"/>
                </a:lnTo>
                <a:lnTo>
                  <a:pt x="19881" y="2232"/>
                </a:lnTo>
                <a:lnTo>
                  <a:pt x="19889" y="2268"/>
                </a:lnTo>
                <a:lnTo>
                  <a:pt x="19895" y="2305"/>
                </a:lnTo>
                <a:lnTo>
                  <a:pt x="19899" y="2342"/>
                </a:lnTo>
                <a:lnTo>
                  <a:pt x="19903" y="2380"/>
                </a:lnTo>
                <a:lnTo>
                  <a:pt x="19906" y="2417"/>
                </a:lnTo>
                <a:lnTo>
                  <a:pt x="19910" y="2456"/>
                </a:lnTo>
                <a:lnTo>
                  <a:pt x="19911" y="2494"/>
                </a:lnTo>
                <a:lnTo>
                  <a:pt x="19911" y="2533"/>
                </a:lnTo>
                <a:lnTo>
                  <a:pt x="19911" y="2533"/>
                </a:lnTo>
                <a:lnTo>
                  <a:pt x="19911" y="2572"/>
                </a:lnTo>
                <a:lnTo>
                  <a:pt x="19910" y="2609"/>
                </a:lnTo>
                <a:lnTo>
                  <a:pt x="19906" y="2647"/>
                </a:lnTo>
                <a:lnTo>
                  <a:pt x="19903" y="2685"/>
                </a:lnTo>
                <a:lnTo>
                  <a:pt x="19899" y="2723"/>
                </a:lnTo>
                <a:lnTo>
                  <a:pt x="19894" y="2759"/>
                </a:lnTo>
                <a:lnTo>
                  <a:pt x="19889" y="2796"/>
                </a:lnTo>
                <a:lnTo>
                  <a:pt x="19881" y="2833"/>
                </a:lnTo>
                <a:lnTo>
                  <a:pt x="19874" y="2870"/>
                </a:lnTo>
                <a:lnTo>
                  <a:pt x="19864" y="2905"/>
                </a:lnTo>
                <a:lnTo>
                  <a:pt x="19855" y="2941"/>
                </a:lnTo>
                <a:lnTo>
                  <a:pt x="19846" y="2975"/>
                </a:lnTo>
                <a:lnTo>
                  <a:pt x="19834" y="3011"/>
                </a:lnTo>
                <a:lnTo>
                  <a:pt x="19821" y="3046"/>
                </a:lnTo>
                <a:lnTo>
                  <a:pt x="19809" y="3079"/>
                </a:lnTo>
                <a:lnTo>
                  <a:pt x="19795" y="3113"/>
                </a:lnTo>
                <a:lnTo>
                  <a:pt x="19780" y="3146"/>
                </a:lnTo>
                <a:lnTo>
                  <a:pt x="19766" y="3180"/>
                </a:lnTo>
                <a:lnTo>
                  <a:pt x="19750" y="3213"/>
                </a:lnTo>
                <a:lnTo>
                  <a:pt x="19733" y="3244"/>
                </a:lnTo>
                <a:lnTo>
                  <a:pt x="19715" y="3276"/>
                </a:lnTo>
                <a:lnTo>
                  <a:pt x="19697" y="3307"/>
                </a:lnTo>
                <a:lnTo>
                  <a:pt x="19678" y="3337"/>
                </a:lnTo>
                <a:lnTo>
                  <a:pt x="19658" y="3368"/>
                </a:lnTo>
                <a:lnTo>
                  <a:pt x="19638" y="3397"/>
                </a:lnTo>
                <a:lnTo>
                  <a:pt x="19616" y="3427"/>
                </a:lnTo>
                <a:lnTo>
                  <a:pt x="19594" y="3455"/>
                </a:lnTo>
                <a:lnTo>
                  <a:pt x="19572" y="3483"/>
                </a:lnTo>
                <a:lnTo>
                  <a:pt x="19549" y="3512"/>
                </a:lnTo>
                <a:lnTo>
                  <a:pt x="19525" y="3538"/>
                </a:lnTo>
                <a:lnTo>
                  <a:pt x="19499" y="3564"/>
                </a:lnTo>
                <a:lnTo>
                  <a:pt x="19474" y="3590"/>
                </a:lnTo>
                <a:lnTo>
                  <a:pt x="19448" y="3615"/>
                </a:lnTo>
                <a:lnTo>
                  <a:pt x="19422" y="3641"/>
                </a:lnTo>
                <a:lnTo>
                  <a:pt x="19395" y="3664"/>
                </a:lnTo>
                <a:lnTo>
                  <a:pt x="19366" y="3688"/>
                </a:lnTo>
                <a:lnTo>
                  <a:pt x="19338" y="3710"/>
                </a:lnTo>
                <a:lnTo>
                  <a:pt x="19310" y="3732"/>
                </a:lnTo>
                <a:lnTo>
                  <a:pt x="19279" y="3754"/>
                </a:lnTo>
                <a:lnTo>
                  <a:pt x="19249" y="3774"/>
                </a:lnTo>
                <a:lnTo>
                  <a:pt x="19218" y="3794"/>
                </a:lnTo>
                <a:lnTo>
                  <a:pt x="19187" y="3814"/>
                </a:lnTo>
                <a:lnTo>
                  <a:pt x="19155" y="3832"/>
                </a:lnTo>
                <a:lnTo>
                  <a:pt x="19123" y="3849"/>
                </a:lnTo>
                <a:lnTo>
                  <a:pt x="19089" y="3867"/>
                </a:lnTo>
                <a:lnTo>
                  <a:pt x="19056" y="3883"/>
                </a:lnTo>
                <a:lnTo>
                  <a:pt x="19022" y="3899"/>
                </a:lnTo>
                <a:lnTo>
                  <a:pt x="18988" y="3913"/>
                </a:lnTo>
                <a:lnTo>
                  <a:pt x="18952" y="3927"/>
                </a:lnTo>
                <a:lnTo>
                  <a:pt x="18916" y="3941"/>
                </a:lnTo>
                <a:lnTo>
                  <a:pt x="18881" y="3953"/>
                </a:lnTo>
                <a:lnTo>
                  <a:pt x="18844" y="3965"/>
                </a:lnTo>
                <a:lnTo>
                  <a:pt x="18807" y="3975"/>
                </a:lnTo>
                <a:lnTo>
                  <a:pt x="18769" y="3985"/>
                </a:lnTo>
                <a:lnTo>
                  <a:pt x="18732" y="3993"/>
                </a:lnTo>
                <a:lnTo>
                  <a:pt x="18694" y="4002"/>
                </a:lnTo>
                <a:lnTo>
                  <a:pt x="18655" y="4009"/>
                </a:lnTo>
                <a:lnTo>
                  <a:pt x="18616" y="4015"/>
                </a:lnTo>
                <a:lnTo>
                  <a:pt x="18576" y="4020"/>
                </a:lnTo>
                <a:lnTo>
                  <a:pt x="18537" y="4025"/>
                </a:lnTo>
                <a:lnTo>
                  <a:pt x="18497" y="4028"/>
                </a:lnTo>
                <a:lnTo>
                  <a:pt x="18456" y="4031"/>
                </a:lnTo>
                <a:lnTo>
                  <a:pt x="18415" y="4032"/>
                </a:lnTo>
                <a:lnTo>
                  <a:pt x="18374" y="4032"/>
                </a:lnTo>
                <a:lnTo>
                  <a:pt x="18374" y="4032"/>
                </a:lnTo>
                <a:close/>
                <a:moveTo>
                  <a:pt x="18374" y="1614"/>
                </a:moveTo>
                <a:lnTo>
                  <a:pt x="18374" y="1614"/>
                </a:lnTo>
                <a:lnTo>
                  <a:pt x="18325" y="1615"/>
                </a:lnTo>
                <a:lnTo>
                  <a:pt x="18277" y="1619"/>
                </a:lnTo>
                <a:lnTo>
                  <a:pt x="18230" y="1624"/>
                </a:lnTo>
                <a:lnTo>
                  <a:pt x="18185" y="1633"/>
                </a:lnTo>
                <a:lnTo>
                  <a:pt x="18141" y="1643"/>
                </a:lnTo>
                <a:lnTo>
                  <a:pt x="18098" y="1656"/>
                </a:lnTo>
                <a:lnTo>
                  <a:pt x="18056" y="1669"/>
                </a:lnTo>
                <a:lnTo>
                  <a:pt x="18016" y="1686"/>
                </a:lnTo>
                <a:lnTo>
                  <a:pt x="17978" y="1705"/>
                </a:lnTo>
                <a:lnTo>
                  <a:pt x="17940" y="1725"/>
                </a:lnTo>
                <a:lnTo>
                  <a:pt x="17903" y="1747"/>
                </a:lnTo>
                <a:lnTo>
                  <a:pt x="17868" y="1771"/>
                </a:lnTo>
                <a:lnTo>
                  <a:pt x="17835" y="1797"/>
                </a:lnTo>
                <a:lnTo>
                  <a:pt x="17803" y="1825"/>
                </a:lnTo>
                <a:lnTo>
                  <a:pt x="17773" y="1853"/>
                </a:lnTo>
                <a:lnTo>
                  <a:pt x="17744" y="1883"/>
                </a:lnTo>
                <a:lnTo>
                  <a:pt x="17716" y="1916"/>
                </a:lnTo>
                <a:lnTo>
                  <a:pt x="17691" y="1949"/>
                </a:lnTo>
                <a:lnTo>
                  <a:pt x="17666" y="1984"/>
                </a:lnTo>
                <a:lnTo>
                  <a:pt x="17644" y="2020"/>
                </a:lnTo>
                <a:lnTo>
                  <a:pt x="17623" y="2057"/>
                </a:lnTo>
                <a:lnTo>
                  <a:pt x="17604" y="2095"/>
                </a:lnTo>
                <a:lnTo>
                  <a:pt x="17586" y="2135"/>
                </a:lnTo>
                <a:lnTo>
                  <a:pt x="17571" y="2176"/>
                </a:lnTo>
                <a:lnTo>
                  <a:pt x="17556" y="2218"/>
                </a:lnTo>
                <a:lnTo>
                  <a:pt x="17544" y="2260"/>
                </a:lnTo>
                <a:lnTo>
                  <a:pt x="17534" y="2304"/>
                </a:lnTo>
                <a:lnTo>
                  <a:pt x="17524" y="2348"/>
                </a:lnTo>
                <a:lnTo>
                  <a:pt x="17518" y="2393"/>
                </a:lnTo>
                <a:lnTo>
                  <a:pt x="17513" y="2439"/>
                </a:lnTo>
                <a:lnTo>
                  <a:pt x="17511" y="2486"/>
                </a:lnTo>
                <a:lnTo>
                  <a:pt x="17510" y="2533"/>
                </a:lnTo>
                <a:lnTo>
                  <a:pt x="17510" y="2533"/>
                </a:lnTo>
                <a:lnTo>
                  <a:pt x="17511" y="2580"/>
                </a:lnTo>
                <a:lnTo>
                  <a:pt x="17514" y="2627"/>
                </a:lnTo>
                <a:lnTo>
                  <a:pt x="17519" y="2673"/>
                </a:lnTo>
                <a:lnTo>
                  <a:pt x="17526" y="2719"/>
                </a:lnTo>
                <a:lnTo>
                  <a:pt x="17535" y="2765"/>
                </a:lnTo>
                <a:lnTo>
                  <a:pt x="17546" y="2809"/>
                </a:lnTo>
                <a:lnTo>
                  <a:pt x="17559" y="2852"/>
                </a:lnTo>
                <a:lnTo>
                  <a:pt x="17574" y="2894"/>
                </a:lnTo>
                <a:lnTo>
                  <a:pt x="17590" y="2935"/>
                </a:lnTo>
                <a:lnTo>
                  <a:pt x="17609" y="2974"/>
                </a:lnTo>
                <a:lnTo>
                  <a:pt x="17629" y="3013"/>
                </a:lnTo>
                <a:lnTo>
                  <a:pt x="17651" y="3051"/>
                </a:lnTo>
                <a:lnTo>
                  <a:pt x="17674" y="3088"/>
                </a:lnTo>
                <a:lnTo>
                  <a:pt x="17700" y="3122"/>
                </a:lnTo>
                <a:lnTo>
                  <a:pt x="17727" y="3157"/>
                </a:lnTo>
                <a:lnTo>
                  <a:pt x="17755" y="3188"/>
                </a:lnTo>
                <a:lnTo>
                  <a:pt x="17785" y="3220"/>
                </a:lnTo>
                <a:lnTo>
                  <a:pt x="17816" y="3249"/>
                </a:lnTo>
                <a:lnTo>
                  <a:pt x="17848" y="3277"/>
                </a:lnTo>
                <a:lnTo>
                  <a:pt x="17883" y="3303"/>
                </a:lnTo>
                <a:lnTo>
                  <a:pt x="17918" y="3327"/>
                </a:lnTo>
                <a:lnTo>
                  <a:pt x="17954" y="3349"/>
                </a:lnTo>
                <a:lnTo>
                  <a:pt x="17992" y="3370"/>
                </a:lnTo>
                <a:lnTo>
                  <a:pt x="18032" y="3389"/>
                </a:lnTo>
                <a:lnTo>
                  <a:pt x="18072" y="3406"/>
                </a:lnTo>
                <a:lnTo>
                  <a:pt x="18114" y="3420"/>
                </a:lnTo>
                <a:lnTo>
                  <a:pt x="18156" y="3433"/>
                </a:lnTo>
                <a:lnTo>
                  <a:pt x="18200" y="3442"/>
                </a:lnTo>
                <a:lnTo>
                  <a:pt x="18245" y="3451"/>
                </a:lnTo>
                <a:lnTo>
                  <a:pt x="18290" y="3457"/>
                </a:lnTo>
                <a:lnTo>
                  <a:pt x="18337" y="3460"/>
                </a:lnTo>
                <a:lnTo>
                  <a:pt x="18384" y="3462"/>
                </a:lnTo>
                <a:lnTo>
                  <a:pt x="18384" y="3462"/>
                </a:lnTo>
                <a:lnTo>
                  <a:pt x="18434" y="3460"/>
                </a:lnTo>
                <a:lnTo>
                  <a:pt x="18482" y="3457"/>
                </a:lnTo>
                <a:lnTo>
                  <a:pt x="18529" y="3451"/>
                </a:lnTo>
                <a:lnTo>
                  <a:pt x="18574" y="3443"/>
                </a:lnTo>
                <a:lnTo>
                  <a:pt x="18619" y="3433"/>
                </a:lnTo>
                <a:lnTo>
                  <a:pt x="18662" y="3420"/>
                </a:lnTo>
                <a:lnTo>
                  <a:pt x="18704" y="3406"/>
                </a:lnTo>
                <a:lnTo>
                  <a:pt x="18744" y="3390"/>
                </a:lnTo>
                <a:lnTo>
                  <a:pt x="18784" y="3371"/>
                </a:lnTo>
                <a:lnTo>
                  <a:pt x="18822" y="3351"/>
                </a:lnTo>
                <a:lnTo>
                  <a:pt x="18859" y="3328"/>
                </a:lnTo>
                <a:lnTo>
                  <a:pt x="18893" y="3305"/>
                </a:lnTo>
                <a:lnTo>
                  <a:pt x="18927" y="3279"/>
                </a:lnTo>
                <a:lnTo>
                  <a:pt x="18959" y="3251"/>
                </a:lnTo>
                <a:lnTo>
                  <a:pt x="18990" y="3223"/>
                </a:lnTo>
                <a:lnTo>
                  <a:pt x="19019" y="3193"/>
                </a:lnTo>
                <a:lnTo>
                  <a:pt x="19046" y="3160"/>
                </a:lnTo>
                <a:lnTo>
                  <a:pt x="19071" y="3127"/>
                </a:lnTo>
                <a:lnTo>
                  <a:pt x="19097" y="3092"/>
                </a:lnTo>
                <a:lnTo>
                  <a:pt x="19119" y="3056"/>
                </a:lnTo>
                <a:lnTo>
                  <a:pt x="19140" y="3020"/>
                </a:lnTo>
                <a:lnTo>
                  <a:pt x="19160" y="2981"/>
                </a:lnTo>
                <a:lnTo>
                  <a:pt x="19176" y="2941"/>
                </a:lnTo>
                <a:lnTo>
                  <a:pt x="19193" y="2901"/>
                </a:lnTo>
                <a:lnTo>
                  <a:pt x="19207" y="2859"/>
                </a:lnTo>
                <a:lnTo>
                  <a:pt x="19219" y="2816"/>
                </a:lnTo>
                <a:lnTo>
                  <a:pt x="19230" y="2773"/>
                </a:lnTo>
                <a:lnTo>
                  <a:pt x="19238" y="2729"/>
                </a:lnTo>
                <a:lnTo>
                  <a:pt x="19245" y="2684"/>
                </a:lnTo>
                <a:lnTo>
                  <a:pt x="19250" y="2638"/>
                </a:lnTo>
                <a:lnTo>
                  <a:pt x="19253" y="2591"/>
                </a:lnTo>
                <a:lnTo>
                  <a:pt x="19254" y="2544"/>
                </a:lnTo>
                <a:lnTo>
                  <a:pt x="19254" y="2544"/>
                </a:lnTo>
                <a:lnTo>
                  <a:pt x="19253" y="2496"/>
                </a:lnTo>
                <a:lnTo>
                  <a:pt x="19250" y="2449"/>
                </a:lnTo>
                <a:lnTo>
                  <a:pt x="19245" y="2403"/>
                </a:lnTo>
                <a:lnTo>
                  <a:pt x="19237" y="2358"/>
                </a:lnTo>
                <a:lnTo>
                  <a:pt x="19228" y="2312"/>
                </a:lnTo>
                <a:lnTo>
                  <a:pt x="19216" y="2268"/>
                </a:lnTo>
                <a:lnTo>
                  <a:pt x="19204" y="2225"/>
                </a:lnTo>
                <a:lnTo>
                  <a:pt x="19189" y="2183"/>
                </a:lnTo>
                <a:lnTo>
                  <a:pt x="19172" y="2141"/>
                </a:lnTo>
                <a:lnTo>
                  <a:pt x="19153" y="2102"/>
                </a:lnTo>
                <a:lnTo>
                  <a:pt x="19133" y="2063"/>
                </a:lnTo>
                <a:lnTo>
                  <a:pt x="19111" y="2025"/>
                </a:lnTo>
                <a:lnTo>
                  <a:pt x="19087" y="1988"/>
                </a:lnTo>
                <a:lnTo>
                  <a:pt x="19062" y="1954"/>
                </a:lnTo>
                <a:lnTo>
                  <a:pt x="19036" y="1919"/>
                </a:lnTo>
                <a:lnTo>
                  <a:pt x="19007" y="1887"/>
                </a:lnTo>
                <a:lnTo>
                  <a:pt x="18977" y="1856"/>
                </a:lnTo>
                <a:lnTo>
                  <a:pt x="18946" y="1827"/>
                </a:lnTo>
                <a:lnTo>
                  <a:pt x="18913" y="1799"/>
                </a:lnTo>
                <a:lnTo>
                  <a:pt x="18878" y="1773"/>
                </a:lnTo>
                <a:lnTo>
                  <a:pt x="18843" y="1749"/>
                </a:lnTo>
                <a:lnTo>
                  <a:pt x="18806" y="1727"/>
                </a:lnTo>
                <a:lnTo>
                  <a:pt x="18768" y="1706"/>
                </a:lnTo>
                <a:lnTo>
                  <a:pt x="18728" y="1687"/>
                </a:lnTo>
                <a:lnTo>
                  <a:pt x="18688" y="1670"/>
                </a:lnTo>
                <a:lnTo>
                  <a:pt x="18647" y="1656"/>
                </a:lnTo>
                <a:lnTo>
                  <a:pt x="18604" y="1643"/>
                </a:lnTo>
                <a:lnTo>
                  <a:pt x="18560" y="1633"/>
                </a:lnTo>
                <a:lnTo>
                  <a:pt x="18515" y="1624"/>
                </a:lnTo>
                <a:lnTo>
                  <a:pt x="18468" y="1619"/>
                </a:lnTo>
                <a:lnTo>
                  <a:pt x="18421" y="1615"/>
                </a:lnTo>
                <a:lnTo>
                  <a:pt x="18374" y="1614"/>
                </a:lnTo>
                <a:lnTo>
                  <a:pt x="18374" y="1614"/>
                </a:lnTo>
                <a:close/>
                <a:moveTo>
                  <a:pt x="22062" y="3968"/>
                </a:moveTo>
                <a:lnTo>
                  <a:pt x="22062" y="3614"/>
                </a:lnTo>
                <a:lnTo>
                  <a:pt x="22062" y="3614"/>
                </a:lnTo>
                <a:lnTo>
                  <a:pt x="22043" y="3635"/>
                </a:lnTo>
                <a:lnTo>
                  <a:pt x="22024" y="3657"/>
                </a:lnTo>
                <a:lnTo>
                  <a:pt x="22004" y="3678"/>
                </a:lnTo>
                <a:lnTo>
                  <a:pt x="21983" y="3699"/>
                </a:lnTo>
                <a:lnTo>
                  <a:pt x="21962" y="3719"/>
                </a:lnTo>
                <a:lnTo>
                  <a:pt x="21941" y="3739"/>
                </a:lnTo>
                <a:lnTo>
                  <a:pt x="21918" y="3758"/>
                </a:lnTo>
                <a:lnTo>
                  <a:pt x="21895" y="3777"/>
                </a:lnTo>
                <a:lnTo>
                  <a:pt x="21872" y="3796"/>
                </a:lnTo>
                <a:lnTo>
                  <a:pt x="21848" y="3814"/>
                </a:lnTo>
                <a:lnTo>
                  <a:pt x="21823" y="3831"/>
                </a:lnTo>
                <a:lnTo>
                  <a:pt x="21796" y="3847"/>
                </a:lnTo>
                <a:lnTo>
                  <a:pt x="21770" y="3864"/>
                </a:lnTo>
                <a:lnTo>
                  <a:pt x="21744" y="3879"/>
                </a:lnTo>
                <a:lnTo>
                  <a:pt x="21716" y="3895"/>
                </a:lnTo>
                <a:lnTo>
                  <a:pt x="21687" y="3908"/>
                </a:lnTo>
                <a:lnTo>
                  <a:pt x="21658" y="3922"/>
                </a:lnTo>
                <a:lnTo>
                  <a:pt x="21629" y="3934"/>
                </a:lnTo>
                <a:lnTo>
                  <a:pt x="21598" y="3947"/>
                </a:lnTo>
                <a:lnTo>
                  <a:pt x="21567" y="3959"/>
                </a:lnTo>
                <a:lnTo>
                  <a:pt x="21534" y="3969"/>
                </a:lnTo>
                <a:lnTo>
                  <a:pt x="21502" y="3978"/>
                </a:lnTo>
                <a:lnTo>
                  <a:pt x="21468" y="3988"/>
                </a:lnTo>
                <a:lnTo>
                  <a:pt x="21435" y="3995"/>
                </a:lnTo>
                <a:lnTo>
                  <a:pt x="21399" y="4003"/>
                </a:lnTo>
                <a:lnTo>
                  <a:pt x="21363" y="4009"/>
                </a:lnTo>
                <a:lnTo>
                  <a:pt x="21327" y="4014"/>
                </a:lnTo>
                <a:lnTo>
                  <a:pt x="21290" y="4019"/>
                </a:lnTo>
                <a:lnTo>
                  <a:pt x="21252" y="4023"/>
                </a:lnTo>
                <a:lnTo>
                  <a:pt x="21213" y="4026"/>
                </a:lnTo>
                <a:lnTo>
                  <a:pt x="21173" y="4027"/>
                </a:lnTo>
                <a:lnTo>
                  <a:pt x="21132" y="4027"/>
                </a:lnTo>
                <a:lnTo>
                  <a:pt x="21132" y="4027"/>
                </a:lnTo>
                <a:lnTo>
                  <a:pt x="21082" y="4027"/>
                </a:lnTo>
                <a:lnTo>
                  <a:pt x="21032" y="4024"/>
                </a:lnTo>
                <a:lnTo>
                  <a:pt x="20982" y="4019"/>
                </a:lnTo>
                <a:lnTo>
                  <a:pt x="20933" y="4013"/>
                </a:lnTo>
                <a:lnTo>
                  <a:pt x="20885" y="4005"/>
                </a:lnTo>
                <a:lnTo>
                  <a:pt x="20837" y="3995"/>
                </a:lnTo>
                <a:lnTo>
                  <a:pt x="20791" y="3983"/>
                </a:lnTo>
                <a:lnTo>
                  <a:pt x="20744" y="3970"/>
                </a:lnTo>
                <a:lnTo>
                  <a:pt x="20699" y="3954"/>
                </a:lnTo>
                <a:lnTo>
                  <a:pt x="20655" y="3938"/>
                </a:lnTo>
                <a:lnTo>
                  <a:pt x="20612" y="3919"/>
                </a:lnTo>
                <a:lnTo>
                  <a:pt x="20571" y="3899"/>
                </a:lnTo>
                <a:lnTo>
                  <a:pt x="20530" y="3877"/>
                </a:lnTo>
                <a:lnTo>
                  <a:pt x="20492" y="3853"/>
                </a:lnTo>
                <a:lnTo>
                  <a:pt x="20455" y="3827"/>
                </a:lnTo>
                <a:lnTo>
                  <a:pt x="20418" y="3800"/>
                </a:lnTo>
                <a:lnTo>
                  <a:pt x="20385" y="3772"/>
                </a:lnTo>
                <a:lnTo>
                  <a:pt x="20351" y="3740"/>
                </a:lnTo>
                <a:lnTo>
                  <a:pt x="20321" y="3709"/>
                </a:lnTo>
                <a:lnTo>
                  <a:pt x="20291" y="3674"/>
                </a:lnTo>
                <a:lnTo>
                  <a:pt x="20278" y="3657"/>
                </a:lnTo>
                <a:lnTo>
                  <a:pt x="20264" y="3639"/>
                </a:lnTo>
                <a:lnTo>
                  <a:pt x="20251" y="3621"/>
                </a:lnTo>
                <a:lnTo>
                  <a:pt x="20239" y="3602"/>
                </a:lnTo>
                <a:lnTo>
                  <a:pt x="20227" y="3583"/>
                </a:lnTo>
                <a:lnTo>
                  <a:pt x="20216" y="3563"/>
                </a:lnTo>
                <a:lnTo>
                  <a:pt x="20205" y="3543"/>
                </a:lnTo>
                <a:lnTo>
                  <a:pt x="20195" y="3522"/>
                </a:lnTo>
                <a:lnTo>
                  <a:pt x="20185" y="3502"/>
                </a:lnTo>
                <a:lnTo>
                  <a:pt x="20176" y="3480"/>
                </a:lnTo>
                <a:lnTo>
                  <a:pt x="20168" y="3459"/>
                </a:lnTo>
                <a:lnTo>
                  <a:pt x="20159" y="3437"/>
                </a:lnTo>
                <a:lnTo>
                  <a:pt x="20152" y="3414"/>
                </a:lnTo>
                <a:lnTo>
                  <a:pt x="20146" y="3392"/>
                </a:lnTo>
                <a:lnTo>
                  <a:pt x="20139" y="3368"/>
                </a:lnTo>
                <a:lnTo>
                  <a:pt x="20133" y="3345"/>
                </a:lnTo>
                <a:lnTo>
                  <a:pt x="20128" y="3321"/>
                </a:lnTo>
                <a:lnTo>
                  <a:pt x="20123" y="3297"/>
                </a:lnTo>
                <a:lnTo>
                  <a:pt x="20120" y="3271"/>
                </a:lnTo>
                <a:lnTo>
                  <a:pt x="20117" y="3246"/>
                </a:lnTo>
                <a:lnTo>
                  <a:pt x="20115" y="3221"/>
                </a:lnTo>
                <a:lnTo>
                  <a:pt x="20113" y="3195"/>
                </a:lnTo>
                <a:lnTo>
                  <a:pt x="20112" y="3169"/>
                </a:lnTo>
                <a:lnTo>
                  <a:pt x="20112" y="3141"/>
                </a:lnTo>
                <a:lnTo>
                  <a:pt x="20112" y="3130"/>
                </a:lnTo>
                <a:lnTo>
                  <a:pt x="20112" y="3130"/>
                </a:lnTo>
                <a:lnTo>
                  <a:pt x="20112" y="3101"/>
                </a:lnTo>
                <a:lnTo>
                  <a:pt x="20113" y="3073"/>
                </a:lnTo>
                <a:lnTo>
                  <a:pt x="20115" y="3045"/>
                </a:lnTo>
                <a:lnTo>
                  <a:pt x="20117" y="3017"/>
                </a:lnTo>
                <a:lnTo>
                  <a:pt x="20120" y="2991"/>
                </a:lnTo>
                <a:lnTo>
                  <a:pt x="20125" y="2964"/>
                </a:lnTo>
                <a:lnTo>
                  <a:pt x="20129" y="2939"/>
                </a:lnTo>
                <a:lnTo>
                  <a:pt x="20134" y="2913"/>
                </a:lnTo>
                <a:lnTo>
                  <a:pt x="20140" y="2887"/>
                </a:lnTo>
                <a:lnTo>
                  <a:pt x="20147" y="2863"/>
                </a:lnTo>
                <a:lnTo>
                  <a:pt x="20154" y="2839"/>
                </a:lnTo>
                <a:lnTo>
                  <a:pt x="20161" y="2815"/>
                </a:lnTo>
                <a:lnTo>
                  <a:pt x="20170" y="2792"/>
                </a:lnTo>
                <a:lnTo>
                  <a:pt x="20179" y="2769"/>
                </a:lnTo>
                <a:lnTo>
                  <a:pt x="20189" y="2747"/>
                </a:lnTo>
                <a:lnTo>
                  <a:pt x="20199" y="2725"/>
                </a:lnTo>
                <a:lnTo>
                  <a:pt x="20211" y="2704"/>
                </a:lnTo>
                <a:lnTo>
                  <a:pt x="20222" y="2683"/>
                </a:lnTo>
                <a:lnTo>
                  <a:pt x="20234" y="2662"/>
                </a:lnTo>
                <a:lnTo>
                  <a:pt x="20247" y="2642"/>
                </a:lnTo>
                <a:lnTo>
                  <a:pt x="20260" y="2622"/>
                </a:lnTo>
                <a:lnTo>
                  <a:pt x="20273" y="2603"/>
                </a:lnTo>
                <a:lnTo>
                  <a:pt x="20288" y="2584"/>
                </a:lnTo>
                <a:lnTo>
                  <a:pt x="20304" y="2566"/>
                </a:lnTo>
                <a:lnTo>
                  <a:pt x="20319" y="2548"/>
                </a:lnTo>
                <a:lnTo>
                  <a:pt x="20335" y="2531"/>
                </a:lnTo>
                <a:lnTo>
                  <a:pt x="20352" y="2514"/>
                </a:lnTo>
                <a:lnTo>
                  <a:pt x="20369" y="2498"/>
                </a:lnTo>
                <a:lnTo>
                  <a:pt x="20387" y="2482"/>
                </a:lnTo>
                <a:lnTo>
                  <a:pt x="20405" y="2467"/>
                </a:lnTo>
                <a:lnTo>
                  <a:pt x="20423" y="2451"/>
                </a:lnTo>
                <a:lnTo>
                  <a:pt x="20442" y="2436"/>
                </a:lnTo>
                <a:lnTo>
                  <a:pt x="20462" y="2423"/>
                </a:lnTo>
                <a:lnTo>
                  <a:pt x="20482" y="2409"/>
                </a:lnTo>
                <a:lnTo>
                  <a:pt x="20503" y="2395"/>
                </a:lnTo>
                <a:lnTo>
                  <a:pt x="20524" y="2383"/>
                </a:lnTo>
                <a:lnTo>
                  <a:pt x="20568" y="2359"/>
                </a:lnTo>
                <a:lnTo>
                  <a:pt x="20613" y="2337"/>
                </a:lnTo>
                <a:lnTo>
                  <a:pt x="20660" y="2316"/>
                </a:lnTo>
                <a:lnTo>
                  <a:pt x="20709" y="2297"/>
                </a:lnTo>
                <a:lnTo>
                  <a:pt x="20759" y="2280"/>
                </a:lnTo>
                <a:lnTo>
                  <a:pt x="20810" y="2264"/>
                </a:lnTo>
                <a:lnTo>
                  <a:pt x="20864" y="2250"/>
                </a:lnTo>
                <a:lnTo>
                  <a:pt x="20920" y="2239"/>
                </a:lnTo>
                <a:lnTo>
                  <a:pt x="20975" y="2230"/>
                </a:lnTo>
                <a:lnTo>
                  <a:pt x="21033" y="2221"/>
                </a:lnTo>
                <a:lnTo>
                  <a:pt x="21092" y="2215"/>
                </a:lnTo>
                <a:lnTo>
                  <a:pt x="21151" y="2211"/>
                </a:lnTo>
                <a:lnTo>
                  <a:pt x="21212" y="2207"/>
                </a:lnTo>
                <a:lnTo>
                  <a:pt x="21274" y="2207"/>
                </a:lnTo>
                <a:lnTo>
                  <a:pt x="21274" y="2207"/>
                </a:lnTo>
                <a:lnTo>
                  <a:pt x="21338" y="2207"/>
                </a:lnTo>
                <a:lnTo>
                  <a:pt x="21399" y="2210"/>
                </a:lnTo>
                <a:lnTo>
                  <a:pt x="21458" y="2212"/>
                </a:lnTo>
                <a:lnTo>
                  <a:pt x="21513" y="2216"/>
                </a:lnTo>
                <a:lnTo>
                  <a:pt x="21568" y="2220"/>
                </a:lnTo>
                <a:lnTo>
                  <a:pt x="21619" y="2226"/>
                </a:lnTo>
                <a:lnTo>
                  <a:pt x="21669" y="2233"/>
                </a:lnTo>
                <a:lnTo>
                  <a:pt x="21718" y="2240"/>
                </a:lnTo>
                <a:lnTo>
                  <a:pt x="21765" y="2248"/>
                </a:lnTo>
                <a:lnTo>
                  <a:pt x="21811" y="2258"/>
                </a:lnTo>
                <a:lnTo>
                  <a:pt x="21855" y="2267"/>
                </a:lnTo>
                <a:lnTo>
                  <a:pt x="21899" y="2278"/>
                </a:lnTo>
                <a:lnTo>
                  <a:pt x="21942" y="2288"/>
                </a:lnTo>
                <a:lnTo>
                  <a:pt x="21984" y="2301"/>
                </a:lnTo>
                <a:lnTo>
                  <a:pt x="22068" y="2326"/>
                </a:lnTo>
                <a:lnTo>
                  <a:pt x="22068" y="2256"/>
                </a:lnTo>
                <a:lnTo>
                  <a:pt x="22068" y="2256"/>
                </a:lnTo>
                <a:lnTo>
                  <a:pt x="22067" y="2219"/>
                </a:lnTo>
                <a:lnTo>
                  <a:pt x="22065" y="2183"/>
                </a:lnTo>
                <a:lnTo>
                  <a:pt x="22062" y="2149"/>
                </a:lnTo>
                <a:lnTo>
                  <a:pt x="22057" y="2115"/>
                </a:lnTo>
                <a:lnTo>
                  <a:pt x="22050" y="2083"/>
                </a:lnTo>
                <a:lnTo>
                  <a:pt x="22042" y="2051"/>
                </a:lnTo>
                <a:lnTo>
                  <a:pt x="22032" y="2022"/>
                </a:lnTo>
                <a:lnTo>
                  <a:pt x="22022" y="1992"/>
                </a:lnTo>
                <a:lnTo>
                  <a:pt x="22009" y="1964"/>
                </a:lnTo>
                <a:lnTo>
                  <a:pt x="21996" y="1937"/>
                </a:lnTo>
                <a:lnTo>
                  <a:pt x="21981" y="1912"/>
                </a:lnTo>
                <a:lnTo>
                  <a:pt x="21965" y="1886"/>
                </a:lnTo>
                <a:lnTo>
                  <a:pt x="21947" y="1863"/>
                </a:lnTo>
                <a:lnTo>
                  <a:pt x="21929" y="1841"/>
                </a:lnTo>
                <a:lnTo>
                  <a:pt x="21908" y="1820"/>
                </a:lnTo>
                <a:lnTo>
                  <a:pt x="21886" y="1799"/>
                </a:lnTo>
                <a:lnTo>
                  <a:pt x="21862" y="1780"/>
                </a:lnTo>
                <a:lnTo>
                  <a:pt x="21838" y="1764"/>
                </a:lnTo>
                <a:lnTo>
                  <a:pt x="21813" y="1747"/>
                </a:lnTo>
                <a:lnTo>
                  <a:pt x="21786" y="1731"/>
                </a:lnTo>
                <a:lnTo>
                  <a:pt x="21758" y="1718"/>
                </a:lnTo>
                <a:lnTo>
                  <a:pt x="21727" y="1704"/>
                </a:lnTo>
                <a:lnTo>
                  <a:pt x="21697" y="1692"/>
                </a:lnTo>
                <a:lnTo>
                  <a:pt x="21664" y="1682"/>
                </a:lnTo>
                <a:lnTo>
                  <a:pt x="21631" y="1672"/>
                </a:lnTo>
                <a:lnTo>
                  <a:pt x="21596" y="1665"/>
                </a:lnTo>
                <a:lnTo>
                  <a:pt x="21560" y="1658"/>
                </a:lnTo>
                <a:lnTo>
                  <a:pt x="21523" y="1652"/>
                </a:lnTo>
                <a:lnTo>
                  <a:pt x="21484" y="1647"/>
                </a:lnTo>
                <a:lnTo>
                  <a:pt x="21444" y="1644"/>
                </a:lnTo>
                <a:lnTo>
                  <a:pt x="21403" y="1643"/>
                </a:lnTo>
                <a:lnTo>
                  <a:pt x="21361" y="1642"/>
                </a:lnTo>
                <a:lnTo>
                  <a:pt x="21361" y="1642"/>
                </a:lnTo>
                <a:lnTo>
                  <a:pt x="21302" y="1643"/>
                </a:lnTo>
                <a:lnTo>
                  <a:pt x="21245" y="1645"/>
                </a:lnTo>
                <a:lnTo>
                  <a:pt x="21189" y="1649"/>
                </a:lnTo>
                <a:lnTo>
                  <a:pt x="21135" y="1655"/>
                </a:lnTo>
                <a:lnTo>
                  <a:pt x="21082" y="1661"/>
                </a:lnTo>
                <a:lnTo>
                  <a:pt x="21030" y="1669"/>
                </a:lnTo>
                <a:lnTo>
                  <a:pt x="20979" y="1680"/>
                </a:lnTo>
                <a:lnTo>
                  <a:pt x="20929" y="1690"/>
                </a:lnTo>
                <a:lnTo>
                  <a:pt x="20880" y="1703"/>
                </a:lnTo>
                <a:lnTo>
                  <a:pt x="20830" y="1716"/>
                </a:lnTo>
                <a:lnTo>
                  <a:pt x="20782" y="1730"/>
                </a:lnTo>
                <a:lnTo>
                  <a:pt x="20734" y="1747"/>
                </a:lnTo>
                <a:lnTo>
                  <a:pt x="20686" y="1764"/>
                </a:lnTo>
                <a:lnTo>
                  <a:pt x="20637" y="1782"/>
                </a:lnTo>
                <a:lnTo>
                  <a:pt x="20589" y="1800"/>
                </a:lnTo>
                <a:lnTo>
                  <a:pt x="20541" y="1820"/>
                </a:lnTo>
                <a:lnTo>
                  <a:pt x="20362" y="1294"/>
                </a:lnTo>
                <a:lnTo>
                  <a:pt x="20362" y="1294"/>
                </a:lnTo>
                <a:lnTo>
                  <a:pt x="20420" y="1267"/>
                </a:lnTo>
                <a:lnTo>
                  <a:pt x="20480" y="1242"/>
                </a:lnTo>
                <a:lnTo>
                  <a:pt x="20540" y="1219"/>
                </a:lnTo>
                <a:lnTo>
                  <a:pt x="20600" y="1196"/>
                </a:lnTo>
                <a:lnTo>
                  <a:pt x="20660" y="1175"/>
                </a:lnTo>
                <a:lnTo>
                  <a:pt x="20722" y="1156"/>
                </a:lnTo>
                <a:lnTo>
                  <a:pt x="20785" y="1137"/>
                </a:lnTo>
                <a:lnTo>
                  <a:pt x="20850" y="1121"/>
                </a:lnTo>
                <a:lnTo>
                  <a:pt x="20917" y="1106"/>
                </a:lnTo>
                <a:lnTo>
                  <a:pt x="20986" y="1093"/>
                </a:lnTo>
                <a:lnTo>
                  <a:pt x="21057" y="1082"/>
                </a:lnTo>
                <a:lnTo>
                  <a:pt x="21130" y="1072"/>
                </a:lnTo>
                <a:lnTo>
                  <a:pt x="21207" y="1065"/>
                </a:lnTo>
                <a:lnTo>
                  <a:pt x="21286" y="1059"/>
                </a:lnTo>
                <a:lnTo>
                  <a:pt x="21368" y="1055"/>
                </a:lnTo>
                <a:lnTo>
                  <a:pt x="21453" y="1054"/>
                </a:lnTo>
                <a:lnTo>
                  <a:pt x="21453" y="1054"/>
                </a:lnTo>
                <a:lnTo>
                  <a:pt x="21493" y="1055"/>
                </a:lnTo>
                <a:lnTo>
                  <a:pt x="21532" y="1055"/>
                </a:lnTo>
                <a:lnTo>
                  <a:pt x="21570" y="1058"/>
                </a:lnTo>
                <a:lnTo>
                  <a:pt x="21608" y="1060"/>
                </a:lnTo>
                <a:lnTo>
                  <a:pt x="21644" y="1063"/>
                </a:lnTo>
                <a:lnTo>
                  <a:pt x="21681" y="1066"/>
                </a:lnTo>
                <a:lnTo>
                  <a:pt x="21717" y="1070"/>
                </a:lnTo>
                <a:lnTo>
                  <a:pt x="21751" y="1075"/>
                </a:lnTo>
                <a:lnTo>
                  <a:pt x="21786" y="1081"/>
                </a:lnTo>
                <a:lnTo>
                  <a:pt x="21819" y="1087"/>
                </a:lnTo>
                <a:lnTo>
                  <a:pt x="21852" y="1093"/>
                </a:lnTo>
                <a:lnTo>
                  <a:pt x="21885" y="1101"/>
                </a:lnTo>
                <a:lnTo>
                  <a:pt x="21917" y="1109"/>
                </a:lnTo>
                <a:lnTo>
                  <a:pt x="21948" y="1117"/>
                </a:lnTo>
                <a:lnTo>
                  <a:pt x="21979" y="1127"/>
                </a:lnTo>
                <a:lnTo>
                  <a:pt x="22008" y="1136"/>
                </a:lnTo>
                <a:lnTo>
                  <a:pt x="22038" y="1147"/>
                </a:lnTo>
                <a:lnTo>
                  <a:pt x="22066" y="1157"/>
                </a:lnTo>
                <a:lnTo>
                  <a:pt x="22094" y="1169"/>
                </a:lnTo>
                <a:lnTo>
                  <a:pt x="22122" y="1181"/>
                </a:lnTo>
                <a:lnTo>
                  <a:pt x="22149" y="1194"/>
                </a:lnTo>
                <a:lnTo>
                  <a:pt x="22175" y="1208"/>
                </a:lnTo>
                <a:lnTo>
                  <a:pt x="22200" y="1221"/>
                </a:lnTo>
                <a:lnTo>
                  <a:pt x="22225" y="1236"/>
                </a:lnTo>
                <a:lnTo>
                  <a:pt x="22250" y="1251"/>
                </a:lnTo>
                <a:lnTo>
                  <a:pt x="22274" y="1266"/>
                </a:lnTo>
                <a:lnTo>
                  <a:pt x="22297" y="1283"/>
                </a:lnTo>
                <a:lnTo>
                  <a:pt x="22319" y="1300"/>
                </a:lnTo>
                <a:lnTo>
                  <a:pt x="22341" y="1318"/>
                </a:lnTo>
                <a:lnTo>
                  <a:pt x="22362" y="1336"/>
                </a:lnTo>
                <a:lnTo>
                  <a:pt x="22383" y="1354"/>
                </a:lnTo>
                <a:lnTo>
                  <a:pt x="22403" y="1373"/>
                </a:lnTo>
                <a:lnTo>
                  <a:pt x="22422" y="1393"/>
                </a:lnTo>
                <a:lnTo>
                  <a:pt x="22440" y="1413"/>
                </a:lnTo>
                <a:lnTo>
                  <a:pt x="22458" y="1434"/>
                </a:lnTo>
                <a:lnTo>
                  <a:pt x="22476" y="1455"/>
                </a:lnTo>
                <a:lnTo>
                  <a:pt x="22493" y="1477"/>
                </a:lnTo>
                <a:lnTo>
                  <a:pt x="22509" y="1499"/>
                </a:lnTo>
                <a:lnTo>
                  <a:pt x="22524" y="1522"/>
                </a:lnTo>
                <a:lnTo>
                  <a:pt x="22539" y="1546"/>
                </a:lnTo>
                <a:lnTo>
                  <a:pt x="22554" y="1571"/>
                </a:lnTo>
                <a:lnTo>
                  <a:pt x="22567" y="1595"/>
                </a:lnTo>
                <a:lnTo>
                  <a:pt x="22581" y="1620"/>
                </a:lnTo>
                <a:lnTo>
                  <a:pt x="22592" y="1646"/>
                </a:lnTo>
                <a:lnTo>
                  <a:pt x="22605" y="1672"/>
                </a:lnTo>
                <a:lnTo>
                  <a:pt x="22617" y="1699"/>
                </a:lnTo>
                <a:lnTo>
                  <a:pt x="22627" y="1726"/>
                </a:lnTo>
                <a:lnTo>
                  <a:pt x="22637" y="1754"/>
                </a:lnTo>
                <a:lnTo>
                  <a:pt x="22646" y="1783"/>
                </a:lnTo>
                <a:lnTo>
                  <a:pt x="22655" y="1811"/>
                </a:lnTo>
                <a:lnTo>
                  <a:pt x="22663" y="1840"/>
                </a:lnTo>
                <a:lnTo>
                  <a:pt x="22671" y="1870"/>
                </a:lnTo>
                <a:lnTo>
                  <a:pt x="22677" y="1900"/>
                </a:lnTo>
                <a:lnTo>
                  <a:pt x="22684" y="1932"/>
                </a:lnTo>
                <a:lnTo>
                  <a:pt x="22690" y="1962"/>
                </a:lnTo>
                <a:lnTo>
                  <a:pt x="22695" y="1994"/>
                </a:lnTo>
                <a:lnTo>
                  <a:pt x="22699" y="2027"/>
                </a:lnTo>
                <a:lnTo>
                  <a:pt x="22704" y="2060"/>
                </a:lnTo>
                <a:lnTo>
                  <a:pt x="22707" y="2093"/>
                </a:lnTo>
                <a:lnTo>
                  <a:pt x="22710" y="2127"/>
                </a:lnTo>
                <a:lnTo>
                  <a:pt x="22712" y="2160"/>
                </a:lnTo>
                <a:lnTo>
                  <a:pt x="22713" y="2196"/>
                </a:lnTo>
                <a:lnTo>
                  <a:pt x="22714" y="2266"/>
                </a:lnTo>
                <a:lnTo>
                  <a:pt x="22714" y="3968"/>
                </a:lnTo>
                <a:lnTo>
                  <a:pt x="22062" y="3968"/>
                </a:lnTo>
                <a:close/>
                <a:moveTo>
                  <a:pt x="22079" y="2750"/>
                </a:moveTo>
                <a:lnTo>
                  <a:pt x="22079" y="2750"/>
                </a:lnTo>
                <a:lnTo>
                  <a:pt x="22046" y="2737"/>
                </a:lnTo>
                <a:lnTo>
                  <a:pt x="22012" y="2726"/>
                </a:lnTo>
                <a:lnTo>
                  <a:pt x="21977" y="2715"/>
                </a:lnTo>
                <a:lnTo>
                  <a:pt x="21941" y="2705"/>
                </a:lnTo>
                <a:lnTo>
                  <a:pt x="21902" y="2694"/>
                </a:lnTo>
                <a:lnTo>
                  <a:pt x="21864" y="2685"/>
                </a:lnTo>
                <a:lnTo>
                  <a:pt x="21824" y="2676"/>
                </a:lnTo>
                <a:lnTo>
                  <a:pt x="21783" y="2669"/>
                </a:lnTo>
                <a:lnTo>
                  <a:pt x="21740" y="2662"/>
                </a:lnTo>
                <a:lnTo>
                  <a:pt x="21697" y="2654"/>
                </a:lnTo>
                <a:lnTo>
                  <a:pt x="21653" y="2649"/>
                </a:lnTo>
                <a:lnTo>
                  <a:pt x="21608" y="2645"/>
                </a:lnTo>
                <a:lnTo>
                  <a:pt x="21563" y="2641"/>
                </a:lnTo>
                <a:lnTo>
                  <a:pt x="21515" y="2639"/>
                </a:lnTo>
                <a:lnTo>
                  <a:pt x="21469" y="2637"/>
                </a:lnTo>
                <a:lnTo>
                  <a:pt x="21421" y="2636"/>
                </a:lnTo>
                <a:lnTo>
                  <a:pt x="21421" y="2636"/>
                </a:lnTo>
                <a:lnTo>
                  <a:pt x="21383" y="2637"/>
                </a:lnTo>
                <a:lnTo>
                  <a:pt x="21345" y="2638"/>
                </a:lnTo>
                <a:lnTo>
                  <a:pt x="21310" y="2641"/>
                </a:lnTo>
                <a:lnTo>
                  <a:pt x="21274" y="2644"/>
                </a:lnTo>
                <a:lnTo>
                  <a:pt x="21241" y="2648"/>
                </a:lnTo>
                <a:lnTo>
                  <a:pt x="21207" y="2653"/>
                </a:lnTo>
                <a:lnTo>
                  <a:pt x="21175" y="2660"/>
                </a:lnTo>
                <a:lnTo>
                  <a:pt x="21144" y="2667"/>
                </a:lnTo>
                <a:lnTo>
                  <a:pt x="21115" y="2675"/>
                </a:lnTo>
                <a:lnTo>
                  <a:pt x="21085" y="2684"/>
                </a:lnTo>
                <a:lnTo>
                  <a:pt x="21058" y="2694"/>
                </a:lnTo>
                <a:lnTo>
                  <a:pt x="21032" y="2705"/>
                </a:lnTo>
                <a:lnTo>
                  <a:pt x="21007" y="2716"/>
                </a:lnTo>
                <a:lnTo>
                  <a:pt x="20982" y="2729"/>
                </a:lnTo>
                <a:lnTo>
                  <a:pt x="20959" y="2743"/>
                </a:lnTo>
                <a:lnTo>
                  <a:pt x="20937" y="2757"/>
                </a:lnTo>
                <a:lnTo>
                  <a:pt x="20917" y="2772"/>
                </a:lnTo>
                <a:lnTo>
                  <a:pt x="20898" y="2789"/>
                </a:lnTo>
                <a:lnTo>
                  <a:pt x="20880" y="2806"/>
                </a:lnTo>
                <a:lnTo>
                  <a:pt x="20863" y="2823"/>
                </a:lnTo>
                <a:lnTo>
                  <a:pt x="20847" y="2841"/>
                </a:lnTo>
                <a:lnTo>
                  <a:pt x="20834" y="2861"/>
                </a:lnTo>
                <a:lnTo>
                  <a:pt x="20820" y="2881"/>
                </a:lnTo>
                <a:lnTo>
                  <a:pt x="20808" y="2902"/>
                </a:lnTo>
                <a:lnTo>
                  <a:pt x="20798" y="2924"/>
                </a:lnTo>
                <a:lnTo>
                  <a:pt x="20790" y="2946"/>
                </a:lnTo>
                <a:lnTo>
                  <a:pt x="20782" y="2970"/>
                </a:lnTo>
                <a:lnTo>
                  <a:pt x="20776" y="2994"/>
                </a:lnTo>
                <a:lnTo>
                  <a:pt x="20771" y="3018"/>
                </a:lnTo>
                <a:lnTo>
                  <a:pt x="20766" y="3045"/>
                </a:lnTo>
                <a:lnTo>
                  <a:pt x="20764" y="3071"/>
                </a:lnTo>
                <a:lnTo>
                  <a:pt x="20764" y="3098"/>
                </a:lnTo>
                <a:lnTo>
                  <a:pt x="20764" y="3109"/>
                </a:lnTo>
                <a:lnTo>
                  <a:pt x="20764" y="3109"/>
                </a:lnTo>
                <a:lnTo>
                  <a:pt x="20764" y="3134"/>
                </a:lnTo>
                <a:lnTo>
                  <a:pt x="20766" y="3158"/>
                </a:lnTo>
                <a:lnTo>
                  <a:pt x="20771" y="3182"/>
                </a:lnTo>
                <a:lnTo>
                  <a:pt x="20775" y="3205"/>
                </a:lnTo>
                <a:lnTo>
                  <a:pt x="20781" y="3227"/>
                </a:lnTo>
                <a:lnTo>
                  <a:pt x="20788" y="3248"/>
                </a:lnTo>
                <a:lnTo>
                  <a:pt x="20797" y="3269"/>
                </a:lnTo>
                <a:lnTo>
                  <a:pt x="20807" y="3289"/>
                </a:lnTo>
                <a:lnTo>
                  <a:pt x="20818" y="3309"/>
                </a:lnTo>
                <a:lnTo>
                  <a:pt x="20830" y="3327"/>
                </a:lnTo>
                <a:lnTo>
                  <a:pt x="20843" y="3345"/>
                </a:lnTo>
                <a:lnTo>
                  <a:pt x="20858" y="3362"/>
                </a:lnTo>
                <a:lnTo>
                  <a:pt x="20873" y="3378"/>
                </a:lnTo>
                <a:lnTo>
                  <a:pt x="20889" y="3394"/>
                </a:lnTo>
                <a:lnTo>
                  <a:pt x="20907" y="3409"/>
                </a:lnTo>
                <a:lnTo>
                  <a:pt x="20925" y="3422"/>
                </a:lnTo>
                <a:lnTo>
                  <a:pt x="20944" y="3435"/>
                </a:lnTo>
                <a:lnTo>
                  <a:pt x="20964" y="3448"/>
                </a:lnTo>
                <a:lnTo>
                  <a:pt x="20985" y="3459"/>
                </a:lnTo>
                <a:lnTo>
                  <a:pt x="21007" y="3470"/>
                </a:lnTo>
                <a:lnTo>
                  <a:pt x="21029" y="3480"/>
                </a:lnTo>
                <a:lnTo>
                  <a:pt x="21052" y="3489"/>
                </a:lnTo>
                <a:lnTo>
                  <a:pt x="21076" y="3497"/>
                </a:lnTo>
                <a:lnTo>
                  <a:pt x="21100" y="3504"/>
                </a:lnTo>
                <a:lnTo>
                  <a:pt x="21125" y="3511"/>
                </a:lnTo>
                <a:lnTo>
                  <a:pt x="21151" y="3517"/>
                </a:lnTo>
                <a:lnTo>
                  <a:pt x="21178" y="3521"/>
                </a:lnTo>
                <a:lnTo>
                  <a:pt x="21205" y="3525"/>
                </a:lnTo>
                <a:lnTo>
                  <a:pt x="21232" y="3528"/>
                </a:lnTo>
                <a:lnTo>
                  <a:pt x="21260" y="3530"/>
                </a:lnTo>
                <a:lnTo>
                  <a:pt x="21289" y="3532"/>
                </a:lnTo>
                <a:lnTo>
                  <a:pt x="21317" y="3533"/>
                </a:lnTo>
                <a:lnTo>
                  <a:pt x="21317" y="3533"/>
                </a:lnTo>
                <a:lnTo>
                  <a:pt x="21358" y="3532"/>
                </a:lnTo>
                <a:lnTo>
                  <a:pt x="21398" y="3529"/>
                </a:lnTo>
                <a:lnTo>
                  <a:pt x="21437" y="3526"/>
                </a:lnTo>
                <a:lnTo>
                  <a:pt x="21474" y="3521"/>
                </a:lnTo>
                <a:lnTo>
                  <a:pt x="21512" y="3515"/>
                </a:lnTo>
                <a:lnTo>
                  <a:pt x="21549" y="3507"/>
                </a:lnTo>
                <a:lnTo>
                  <a:pt x="21585" y="3499"/>
                </a:lnTo>
                <a:lnTo>
                  <a:pt x="21620" y="3489"/>
                </a:lnTo>
                <a:lnTo>
                  <a:pt x="21654" y="3477"/>
                </a:lnTo>
                <a:lnTo>
                  <a:pt x="21686" y="3464"/>
                </a:lnTo>
                <a:lnTo>
                  <a:pt x="21719" y="3451"/>
                </a:lnTo>
                <a:lnTo>
                  <a:pt x="21749" y="3436"/>
                </a:lnTo>
                <a:lnTo>
                  <a:pt x="21779" y="3420"/>
                </a:lnTo>
                <a:lnTo>
                  <a:pt x="21808" y="3402"/>
                </a:lnTo>
                <a:lnTo>
                  <a:pt x="21835" y="3385"/>
                </a:lnTo>
                <a:lnTo>
                  <a:pt x="21861" y="3366"/>
                </a:lnTo>
                <a:lnTo>
                  <a:pt x="21886" y="3345"/>
                </a:lnTo>
                <a:lnTo>
                  <a:pt x="21910" y="3324"/>
                </a:lnTo>
                <a:lnTo>
                  <a:pt x="21932" y="3301"/>
                </a:lnTo>
                <a:lnTo>
                  <a:pt x="21953" y="3278"/>
                </a:lnTo>
                <a:lnTo>
                  <a:pt x="21972" y="3254"/>
                </a:lnTo>
                <a:lnTo>
                  <a:pt x="21989" y="3228"/>
                </a:lnTo>
                <a:lnTo>
                  <a:pt x="22006" y="3202"/>
                </a:lnTo>
                <a:lnTo>
                  <a:pt x="22021" y="3175"/>
                </a:lnTo>
                <a:lnTo>
                  <a:pt x="22033" y="3146"/>
                </a:lnTo>
                <a:lnTo>
                  <a:pt x="22045" y="3118"/>
                </a:lnTo>
                <a:lnTo>
                  <a:pt x="22055" y="3088"/>
                </a:lnTo>
                <a:lnTo>
                  <a:pt x="22064" y="3057"/>
                </a:lnTo>
                <a:lnTo>
                  <a:pt x="22070" y="3027"/>
                </a:lnTo>
                <a:lnTo>
                  <a:pt x="22074" y="2994"/>
                </a:lnTo>
                <a:lnTo>
                  <a:pt x="22078" y="2962"/>
                </a:lnTo>
                <a:lnTo>
                  <a:pt x="22079" y="2928"/>
                </a:lnTo>
                <a:lnTo>
                  <a:pt x="22079" y="2750"/>
                </a:lnTo>
                <a:close/>
                <a:moveTo>
                  <a:pt x="23882" y="3968"/>
                </a:moveTo>
                <a:lnTo>
                  <a:pt x="23225" y="3968"/>
                </a:lnTo>
                <a:lnTo>
                  <a:pt x="23225" y="1098"/>
                </a:lnTo>
                <a:lnTo>
                  <a:pt x="23882" y="1098"/>
                </a:lnTo>
                <a:lnTo>
                  <a:pt x="23882" y="1745"/>
                </a:lnTo>
                <a:lnTo>
                  <a:pt x="23882" y="1745"/>
                </a:lnTo>
                <a:lnTo>
                  <a:pt x="23899" y="1705"/>
                </a:lnTo>
                <a:lnTo>
                  <a:pt x="23917" y="1666"/>
                </a:lnTo>
                <a:lnTo>
                  <a:pt x="23936" y="1628"/>
                </a:lnTo>
                <a:lnTo>
                  <a:pt x="23956" y="1591"/>
                </a:lnTo>
                <a:lnTo>
                  <a:pt x="23977" y="1554"/>
                </a:lnTo>
                <a:lnTo>
                  <a:pt x="23999" y="1519"/>
                </a:lnTo>
                <a:lnTo>
                  <a:pt x="24021" y="1485"/>
                </a:lnTo>
                <a:lnTo>
                  <a:pt x="24045" y="1451"/>
                </a:lnTo>
                <a:lnTo>
                  <a:pt x="24069" y="1418"/>
                </a:lnTo>
                <a:lnTo>
                  <a:pt x="24096" y="1388"/>
                </a:lnTo>
                <a:lnTo>
                  <a:pt x="24122" y="1358"/>
                </a:lnTo>
                <a:lnTo>
                  <a:pt x="24149" y="1328"/>
                </a:lnTo>
                <a:lnTo>
                  <a:pt x="24177" y="1301"/>
                </a:lnTo>
                <a:lnTo>
                  <a:pt x="24207" y="1275"/>
                </a:lnTo>
                <a:lnTo>
                  <a:pt x="24237" y="1250"/>
                </a:lnTo>
                <a:lnTo>
                  <a:pt x="24268" y="1225"/>
                </a:lnTo>
                <a:lnTo>
                  <a:pt x="24300" y="1202"/>
                </a:lnTo>
                <a:lnTo>
                  <a:pt x="24333" y="1181"/>
                </a:lnTo>
                <a:lnTo>
                  <a:pt x="24367" y="1161"/>
                </a:lnTo>
                <a:lnTo>
                  <a:pt x="24402" y="1143"/>
                </a:lnTo>
                <a:lnTo>
                  <a:pt x="24437" y="1126"/>
                </a:lnTo>
                <a:lnTo>
                  <a:pt x="24474" y="1110"/>
                </a:lnTo>
                <a:lnTo>
                  <a:pt x="24513" y="1096"/>
                </a:lnTo>
                <a:lnTo>
                  <a:pt x="24552" y="1084"/>
                </a:lnTo>
                <a:lnTo>
                  <a:pt x="24592" y="1073"/>
                </a:lnTo>
                <a:lnTo>
                  <a:pt x="24633" y="1064"/>
                </a:lnTo>
                <a:lnTo>
                  <a:pt x="24673" y="1057"/>
                </a:lnTo>
                <a:lnTo>
                  <a:pt x="24716" y="1050"/>
                </a:lnTo>
                <a:lnTo>
                  <a:pt x="24760" y="1046"/>
                </a:lnTo>
                <a:lnTo>
                  <a:pt x="24806" y="1044"/>
                </a:lnTo>
                <a:lnTo>
                  <a:pt x="24852" y="1043"/>
                </a:lnTo>
                <a:lnTo>
                  <a:pt x="24898" y="1044"/>
                </a:lnTo>
                <a:lnTo>
                  <a:pt x="24898" y="1740"/>
                </a:lnTo>
                <a:lnTo>
                  <a:pt x="24860" y="1740"/>
                </a:lnTo>
                <a:lnTo>
                  <a:pt x="24860" y="1740"/>
                </a:lnTo>
                <a:lnTo>
                  <a:pt x="24807" y="1741"/>
                </a:lnTo>
                <a:lnTo>
                  <a:pt x="24754" y="1744"/>
                </a:lnTo>
                <a:lnTo>
                  <a:pt x="24703" y="1749"/>
                </a:lnTo>
                <a:lnTo>
                  <a:pt x="24652" y="1756"/>
                </a:lnTo>
                <a:lnTo>
                  <a:pt x="24604" y="1767"/>
                </a:lnTo>
                <a:lnTo>
                  <a:pt x="24556" y="1778"/>
                </a:lnTo>
                <a:lnTo>
                  <a:pt x="24510" y="1793"/>
                </a:lnTo>
                <a:lnTo>
                  <a:pt x="24487" y="1801"/>
                </a:lnTo>
                <a:lnTo>
                  <a:pt x="24465" y="1810"/>
                </a:lnTo>
                <a:lnTo>
                  <a:pt x="24443" y="1819"/>
                </a:lnTo>
                <a:lnTo>
                  <a:pt x="24421" y="1829"/>
                </a:lnTo>
                <a:lnTo>
                  <a:pt x="24400" y="1838"/>
                </a:lnTo>
                <a:lnTo>
                  <a:pt x="24379" y="1850"/>
                </a:lnTo>
                <a:lnTo>
                  <a:pt x="24358" y="1860"/>
                </a:lnTo>
                <a:lnTo>
                  <a:pt x="24337" y="1873"/>
                </a:lnTo>
                <a:lnTo>
                  <a:pt x="24317" y="1885"/>
                </a:lnTo>
                <a:lnTo>
                  <a:pt x="24298" y="1898"/>
                </a:lnTo>
                <a:lnTo>
                  <a:pt x="24278" y="1912"/>
                </a:lnTo>
                <a:lnTo>
                  <a:pt x="24259" y="1925"/>
                </a:lnTo>
                <a:lnTo>
                  <a:pt x="24241" y="1940"/>
                </a:lnTo>
                <a:lnTo>
                  <a:pt x="24223" y="1956"/>
                </a:lnTo>
                <a:lnTo>
                  <a:pt x="24206" y="1971"/>
                </a:lnTo>
                <a:lnTo>
                  <a:pt x="24189" y="1987"/>
                </a:lnTo>
                <a:lnTo>
                  <a:pt x="24171" y="2004"/>
                </a:lnTo>
                <a:lnTo>
                  <a:pt x="24155" y="2022"/>
                </a:lnTo>
                <a:lnTo>
                  <a:pt x="24140" y="2040"/>
                </a:lnTo>
                <a:lnTo>
                  <a:pt x="24124" y="2058"/>
                </a:lnTo>
                <a:lnTo>
                  <a:pt x="24108" y="2077"/>
                </a:lnTo>
                <a:lnTo>
                  <a:pt x="24093" y="2097"/>
                </a:lnTo>
                <a:lnTo>
                  <a:pt x="24080" y="2117"/>
                </a:lnTo>
                <a:lnTo>
                  <a:pt x="24066" y="2138"/>
                </a:lnTo>
                <a:lnTo>
                  <a:pt x="24053" y="2159"/>
                </a:lnTo>
                <a:lnTo>
                  <a:pt x="24040" y="2181"/>
                </a:lnTo>
                <a:lnTo>
                  <a:pt x="24027" y="2203"/>
                </a:lnTo>
                <a:lnTo>
                  <a:pt x="24015" y="2226"/>
                </a:lnTo>
                <a:lnTo>
                  <a:pt x="24004" y="2250"/>
                </a:lnTo>
                <a:lnTo>
                  <a:pt x="23993" y="2275"/>
                </a:lnTo>
                <a:lnTo>
                  <a:pt x="23982" y="2299"/>
                </a:lnTo>
                <a:lnTo>
                  <a:pt x="23972" y="2324"/>
                </a:lnTo>
                <a:lnTo>
                  <a:pt x="23962" y="2350"/>
                </a:lnTo>
                <a:lnTo>
                  <a:pt x="23954" y="2376"/>
                </a:lnTo>
                <a:lnTo>
                  <a:pt x="23946" y="2404"/>
                </a:lnTo>
                <a:lnTo>
                  <a:pt x="23937" y="2431"/>
                </a:lnTo>
                <a:lnTo>
                  <a:pt x="23930" y="2459"/>
                </a:lnTo>
                <a:lnTo>
                  <a:pt x="23922" y="2488"/>
                </a:lnTo>
                <a:lnTo>
                  <a:pt x="23916" y="2517"/>
                </a:lnTo>
                <a:lnTo>
                  <a:pt x="23910" y="2546"/>
                </a:lnTo>
                <a:lnTo>
                  <a:pt x="23900" y="2607"/>
                </a:lnTo>
                <a:lnTo>
                  <a:pt x="23892" y="2671"/>
                </a:lnTo>
                <a:lnTo>
                  <a:pt x="23887" y="2736"/>
                </a:lnTo>
                <a:lnTo>
                  <a:pt x="23883" y="2804"/>
                </a:lnTo>
                <a:lnTo>
                  <a:pt x="23882" y="2875"/>
                </a:lnTo>
                <a:lnTo>
                  <a:pt x="23882" y="3968"/>
                </a:lnTo>
                <a:close/>
                <a:moveTo>
                  <a:pt x="27278" y="3968"/>
                </a:moveTo>
                <a:lnTo>
                  <a:pt x="27278" y="3489"/>
                </a:lnTo>
                <a:lnTo>
                  <a:pt x="27278" y="3489"/>
                </a:lnTo>
                <a:lnTo>
                  <a:pt x="27258" y="3517"/>
                </a:lnTo>
                <a:lnTo>
                  <a:pt x="27237" y="3544"/>
                </a:lnTo>
                <a:lnTo>
                  <a:pt x="27216" y="3571"/>
                </a:lnTo>
                <a:lnTo>
                  <a:pt x="27195" y="3598"/>
                </a:lnTo>
                <a:lnTo>
                  <a:pt x="27172" y="3624"/>
                </a:lnTo>
                <a:lnTo>
                  <a:pt x="27149" y="3650"/>
                </a:lnTo>
                <a:lnTo>
                  <a:pt x="27126" y="3674"/>
                </a:lnTo>
                <a:lnTo>
                  <a:pt x="27102" y="3699"/>
                </a:lnTo>
                <a:lnTo>
                  <a:pt x="27077" y="3724"/>
                </a:lnTo>
                <a:lnTo>
                  <a:pt x="27051" y="3747"/>
                </a:lnTo>
                <a:lnTo>
                  <a:pt x="27026" y="3769"/>
                </a:lnTo>
                <a:lnTo>
                  <a:pt x="26999" y="3791"/>
                </a:lnTo>
                <a:lnTo>
                  <a:pt x="26971" y="3812"/>
                </a:lnTo>
                <a:lnTo>
                  <a:pt x="26943" y="3832"/>
                </a:lnTo>
                <a:lnTo>
                  <a:pt x="26915" y="3852"/>
                </a:lnTo>
                <a:lnTo>
                  <a:pt x="26884" y="3870"/>
                </a:lnTo>
                <a:lnTo>
                  <a:pt x="26855" y="3888"/>
                </a:lnTo>
                <a:lnTo>
                  <a:pt x="26824" y="3905"/>
                </a:lnTo>
                <a:lnTo>
                  <a:pt x="26792" y="3921"/>
                </a:lnTo>
                <a:lnTo>
                  <a:pt x="26759" y="3935"/>
                </a:lnTo>
                <a:lnTo>
                  <a:pt x="26726" y="3950"/>
                </a:lnTo>
                <a:lnTo>
                  <a:pt x="26691" y="3963"/>
                </a:lnTo>
                <a:lnTo>
                  <a:pt x="26656" y="3974"/>
                </a:lnTo>
                <a:lnTo>
                  <a:pt x="26620" y="3985"/>
                </a:lnTo>
                <a:lnTo>
                  <a:pt x="26583" y="3995"/>
                </a:lnTo>
                <a:lnTo>
                  <a:pt x="26546" y="4004"/>
                </a:lnTo>
                <a:lnTo>
                  <a:pt x="26507" y="4010"/>
                </a:lnTo>
                <a:lnTo>
                  <a:pt x="26468" y="4016"/>
                </a:lnTo>
                <a:lnTo>
                  <a:pt x="26427" y="4022"/>
                </a:lnTo>
                <a:lnTo>
                  <a:pt x="26386" y="4025"/>
                </a:lnTo>
                <a:lnTo>
                  <a:pt x="26343" y="4027"/>
                </a:lnTo>
                <a:lnTo>
                  <a:pt x="26300" y="4027"/>
                </a:lnTo>
                <a:lnTo>
                  <a:pt x="26300" y="4027"/>
                </a:lnTo>
                <a:lnTo>
                  <a:pt x="26269" y="4027"/>
                </a:lnTo>
                <a:lnTo>
                  <a:pt x="26237" y="4026"/>
                </a:lnTo>
                <a:lnTo>
                  <a:pt x="26206" y="4024"/>
                </a:lnTo>
                <a:lnTo>
                  <a:pt x="26174" y="4022"/>
                </a:lnTo>
                <a:lnTo>
                  <a:pt x="26143" y="4017"/>
                </a:lnTo>
                <a:lnTo>
                  <a:pt x="26111" y="4013"/>
                </a:lnTo>
                <a:lnTo>
                  <a:pt x="26080" y="4008"/>
                </a:lnTo>
                <a:lnTo>
                  <a:pt x="26050" y="4003"/>
                </a:lnTo>
                <a:lnTo>
                  <a:pt x="26019" y="3995"/>
                </a:lnTo>
                <a:lnTo>
                  <a:pt x="25988" y="3988"/>
                </a:lnTo>
                <a:lnTo>
                  <a:pt x="25957" y="3981"/>
                </a:lnTo>
                <a:lnTo>
                  <a:pt x="25927" y="3971"/>
                </a:lnTo>
                <a:lnTo>
                  <a:pt x="25896" y="3962"/>
                </a:lnTo>
                <a:lnTo>
                  <a:pt x="25867" y="3951"/>
                </a:lnTo>
                <a:lnTo>
                  <a:pt x="25838" y="3940"/>
                </a:lnTo>
                <a:lnTo>
                  <a:pt x="25808" y="3928"/>
                </a:lnTo>
                <a:lnTo>
                  <a:pt x="25779" y="3916"/>
                </a:lnTo>
                <a:lnTo>
                  <a:pt x="25750" y="3902"/>
                </a:lnTo>
                <a:lnTo>
                  <a:pt x="25721" y="3888"/>
                </a:lnTo>
                <a:lnTo>
                  <a:pt x="25693" y="3874"/>
                </a:lnTo>
                <a:lnTo>
                  <a:pt x="25665" y="3858"/>
                </a:lnTo>
                <a:lnTo>
                  <a:pt x="25637" y="3841"/>
                </a:lnTo>
                <a:lnTo>
                  <a:pt x="25610" y="3824"/>
                </a:lnTo>
                <a:lnTo>
                  <a:pt x="25583" y="3806"/>
                </a:lnTo>
                <a:lnTo>
                  <a:pt x="25557" y="3788"/>
                </a:lnTo>
                <a:lnTo>
                  <a:pt x="25530" y="3769"/>
                </a:lnTo>
                <a:lnTo>
                  <a:pt x="25504" y="3749"/>
                </a:lnTo>
                <a:lnTo>
                  <a:pt x="25479" y="3728"/>
                </a:lnTo>
                <a:lnTo>
                  <a:pt x="25454" y="3707"/>
                </a:lnTo>
                <a:lnTo>
                  <a:pt x="25430" y="3685"/>
                </a:lnTo>
                <a:lnTo>
                  <a:pt x="25406" y="3662"/>
                </a:lnTo>
                <a:lnTo>
                  <a:pt x="25381" y="3639"/>
                </a:lnTo>
                <a:lnTo>
                  <a:pt x="25359" y="3614"/>
                </a:lnTo>
                <a:lnTo>
                  <a:pt x="25336" y="3589"/>
                </a:lnTo>
                <a:lnTo>
                  <a:pt x="25314" y="3564"/>
                </a:lnTo>
                <a:lnTo>
                  <a:pt x="25293" y="3538"/>
                </a:lnTo>
                <a:lnTo>
                  <a:pt x="25272" y="3511"/>
                </a:lnTo>
                <a:lnTo>
                  <a:pt x="25251" y="3483"/>
                </a:lnTo>
                <a:lnTo>
                  <a:pt x="25231" y="3455"/>
                </a:lnTo>
                <a:lnTo>
                  <a:pt x="25213" y="3426"/>
                </a:lnTo>
                <a:lnTo>
                  <a:pt x="25194" y="3396"/>
                </a:lnTo>
                <a:lnTo>
                  <a:pt x="25176" y="3366"/>
                </a:lnTo>
                <a:lnTo>
                  <a:pt x="25159" y="3334"/>
                </a:lnTo>
                <a:lnTo>
                  <a:pt x="25142" y="3303"/>
                </a:lnTo>
                <a:lnTo>
                  <a:pt x="25127" y="3270"/>
                </a:lnTo>
                <a:lnTo>
                  <a:pt x="25111" y="3238"/>
                </a:lnTo>
                <a:lnTo>
                  <a:pt x="25096" y="3204"/>
                </a:lnTo>
                <a:lnTo>
                  <a:pt x="25082" y="3170"/>
                </a:lnTo>
                <a:lnTo>
                  <a:pt x="25069" y="3135"/>
                </a:lnTo>
                <a:lnTo>
                  <a:pt x="25057" y="3099"/>
                </a:lnTo>
                <a:lnTo>
                  <a:pt x="25045" y="3063"/>
                </a:lnTo>
                <a:lnTo>
                  <a:pt x="25034" y="3026"/>
                </a:lnTo>
                <a:lnTo>
                  <a:pt x="25024" y="2988"/>
                </a:lnTo>
                <a:lnTo>
                  <a:pt x="25015" y="2950"/>
                </a:lnTo>
                <a:lnTo>
                  <a:pt x="25006" y="2911"/>
                </a:lnTo>
                <a:lnTo>
                  <a:pt x="24999" y="2872"/>
                </a:lnTo>
                <a:lnTo>
                  <a:pt x="24992" y="2832"/>
                </a:lnTo>
                <a:lnTo>
                  <a:pt x="24986" y="2791"/>
                </a:lnTo>
                <a:lnTo>
                  <a:pt x="24981" y="2749"/>
                </a:lnTo>
                <a:lnTo>
                  <a:pt x="24977" y="2707"/>
                </a:lnTo>
                <a:lnTo>
                  <a:pt x="24973" y="2665"/>
                </a:lnTo>
                <a:lnTo>
                  <a:pt x="24971" y="2621"/>
                </a:lnTo>
                <a:lnTo>
                  <a:pt x="24969" y="2577"/>
                </a:lnTo>
                <a:lnTo>
                  <a:pt x="24969" y="2533"/>
                </a:lnTo>
                <a:lnTo>
                  <a:pt x="24969" y="2533"/>
                </a:lnTo>
                <a:lnTo>
                  <a:pt x="24969" y="2489"/>
                </a:lnTo>
                <a:lnTo>
                  <a:pt x="24971" y="2445"/>
                </a:lnTo>
                <a:lnTo>
                  <a:pt x="24973" y="2401"/>
                </a:lnTo>
                <a:lnTo>
                  <a:pt x="24977" y="2359"/>
                </a:lnTo>
                <a:lnTo>
                  <a:pt x="24981" y="2317"/>
                </a:lnTo>
                <a:lnTo>
                  <a:pt x="24986" y="2275"/>
                </a:lnTo>
                <a:lnTo>
                  <a:pt x="24991" y="2234"/>
                </a:lnTo>
                <a:lnTo>
                  <a:pt x="24999" y="2194"/>
                </a:lnTo>
                <a:lnTo>
                  <a:pt x="25006" y="2154"/>
                </a:lnTo>
                <a:lnTo>
                  <a:pt x="25014" y="2115"/>
                </a:lnTo>
                <a:lnTo>
                  <a:pt x="25024" y="2077"/>
                </a:lnTo>
                <a:lnTo>
                  <a:pt x="25033" y="2040"/>
                </a:lnTo>
                <a:lnTo>
                  <a:pt x="25044" y="2003"/>
                </a:lnTo>
                <a:lnTo>
                  <a:pt x="25055" y="1966"/>
                </a:lnTo>
                <a:lnTo>
                  <a:pt x="25068" y="1930"/>
                </a:lnTo>
                <a:lnTo>
                  <a:pt x="25080" y="1896"/>
                </a:lnTo>
                <a:lnTo>
                  <a:pt x="25095" y="1861"/>
                </a:lnTo>
                <a:lnTo>
                  <a:pt x="25109" y="1828"/>
                </a:lnTo>
                <a:lnTo>
                  <a:pt x="25124" y="1794"/>
                </a:lnTo>
                <a:lnTo>
                  <a:pt x="25140" y="1763"/>
                </a:lnTo>
                <a:lnTo>
                  <a:pt x="25157" y="1730"/>
                </a:lnTo>
                <a:lnTo>
                  <a:pt x="25174" y="1700"/>
                </a:lnTo>
                <a:lnTo>
                  <a:pt x="25192" y="1669"/>
                </a:lnTo>
                <a:lnTo>
                  <a:pt x="25209" y="1640"/>
                </a:lnTo>
                <a:lnTo>
                  <a:pt x="25228" y="1610"/>
                </a:lnTo>
                <a:lnTo>
                  <a:pt x="25248" y="1582"/>
                </a:lnTo>
                <a:lnTo>
                  <a:pt x="25268" y="1555"/>
                </a:lnTo>
                <a:lnTo>
                  <a:pt x="25289" y="1528"/>
                </a:lnTo>
                <a:lnTo>
                  <a:pt x="25311" y="1501"/>
                </a:lnTo>
                <a:lnTo>
                  <a:pt x="25332" y="1476"/>
                </a:lnTo>
                <a:lnTo>
                  <a:pt x="25355" y="1451"/>
                </a:lnTo>
                <a:lnTo>
                  <a:pt x="25378" y="1427"/>
                </a:lnTo>
                <a:lnTo>
                  <a:pt x="25401" y="1404"/>
                </a:lnTo>
                <a:lnTo>
                  <a:pt x="25425" y="1381"/>
                </a:lnTo>
                <a:lnTo>
                  <a:pt x="25450" y="1359"/>
                </a:lnTo>
                <a:lnTo>
                  <a:pt x="25475" y="1337"/>
                </a:lnTo>
                <a:lnTo>
                  <a:pt x="25500" y="1317"/>
                </a:lnTo>
                <a:lnTo>
                  <a:pt x="25525" y="1297"/>
                </a:lnTo>
                <a:lnTo>
                  <a:pt x="25551" y="1278"/>
                </a:lnTo>
                <a:lnTo>
                  <a:pt x="25578" y="1259"/>
                </a:lnTo>
                <a:lnTo>
                  <a:pt x="25605" y="1241"/>
                </a:lnTo>
                <a:lnTo>
                  <a:pt x="25632" y="1224"/>
                </a:lnTo>
                <a:lnTo>
                  <a:pt x="25660" y="1208"/>
                </a:lnTo>
                <a:lnTo>
                  <a:pt x="25688" y="1192"/>
                </a:lnTo>
                <a:lnTo>
                  <a:pt x="25716" y="1177"/>
                </a:lnTo>
                <a:lnTo>
                  <a:pt x="25745" y="1164"/>
                </a:lnTo>
                <a:lnTo>
                  <a:pt x="25774" y="1150"/>
                </a:lnTo>
                <a:lnTo>
                  <a:pt x="25803" y="1137"/>
                </a:lnTo>
                <a:lnTo>
                  <a:pt x="25832" y="1126"/>
                </a:lnTo>
                <a:lnTo>
                  <a:pt x="25863" y="1114"/>
                </a:lnTo>
                <a:lnTo>
                  <a:pt x="25892" y="1104"/>
                </a:lnTo>
                <a:lnTo>
                  <a:pt x="25923" y="1094"/>
                </a:lnTo>
                <a:lnTo>
                  <a:pt x="25953" y="1085"/>
                </a:lnTo>
                <a:lnTo>
                  <a:pt x="25985" y="1078"/>
                </a:lnTo>
                <a:lnTo>
                  <a:pt x="26015" y="1070"/>
                </a:lnTo>
                <a:lnTo>
                  <a:pt x="26046" y="1063"/>
                </a:lnTo>
                <a:lnTo>
                  <a:pt x="26078" y="1058"/>
                </a:lnTo>
                <a:lnTo>
                  <a:pt x="26109" y="1052"/>
                </a:lnTo>
                <a:lnTo>
                  <a:pt x="26141" y="1048"/>
                </a:lnTo>
                <a:lnTo>
                  <a:pt x="26172" y="1045"/>
                </a:lnTo>
                <a:lnTo>
                  <a:pt x="26204" y="1042"/>
                </a:lnTo>
                <a:lnTo>
                  <a:pt x="26236" y="1040"/>
                </a:lnTo>
                <a:lnTo>
                  <a:pt x="26268" y="1039"/>
                </a:lnTo>
                <a:lnTo>
                  <a:pt x="26300" y="1039"/>
                </a:lnTo>
                <a:lnTo>
                  <a:pt x="26300" y="1039"/>
                </a:lnTo>
                <a:lnTo>
                  <a:pt x="26344" y="1039"/>
                </a:lnTo>
                <a:lnTo>
                  <a:pt x="26386" y="1041"/>
                </a:lnTo>
                <a:lnTo>
                  <a:pt x="26428" y="1044"/>
                </a:lnTo>
                <a:lnTo>
                  <a:pt x="26469" y="1049"/>
                </a:lnTo>
                <a:lnTo>
                  <a:pt x="26509" y="1055"/>
                </a:lnTo>
                <a:lnTo>
                  <a:pt x="26548" y="1062"/>
                </a:lnTo>
                <a:lnTo>
                  <a:pt x="26586" y="1070"/>
                </a:lnTo>
                <a:lnTo>
                  <a:pt x="26623" y="1080"/>
                </a:lnTo>
                <a:lnTo>
                  <a:pt x="26659" y="1090"/>
                </a:lnTo>
                <a:lnTo>
                  <a:pt x="26695" y="1102"/>
                </a:lnTo>
                <a:lnTo>
                  <a:pt x="26729" y="1114"/>
                </a:lnTo>
                <a:lnTo>
                  <a:pt x="26763" y="1128"/>
                </a:lnTo>
                <a:lnTo>
                  <a:pt x="26795" y="1143"/>
                </a:lnTo>
                <a:lnTo>
                  <a:pt x="26827" y="1157"/>
                </a:lnTo>
                <a:lnTo>
                  <a:pt x="26858" y="1174"/>
                </a:lnTo>
                <a:lnTo>
                  <a:pt x="26889" y="1191"/>
                </a:lnTo>
                <a:lnTo>
                  <a:pt x="26918" y="1209"/>
                </a:lnTo>
                <a:lnTo>
                  <a:pt x="26947" y="1228"/>
                </a:lnTo>
                <a:lnTo>
                  <a:pt x="26975" y="1246"/>
                </a:lnTo>
                <a:lnTo>
                  <a:pt x="27002" y="1266"/>
                </a:lnTo>
                <a:lnTo>
                  <a:pt x="27029" y="1287"/>
                </a:lnTo>
                <a:lnTo>
                  <a:pt x="27054" y="1308"/>
                </a:lnTo>
                <a:lnTo>
                  <a:pt x="27080" y="1329"/>
                </a:lnTo>
                <a:lnTo>
                  <a:pt x="27105" y="1352"/>
                </a:lnTo>
                <a:lnTo>
                  <a:pt x="27129" y="1374"/>
                </a:lnTo>
                <a:lnTo>
                  <a:pt x="27152" y="1398"/>
                </a:lnTo>
                <a:lnTo>
                  <a:pt x="27174" y="1422"/>
                </a:lnTo>
                <a:lnTo>
                  <a:pt x="27196" y="1445"/>
                </a:lnTo>
                <a:lnTo>
                  <a:pt x="27217" y="1469"/>
                </a:lnTo>
                <a:lnTo>
                  <a:pt x="27238" y="1494"/>
                </a:lnTo>
                <a:lnTo>
                  <a:pt x="27278" y="1543"/>
                </a:lnTo>
                <a:lnTo>
                  <a:pt x="27278" y="0"/>
                </a:lnTo>
                <a:lnTo>
                  <a:pt x="27935" y="0"/>
                </a:lnTo>
                <a:lnTo>
                  <a:pt x="27935" y="3968"/>
                </a:lnTo>
                <a:lnTo>
                  <a:pt x="27278" y="3968"/>
                </a:lnTo>
                <a:close/>
                <a:moveTo>
                  <a:pt x="26458" y="1608"/>
                </a:moveTo>
                <a:lnTo>
                  <a:pt x="26458" y="1608"/>
                </a:lnTo>
                <a:lnTo>
                  <a:pt x="26416" y="1609"/>
                </a:lnTo>
                <a:lnTo>
                  <a:pt x="26374" y="1613"/>
                </a:lnTo>
                <a:lnTo>
                  <a:pt x="26333" y="1618"/>
                </a:lnTo>
                <a:lnTo>
                  <a:pt x="26293" y="1624"/>
                </a:lnTo>
                <a:lnTo>
                  <a:pt x="26253" y="1634"/>
                </a:lnTo>
                <a:lnTo>
                  <a:pt x="26214" y="1644"/>
                </a:lnTo>
                <a:lnTo>
                  <a:pt x="26175" y="1658"/>
                </a:lnTo>
                <a:lnTo>
                  <a:pt x="26139" y="1672"/>
                </a:lnTo>
                <a:lnTo>
                  <a:pt x="26102" y="1688"/>
                </a:lnTo>
                <a:lnTo>
                  <a:pt x="26066" y="1707"/>
                </a:lnTo>
                <a:lnTo>
                  <a:pt x="26032" y="1727"/>
                </a:lnTo>
                <a:lnTo>
                  <a:pt x="25998" y="1749"/>
                </a:lnTo>
                <a:lnTo>
                  <a:pt x="25966" y="1773"/>
                </a:lnTo>
                <a:lnTo>
                  <a:pt x="25934" y="1798"/>
                </a:lnTo>
                <a:lnTo>
                  <a:pt x="25904" y="1826"/>
                </a:lnTo>
                <a:lnTo>
                  <a:pt x="25875" y="1855"/>
                </a:lnTo>
                <a:lnTo>
                  <a:pt x="25848" y="1885"/>
                </a:lnTo>
                <a:lnTo>
                  <a:pt x="25822" y="1918"/>
                </a:lnTo>
                <a:lnTo>
                  <a:pt x="25797" y="1951"/>
                </a:lnTo>
                <a:lnTo>
                  <a:pt x="25774" y="1987"/>
                </a:lnTo>
                <a:lnTo>
                  <a:pt x="25753" y="2024"/>
                </a:lnTo>
                <a:lnTo>
                  <a:pt x="25733" y="2063"/>
                </a:lnTo>
                <a:lnTo>
                  <a:pt x="25714" y="2104"/>
                </a:lnTo>
                <a:lnTo>
                  <a:pt x="25697" y="2146"/>
                </a:lnTo>
                <a:lnTo>
                  <a:pt x="25682" y="2189"/>
                </a:lnTo>
                <a:lnTo>
                  <a:pt x="25669" y="2234"/>
                </a:lnTo>
                <a:lnTo>
                  <a:pt x="25658" y="2280"/>
                </a:lnTo>
                <a:lnTo>
                  <a:pt x="25649" y="2328"/>
                </a:lnTo>
                <a:lnTo>
                  <a:pt x="25642" y="2376"/>
                </a:lnTo>
                <a:lnTo>
                  <a:pt x="25636" y="2428"/>
                </a:lnTo>
                <a:lnTo>
                  <a:pt x="25633" y="2479"/>
                </a:lnTo>
                <a:lnTo>
                  <a:pt x="25632" y="2533"/>
                </a:lnTo>
                <a:lnTo>
                  <a:pt x="25632" y="2533"/>
                </a:lnTo>
                <a:lnTo>
                  <a:pt x="25633" y="2585"/>
                </a:lnTo>
                <a:lnTo>
                  <a:pt x="25636" y="2637"/>
                </a:lnTo>
                <a:lnTo>
                  <a:pt x="25642" y="2686"/>
                </a:lnTo>
                <a:lnTo>
                  <a:pt x="25649" y="2735"/>
                </a:lnTo>
                <a:lnTo>
                  <a:pt x="25658" y="2782"/>
                </a:lnTo>
                <a:lnTo>
                  <a:pt x="25670" y="2828"/>
                </a:lnTo>
                <a:lnTo>
                  <a:pt x="25683" y="2873"/>
                </a:lnTo>
                <a:lnTo>
                  <a:pt x="25698" y="2916"/>
                </a:lnTo>
                <a:lnTo>
                  <a:pt x="25715" y="2958"/>
                </a:lnTo>
                <a:lnTo>
                  <a:pt x="25734" y="2998"/>
                </a:lnTo>
                <a:lnTo>
                  <a:pt x="25754" y="3036"/>
                </a:lnTo>
                <a:lnTo>
                  <a:pt x="25776" y="3073"/>
                </a:lnTo>
                <a:lnTo>
                  <a:pt x="25799" y="3109"/>
                </a:lnTo>
                <a:lnTo>
                  <a:pt x="25824" y="3143"/>
                </a:lnTo>
                <a:lnTo>
                  <a:pt x="25850" y="3176"/>
                </a:lnTo>
                <a:lnTo>
                  <a:pt x="25878" y="3206"/>
                </a:lnTo>
                <a:lnTo>
                  <a:pt x="25907" y="3236"/>
                </a:lnTo>
                <a:lnTo>
                  <a:pt x="25937" y="3263"/>
                </a:lnTo>
                <a:lnTo>
                  <a:pt x="25968" y="3289"/>
                </a:lnTo>
                <a:lnTo>
                  <a:pt x="26000" y="3313"/>
                </a:lnTo>
                <a:lnTo>
                  <a:pt x="26034" y="3335"/>
                </a:lnTo>
                <a:lnTo>
                  <a:pt x="26068" y="3356"/>
                </a:lnTo>
                <a:lnTo>
                  <a:pt x="26104" y="3374"/>
                </a:lnTo>
                <a:lnTo>
                  <a:pt x="26141" y="3392"/>
                </a:lnTo>
                <a:lnTo>
                  <a:pt x="26179" y="3407"/>
                </a:lnTo>
                <a:lnTo>
                  <a:pt x="26216" y="3419"/>
                </a:lnTo>
                <a:lnTo>
                  <a:pt x="26255" y="3431"/>
                </a:lnTo>
                <a:lnTo>
                  <a:pt x="26294" y="3440"/>
                </a:lnTo>
                <a:lnTo>
                  <a:pt x="26335" y="3447"/>
                </a:lnTo>
                <a:lnTo>
                  <a:pt x="26375" y="3452"/>
                </a:lnTo>
                <a:lnTo>
                  <a:pt x="26416" y="3455"/>
                </a:lnTo>
                <a:lnTo>
                  <a:pt x="26458" y="3456"/>
                </a:lnTo>
                <a:lnTo>
                  <a:pt x="26458" y="3456"/>
                </a:lnTo>
                <a:lnTo>
                  <a:pt x="26498" y="3455"/>
                </a:lnTo>
                <a:lnTo>
                  <a:pt x="26539" y="3452"/>
                </a:lnTo>
                <a:lnTo>
                  <a:pt x="26579" y="3447"/>
                </a:lnTo>
                <a:lnTo>
                  <a:pt x="26619" y="3439"/>
                </a:lnTo>
                <a:lnTo>
                  <a:pt x="26659" y="3430"/>
                </a:lnTo>
                <a:lnTo>
                  <a:pt x="26698" y="3419"/>
                </a:lnTo>
                <a:lnTo>
                  <a:pt x="26736" y="3406"/>
                </a:lnTo>
                <a:lnTo>
                  <a:pt x="26773" y="3391"/>
                </a:lnTo>
                <a:lnTo>
                  <a:pt x="26809" y="3373"/>
                </a:lnTo>
                <a:lnTo>
                  <a:pt x="26845" y="3355"/>
                </a:lnTo>
                <a:lnTo>
                  <a:pt x="26880" y="3334"/>
                </a:lnTo>
                <a:lnTo>
                  <a:pt x="26914" y="3311"/>
                </a:lnTo>
                <a:lnTo>
                  <a:pt x="26946" y="3287"/>
                </a:lnTo>
                <a:lnTo>
                  <a:pt x="26978" y="3261"/>
                </a:lnTo>
                <a:lnTo>
                  <a:pt x="27008" y="3234"/>
                </a:lnTo>
                <a:lnTo>
                  <a:pt x="27038" y="3204"/>
                </a:lnTo>
                <a:lnTo>
                  <a:pt x="27066" y="3174"/>
                </a:lnTo>
                <a:lnTo>
                  <a:pt x="27092" y="3141"/>
                </a:lnTo>
                <a:lnTo>
                  <a:pt x="27118" y="3107"/>
                </a:lnTo>
                <a:lnTo>
                  <a:pt x="27141" y="3071"/>
                </a:lnTo>
                <a:lnTo>
                  <a:pt x="27163" y="3033"/>
                </a:lnTo>
                <a:lnTo>
                  <a:pt x="27184" y="2994"/>
                </a:lnTo>
                <a:lnTo>
                  <a:pt x="27203" y="2954"/>
                </a:lnTo>
                <a:lnTo>
                  <a:pt x="27221" y="2914"/>
                </a:lnTo>
                <a:lnTo>
                  <a:pt x="27236" y="2871"/>
                </a:lnTo>
                <a:lnTo>
                  <a:pt x="27249" y="2825"/>
                </a:lnTo>
                <a:lnTo>
                  <a:pt x="27261" y="2780"/>
                </a:lnTo>
                <a:lnTo>
                  <a:pt x="27271" y="2733"/>
                </a:lnTo>
                <a:lnTo>
                  <a:pt x="27279" y="2685"/>
                </a:lnTo>
                <a:lnTo>
                  <a:pt x="27284" y="2636"/>
                </a:lnTo>
                <a:lnTo>
                  <a:pt x="27287" y="2584"/>
                </a:lnTo>
                <a:lnTo>
                  <a:pt x="27288" y="2533"/>
                </a:lnTo>
                <a:lnTo>
                  <a:pt x="27288" y="2533"/>
                </a:lnTo>
                <a:lnTo>
                  <a:pt x="27287" y="2481"/>
                </a:lnTo>
                <a:lnTo>
                  <a:pt x="27284" y="2430"/>
                </a:lnTo>
                <a:lnTo>
                  <a:pt x="27279" y="2381"/>
                </a:lnTo>
                <a:lnTo>
                  <a:pt x="27271" y="2332"/>
                </a:lnTo>
                <a:lnTo>
                  <a:pt x="27261" y="2285"/>
                </a:lnTo>
                <a:lnTo>
                  <a:pt x="27249" y="2239"/>
                </a:lnTo>
                <a:lnTo>
                  <a:pt x="27236" y="2195"/>
                </a:lnTo>
                <a:lnTo>
                  <a:pt x="27221" y="2152"/>
                </a:lnTo>
                <a:lnTo>
                  <a:pt x="27203" y="2110"/>
                </a:lnTo>
                <a:lnTo>
                  <a:pt x="27184" y="2070"/>
                </a:lnTo>
                <a:lnTo>
                  <a:pt x="27163" y="2031"/>
                </a:lnTo>
                <a:lnTo>
                  <a:pt x="27141" y="1994"/>
                </a:lnTo>
                <a:lnTo>
                  <a:pt x="27118" y="1959"/>
                </a:lnTo>
                <a:lnTo>
                  <a:pt x="27092" y="1924"/>
                </a:lnTo>
                <a:lnTo>
                  <a:pt x="27066" y="1892"/>
                </a:lnTo>
                <a:lnTo>
                  <a:pt x="27038" y="1860"/>
                </a:lnTo>
                <a:lnTo>
                  <a:pt x="27008" y="1831"/>
                </a:lnTo>
                <a:lnTo>
                  <a:pt x="26978" y="1804"/>
                </a:lnTo>
                <a:lnTo>
                  <a:pt x="26946" y="1777"/>
                </a:lnTo>
                <a:lnTo>
                  <a:pt x="26914" y="1753"/>
                </a:lnTo>
                <a:lnTo>
                  <a:pt x="26880" y="1731"/>
                </a:lnTo>
                <a:lnTo>
                  <a:pt x="26845" y="1710"/>
                </a:lnTo>
                <a:lnTo>
                  <a:pt x="26809" y="1691"/>
                </a:lnTo>
                <a:lnTo>
                  <a:pt x="26773" y="1674"/>
                </a:lnTo>
                <a:lnTo>
                  <a:pt x="26736" y="1659"/>
                </a:lnTo>
                <a:lnTo>
                  <a:pt x="26698" y="1646"/>
                </a:lnTo>
                <a:lnTo>
                  <a:pt x="26659" y="1635"/>
                </a:lnTo>
                <a:lnTo>
                  <a:pt x="26619" y="1625"/>
                </a:lnTo>
                <a:lnTo>
                  <a:pt x="26579" y="1618"/>
                </a:lnTo>
                <a:lnTo>
                  <a:pt x="26539" y="1613"/>
                </a:lnTo>
                <a:lnTo>
                  <a:pt x="26498" y="1609"/>
                </a:lnTo>
                <a:lnTo>
                  <a:pt x="26458" y="1608"/>
                </a:lnTo>
                <a:lnTo>
                  <a:pt x="26458" y="1608"/>
                </a:lnTo>
                <a:close/>
                <a:moveTo>
                  <a:pt x="28721" y="232"/>
                </a:moveTo>
                <a:lnTo>
                  <a:pt x="28721" y="232"/>
                </a:lnTo>
                <a:lnTo>
                  <a:pt x="28720" y="256"/>
                </a:lnTo>
                <a:lnTo>
                  <a:pt x="28717" y="279"/>
                </a:lnTo>
                <a:lnTo>
                  <a:pt x="28712" y="301"/>
                </a:lnTo>
                <a:lnTo>
                  <a:pt x="28703" y="322"/>
                </a:lnTo>
                <a:lnTo>
                  <a:pt x="28694" y="343"/>
                </a:lnTo>
                <a:lnTo>
                  <a:pt x="28682" y="362"/>
                </a:lnTo>
                <a:lnTo>
                  <a:pt x="28669" y="380"/>
                </a:lnTo>
                <a:lnTo>
                  <a:pt x="28654" y="397"/>
                </a:lnTo>
                <a:lnTo>
                  <a:pt x="28637" y="411"/>
                </a:lnTo>
                <a:lnTo>
                  <a:pt x="28619" y="425"/>
                </a:lnTo>
                <a:lnTo>
                  <a:pt x="28600" y="436"/>
                </a:lnTo>
                <a:lnTo>
                  <a:pt x="28580" y="446"/>
                </a:lnTo>
                <a:lnTo>
                  <a:pt x="28558" y="454"/>
                </a:lnTo>
                <a:lnTo>
                  <a:pt x="28536" y="460"/>
                </a:lnTo>
                <a:lnTo>
                  <a:pt x="28513" y="463"/>
                </a:lnTo>
                <a:lnTo>
                  <a:pt x="28490" y="465"/>
                </a:lnTo>
                <a:lnTo>
                  <a:pt x="28490" y="465"/>
                </a:lnTo>
                <a:lnTo>
                  <a:pt x="28466" y="463"/>
                </a:lnTo>
                <a:lnTo>
                  <a:pt x="28443" y="460"/>
                </a:lnTo>
                <a:lnTo>
                  <a:pt x="28421" y="454"/>
                </a:lnTo>
                <a:lnTo>
                  <a:pt x="28400" y="446"/>
                </a:lnTo>
                <a:lnTo>
                  <a:pt x="28379" y="436"/>
                </a:lnTo>
                <a:lnTo>
                  <a:pt x="28360" y="425"/>
                </a:lnTo>
                <a:lnTo>
                  <a:pt x="28342" y="411"/>
                </a:lnTo>
                <a:lnTo>
                  <a:pt x="28326" y="397"/>
                </a:lnTo>
                <a:lnTo>
                  <a:pt x="28311" y="380"/>
                </a:lnTo>
                <a:lnTo>
                  <a:pt x="28298" y="362"/>
                </a:lnTo>
                <a:lnTo>
                  <a:pt x="28286" y="343"/>
                </a:lnTo>
                <a:lnTo>
                  <a:pt x="28276" y="322"/>
                </a:lnTo>
                <a:lnTo>
                  <a:pt x="28269" y="301"/>
                </a:lnTo>
                <a:lnTo>
                  <a:pt x="28263" y="279"/>
                </a:lnTo>
                <a:lnTo>
                  <a:pt x="28260" y="256"/>
                </a:lnTo>
                <a:lnTo>
                  <a:pt x="28258" y="232"/>
                </a:lnTo>
                <a:lnTo>
                  <a:pt x="28258" y="232"/>
                </a:lnTo>
                <a:lnTo>
                  <a:pt x="28260" y="209"/>
                </a:lnTo>
                <a:lnTo>
                  <a:pt x="28263" y="186"/>
                </a:lnTo>
                <a:lnTo>
                  <a:pt x="28269" y="163"/>
                </a:lnTo>
                <a:lnTo>
                  <a:pt x="28276" y="142"/>
                </a:lnTo>
                <a:lnTo>
                  <a:pt x="28286" y="122"/>
                </a:lnTo>
                <a:lnTo>
                  <a:pt x="28298" y="103"/>
                </a:lnTo>
                <a:lnTo>
                  <a:pt x="28311" y="85"/>
                </a:lnTo>
                <a:lnTo>
                  <a:pt x="28326" y="68"/>
                </a:lnTo>
                <a:lnTo>
                  <a:pt x="28342" y="54"/>
                </a:lnTo>
                <a:lnTo>
                  <a:pt x="28360" y="40"/>
                </a:lnTo>
                <a:lnTo>
                  <a:pt x="28379" y="28"/>
                </a:lnTo>
                <a:lnTo>
                  <a:pt x="28400" y="19"/>
                </a:lnTo>
                <a:lnTo>
                  <a:pt x="28421" y="10"/>
                </a:lnTo>
                <a:lnTo>
                  <a:pt x="28443" y="5"/>
                </a:lnTo>
                <a:lnTo>
                  <a:pt x="28466" y="1"/>
                </a:lnTo>
                <a:lnTo>
                  <a:pt x="28490" y="0"/>
                </a:lnTo>
                <a:lnTo>
                  <a:pt x="28490" y="0"/>
                </a:lnTo>
                <a:lnTo>
                  <a:pt x="28513" y="1"/>
                </a:lnTo>
                <a:lnTo>
                  <a:pt x="28536" y="5"/>
                </a:lnTo>
                <a:lnTo>
                  <a:pt x="28558" y="10"/>
                </a:lnTo>
                <a:lnTo>
                  <a:pt x="28580" y="19"/>
                </a:lnTo>
                <a:lnTo>
                  <a:pt x="28600" y="28"/>
                </a:lnTo>
                <a:lnTo>
                  <a:pt x="28619" y="40"/>
                </a:lnTo>
                <a:lnTo>
                  <a:pt x="28637" y="54"/>
                </a:lnTo>
                <a:lnTo>
                  <a:pt x="28654" y="68"/>
                </a:lnTo>
                <a:lnTo>
                  <a:pt x="28669" y="85"/>
                </a:lnTo>
                <a:lnTo>
                  <a:pt x="28682" y="103"/>
                </a:lnTo>
                <a:lnTo>
                  <a:pt x="28694" y="122"/>
                </a:lnTo>
                <a:lnTo>
                  <a:pt x="28703" y="142"/>
                </a:lnTo>
                <a:lnTo>
                  <a:pt x="28712" y="163"/>
                </a:lnTo>
                <a:lnTo>
                  <a:pt x="28717" y="186"/>
                </a:lnTo>
                <a:lnTo>
                  <a:pt x="28720" y="209"/>
                </a:lnTo>
                <a:lnTo>
                  <a:pt x="28721" y="232"/>
                </a:lnTo>
                <a:lnTo>
                  <a:pt x="28721" y="232"/>
                </a:lnTo>
                <a:close/>
                <a:moveTo>
                  <a:pt x="28305" y="232"/>
                </a:moveTo>
                <a:lnTo>
                  <a:pt x="28305" y="232"/>
                </a:lnTo>
                <a:lnTo>
                  <a:pt x="28305" y="251"/>
                </a:lnTo>
                <a:lnTo>
                  <a:pt x="28308" y="270"/>
                </a:lnTo>
                <a:lnTo>
                  <a:pt x="28313" y="287"/>
                </a:lnTo>
                <a:lnTo>
                  <a:pt x="28319" y="305"/>
                </a:lnTo>
                <a:lnTo>
                  <a:pt x="28327" y="322"/>
                </a:lnTo>
                <a:lnTo>
                  <a:pt x="28336" y="337"/>
                </a:lnTo>
                <a:lnTo>
                  <a:pt x="28347" y="351"/>
                </a:lnTo>
                <a:lnTo>
                  <a:pt x="28359" y="365"/>
                </a:lnTo>
                <a:lnTo>
                  <a:pt x="28372" y="378"/>
                </a:lnTo>
                <a:lnTo>
                  <a:pt x="28386" y="388"/>
                </a:lnTo>
                <a:lnTo>
                  <a:pt x="28401" y="398"/>
                </a:lnTo>
                <a:lnTo>
                  <a:pt x="28418" y="406"/>
                </a:lnTo>
                <a:lnTo>
                  <a:pt x="28435" y="412"/>
                </a:lnTo>
                <a:lnTo>
                  <a:pt x="28452" y="417"/>
                </a:lnTo>
                <a:lnTo>
                  <a:pt x="28471" y="420"/>
                </a:lnTo>
                <a:lnTo>
                  <a:pt x="28490" y="421"/>
                </a:lnTo>
                <a:lnTo>
                  <a:pt x="28490" y="421"/>
                </a:lnTo>
                <a:lnTo>
                  <a:pt x="28509" y="420"/>
                </a:lnTo>
                <a:lnTo>
                  <a:pt x="28527" y="417"/>
                </a:lnTo>
                <a:lnTo>
                  <a:pt x="28545" y="412"/>
                </a:lnTo>
                <a:lnTo>
                  <a:pt x="28562" y="406"/>
                </a:lnTo>
                <a:lnTo>
                  <a:pt x="28578" y="398"/>
                </a:lnTo>
                <a:lnTo>
                  <a:pt x="28594" y="388"/>
                </a:lnTo>
                <a:lnTo>
                  <a:pt x="28608" y="378"/>
                </a:lnTo>
                <a:lnTo>
                  <a:pt x="28621" y="365"/>
                </a:lnTo>
                <a:lnTo>
                  <a:pt x="28633" y="351"/>
                </a:lnTo>
                <a:lnTo>
                  <a:pt x="28643" y="337"/>
                </a:lnTo>
                <a:lnTo>
                  <a:pt x="28653" y="322"/>
                </a:lnTo>
                <a:lnTo>
                  <a:pt x="28661" y="305"/>
                </a:lnTo>
                <a:lnTo>
                  <a:pt x="28668" y="287"/>
                </a:lnTo>
                <a:lnTo>
                  <a:pt x="28672" y="270"/>
                </a:lnTo>
                <a:lnTo>
                  <a:pt x="28675" y="251"/>
                </a:lnTo>
                <a:lnTo>
                  <a:pt x="28676" y="232"/>
                </a:lnTo>
                <a:lnTo>
                  <a:pt x="28676" y="232"/>
                </a:lnTo>
                <a:lnTo>
                  <a:pt x="28675" y="213"/>
                </a:lnTo>
                <a:lnTo>
                  <a:pt x="28672" y="194"/>
                </a:lnTo>
                <a:lnTo>
                  <a:pt x="28668" y="176"/>
                </a:lnTo>
                <a:lnTo>
                  <a:pt x="28661" y="158"/>
                </a:lnTo>
                <a:lnTo>
                  <a:pt x="28654" y="143"/>
                </a:lnTo>
                <a:lnTo>
                  <a:pt x="28644" y="127"/>
                </a:lnTo>
                <a:lnTo>
                  <a:pt x="28634" y="112"/>
                </a:lnTo>
                <a:lnTo>
                  <a:pt x="28621" y="99"/>
                </a:lnTo>
                <a:lnTo>
                  <a:pt x="28609" y="87"/>
                </a:lnTo>
                <a:lnTo>
                  <a:pt x="28594" y="77"/>
                </a:lnTo>
                <a:lnTo>
                  <a:pt x="28578" y="67"/>
                </a:lnTo>
                <a:lnTo>
                  <a:pt x="28563" y="59"/>
                </a:lnTo>
                <a:lnTo>
                  <a:pt x="28546" y="52"/>
                </a:lnTo>
                <a:lnTo>
                  <a:pt x="28528" y="48"/>
                </a:lnTo>
                <a:lnTo>
                  <a:pt x="28509" y="45"/>
                </a:lnTo>
                <a:lnTo>
                  <a:pt x="28490" y="44"/>
                </a:lnTo>
                <a:lnTo>
                  <a:pt x="28490" y="44"/>
                </a:lnTo>
                <a:lnTo>
                  <a:pt x="28470" y="45"/>
                </a:lnTo>
                <a:lnTo>
                  <a:pt x="28452" y="48"/>
                </a:lnTo>
                <a:lnTo>
                  <a:pt x="28435" y="52"/>
                </a:lnTo>
                <a:lnTo>
                  <a:pt x="28417" y="59"/>
                </a:lnTo>
                <a:lnTo>
                  <a:pt x="28401" y="67"/>
                </a:lnTo>
                <a:lnTo>
                  <a:pt x="28385" y="77"/>
                </a:lnTo>
                <a:lnTo>
                  <a:pt x="28372" y="87"/>
                </a:lnTo>
                <a:lnTo>
                  <a:pt x="28358" y="99"/>
                </a:lnTo>
                <a:lnTo>
                  <a:pt x="28347" y="112"/>
                </a:lnTo>
                <a:lnTo>
                  <a:pt x="28336" y="127"/>
                </a:lnTo>
                <a:lnTo>
                  <a:pt x="28327" y="143"/>
                </a:lnTo>
                <a:lnTo>
                  <a:pt x="28318" y="158"/>
                </a:lnTo>
                <a:lnTo>
                  <a:pt x="28312" y="176"/>
                </a:lnTo>
                <a:lnTo>
                  <a:pt x="28308" y="194"/>
                </a:lnTo>
                <a:lnTo>
                  <a:pt x="28305" y="213"/>
                </a:lnTo>
                <a:lnTo>
                  <a:pt x="28305" y="232"/>
                </a:lnTo>
                <a:lnTo>
                  <a:pt x="28305" y="232"/>
                </a:lnTo>
                <a:close/>
                <a:moveTo>
                  <a:pt x="28505" y="110"/>
                </a:moveTo>
                <a:lnTo>
                  <a:pt x="28505" y="110"/>
                </a:lnTo>
                <a:lnTo>
                  <a:pt x="28527" y="111"/>
                </a:lnTo>
                <a:lnTo>
                  <a:pt x="28536" y="112"/>
                </a:lnTo>
                <a:lnTo>
                  <a:pt x="28545" y="114"/>
                </a:lnTo>
                <a:lnTo>
                  <a:pt x="28553" y="116"/>
                </a:lnTo>
                <a:lnTo>
                  <a:pt x="28559" y="120"/>
                </a:lnTo>
                <a:lnTo>
                  <a:pt x="28567" y="124"/>
                </a:lnTo>
                <a:lnTo>
                  <a:pt x="28572" y="128"/>
                </a:lnTo>
                <a:lnTo>
                  <a:pt x="28577" y="132"/>
                </a:lnTo>
                <a:lnTo>
                  <a:pt x="28582" y="137"/>
                </a:lnTo>
                <a:lnTo>
                  <a:pt x="28586" y="144"/>
                </a:lnTo>
                <a:lnTo>
                  <a:pt x="28588" y="151"/>
                </a:lnTo>
                <a:lnTo>
                  <a:pt x="28591" y="158"/>
                </a:lnTo>
                <a:lnTo>
                  <a:pt x="28592" y="166"/>
                </a:lnTo>
                <a:lnTo>
                  <a:pt x="28593" y="175"/>
                </a:lnTo>
                <a:lnTo>
                  <a:pt x="28593" y="185"/>
                </a:lnTo>
                <a:lnTo>
                  <a:pt x="28593" y="185"/>
                </a:lnTo>
                <a:lnTo>
                  <a:pt x="28593" y="193"/>
                </a:lnTo>
                <a:lnTo>
                  <a:pt x="28592" y="200"/>
                </a:lnTo>
                <a:lnTo>
                  <a:pt x="28590" y="208"/>
                </a:lnTo>
                <a:lnTo>
                  <a:pt x="28587" y="215"/>
                </a:lnTo>
                <a:lnTo>
                  <a:pt x="28584" y="221"/>
                </a:lnTo>
                <a:lnTo>
                  <a:pt x="28578" y="227"/>
                </a:lnTo>
                <a:lnTo>
                  <a:pt x="28573" y="233"/>
                </a:lnTo>
                <a:lnTo>
                  <a:pt x="28566" y="238"/>
                </a:lnTo>
                <a:lnTo>
                  <a:pt x="28566" y="238"/>
                </a:lnTo>
                <a:lnTo>
                  <a:pt x="28572" y="242"/>
                </a:lnTo>
                <a:lnTo>
                  <a:pt x="28577" y="247"/>
                </a:lnTo>
                <a:lnTo>
                  <a:pt x="28582" y="251"/>
                </a:lnTo>
                <a:lnTo>
                  <a:pt x="28584" y="257"/>
                </a:lnTo>
                <a:lnTo>
                  <a:pt x="28586" y="264"/>
                </a:lnTo>
                <a:lnTo>
                  <a:pt x="28587" y="274"/>
                </a:lnTo>
                <a:lnTo>
                  <a:pt x="28589" y="301"/>
                </a:lnTo>
                <a:lnTo>
                  <a:pt x="28589" y="301"/>
                </a:lnTo>
                <a:lnTo>
                  <a:pt x="28590" y="327"/>
                </a:lnTo>
                <a:lnTo>
                  <a:pt x="28591" y="336"/>
                </a:lnTo>
                <a:lnTo>
                  <a:pt x="28593" y="342"/>
                </a:lnTo>
                <a:lnTo>
                  <a:pt x="28595" y="346"/>
                </a:lnTo>
                <a:lnTo>
                  <a:pt x="28597" y="349"/>
                </a:lnTo>
                <a:lnTo>
                  <a:pt x="28607" y="357"/>
                </a:lnTo>
                <a:lnTo>
                  <a:pt x="28538" y="357"/>
                </a:lnTo>
                <a:lnTo>
                  <a:pt x="28538" y="357"/>
                </a:lnTo>
                <a:lnTo>
                  <a:pt x="28534" y="347"/>
                </a:lnTo>
                <a:lnTo>
                  <a:pt x="28532" y="339"/>
                </a:lnTo>
                <a:lnTo>
                  <a:pt x="28531" y="328"/>
                </a:lnTo>
                <a:lnTo>
                  <a:pt x="28530" y="315"/>
                </a:lnTo>
                <a:lnTo>
                  <a:pt x="28530" y="315"/>
                </a:lnTo>
                <a:lnTo>
                  <a:pt x="28530" y="298"/>
                </a:lnTo>
                <a:lnTo>
                  <a:pt x="28529" y="285"/>
                </a:lnTo>
                <a:lnTo>
                  <a:pt x="28527" y="277"/>
                </a:lnTo>
                <a:lnTo>
                  <a:pt x="28525" y="270"/>
                </a:lnTo>
                <a:lnTo>
                  <a:pt x="28523" y="268"/>
                </a:lnTo>
                <a:lnTo>
                  <a:pt x="28520" y="266"/>
                </a:lnTo>
                <a:lnTo>
                  <a:pt x="28514" y="263"/>
                </a:lnTo>
                <a:lnTo>
                  <a:pt x="28506" y="262"/>
                </a:lnTo>
                <a:lnTo>
                  <a:pt x="28494" y="262"/>
                </a:lnTo>
                <a:lnTo>
                  <a:pt x="28454" y="262"/>
                </a:lnTo>
                <a:lnTo>
                  <a:pt x="28454" y="357"/>
                </a:lnTo>
                <a:lnTo>
                  <a:pt x="28396" y="357"/>
                </a:lnTo>
                <a:lnTo>
                  <a:pt x="28396" y="110"/>
                </a:lnTo>
                <a:lnTo>
                  <a:pt x="28505" y="110"/>
                </a:lnTo>
                <a:close/>
                <a:moveTo>
                  <a:pt x="28454" y="214"/>
                </a:moveTo>
                <a:lnTo>
                  <a:pt x="28495" y="214"/>
                </a:lnTo>
                <a:lnTo>
                  <a:pt x="28495" y="214"/>
                </a:lnTo>
                <a:lnTo>
                  <a:pt x="28507" y="214"/>
                </a:lnTo>
                <a:lnTo>
                  <a:pt x="28515" y="213"/>
                </a:lnTo>
                <a:lnTo>
                  <a:pt x="28522" y="211"/>
                </a:lnTo>
                <a:lnTo>
                  <a:pt x="28527" y="209"/>
                </a:lnTo>
                <a:lnTo>
                  <a:pt x="28531" y="205"/>
                </a:lnTo>
                <a:lnTo>
                  <a:pt x="28534" y="200"/>
                </a:lnTo>
                <a:lnTo>
                  <a:pt x="28535" y="194"/>
                </a:lnTo>
                <a:lnTo>
                  <a:pt x="28535" y="188"/>
                </a:lnTo>
                <a:lnTo>
                  <a:pt x="28535" y="188"/>
                </a:lnTo>
                <a:lnTo>
                  <a:pt x="28535" y="180"/>
                </a:lnTo>
                <a:lnTo>
                  <a:pt x="28534" y="174"/>
                </a:lnTo>
                <a:lnTo>
                  <a:pt x="28531" y="170"/>
                </a:lnTo>
                <a:lnTo>
                  <a:pt x="28528" y="166"/>
                </a:lnTo>
                <a:lnTo>
                  <a:pt x="28523" y="164"/>
                </a:lnTo>
                <a:lnTo>
                  <a:pt x="28515" y="163"/>
                </a:lnTo>
                <a:lnTo>
                  <a:pt x="28507" y="162"/>
                </a:lnTo>
                <a:lnTo>
                  <a:pt x="28495" y="161"/>
                </a:lnTo>
                <a:lnTo>
                  <a:pt x="28454" y="161"/>
                </a:lnTo>
                <a:lnTo>
                  <a:pt x="28454" y="214"/>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5" descr="Campus Labs logo">
            <a:extLst>
              <a:ext uri="{FF2B5EF4-FFF2-40B4-BE49-F238E27FC236}">
                <a16:creationId xmlns:a16="http://schemas.microsoft.com/office/drawing/2014/main" id="{019B3C8C-C4E5-49F4-9AFE-37F4CFC8A4A8}"/>
              </a:ext>
            </a:extLst>
          </p:cNvPr>
          <p:cNvSpPr>
            <a:spLocks noChangeAspect="1" noEditPoints="1"/>
          </p:cNvSpPr>
          <p:nvPr/>
        </p:nvSpPr>
        <p:spPr bwMode="auto">
          <a:xfrm>
            <a:off x="3382277" y="5144454"/>
            <a:ext cx="2501819" cy="419576"/>
          </a:xfrm>
          <a:custGeom>
            <a:avLst/>
            <a:gdLst>
              <a:gd name="T0" fmla="*/ 14301 w 15360"/>
              <a:gd name="T1" fmla="*/ 785 h 2576"/>
              <a:gd name="T2" fmla="*/ 14639 w 15360"/>
              <a:gd name="T3" fmla="*/ 40 h 2576"/>
              <a:gd name="T4" fmla="*/ 14121 w 15360"/>
              <a:gd name="T5" fmla="*/ 687 h 2576"/>
              <a:gd name="T6" fmla="*/ 13602 w 15360"/>
              <a:gd name="T7" fmla="*/ 127 h 2576"/>
              <a:gd name="T8" fmla="*/ 13131 w 15360"/>
              <a:gd name="T9" fmla="*/ 519 h 2576"/>
              <a:gd name="T10" fmla="*/ 13048 w 15360"/>
              <a:gd name="T11" fmla="*/ 1125 h 2576"/>
              <a:gd name="T12" fmla="*/ 12515 w 15360"/>
              <a:gd name="T13" fmla="*/ 1435 h 2576"/>
              <a:gd name="T14" fmla="*/ 13341 w 15360"/>
              <a:gd name="T15" fmla="*/ 1545 h 2576"/>
              <a:gd name="T16" fmla="*/ 13050 w 15360"/>
              <a:gd name="T17" fmla="*/ 2319 h 2576"/>
              <a:gd name="T18" fmla="*/ 13653 w 15360"/>
              <a:gd name="T19" fmla="*/ 2202 h 2576"/>
              <a:gd name="T20" fmla="*/ 14179 w 15360"/>
              <a:gd name="T21" fmla="*/ 2234 h 2576"/>
              <a:gd name="T22" fmla="*/ 14791 w 15360"/>
              <a:gd name="T23" fmla="*/ 2290 h 2576"/>
              <a:gd name="T24" fmla="*/ 14507 w 15360"/>
              <a:gd name="T25" fmla="*/ 1521 h 2576"/>
              <a:gd name="T26" fmla="*/ 15335 w 15360"/>
              <a:gd name="T27" fmla="*/ 1407 h 2576"/>
              <a:gd name="T28" fmla="*/ 13729 w 15360"/>
              <a:gd name="T29" fmla="*/ 1679 h 2576"/>
              <a:gd name="T30" fmla="*/ 13919 w 15360"/>
              <a:gd name="T31" fmla="*/ 852 h 2576"/>
              <a:gd name="T32" fmla="*/ 14350 w 15360"/>
              <a:gd name="T33" fmla="*/ 1223 h 2576"/>
              <a:gd name="T34" fmla="*/ 11699 w 15360"/>
              <a:gd name="T35" fmla="*/ 803 h 2576"/>
              <a:gd name="T36" fmla="*/ 11644 w 15360"/>
              <a:gd name="T37" fmla="*/ 622 h 2576"/>
              <a:gd name="T38" fmla="*/ 11675 w 15360"/>
              <a:gd name="T39" fmla="*/ 711 h 2576"/>
              <a:gd name="T40" fmla="*/ 272 w 15360"/>
              <a:gd name="T41" fmla="*/ 1498 h 2576"/>
              <a:gd name="T42" fmla="*/ 905 w 15360"/>
              <a:gd name="T43" fmla="*/ 1905 h 2576"/>
              <a:gd name="T44" fmla="*/ 27 w 15360"/>
              <a:gd name="T45" fmla="*/ 1530 h 2576"/>
              <a:gd name="T46" fmla="*/ 525 w 15360"/>
              <a:gd name="T47" fmla="*/ 707 h 2576"/>
              <a:gd name="T48" fmla="*/ 617 w 15360"/>
              <a:gd name="T49" fmla="*/ 915 h 2576"/>
              <a:gd name="T50" fmla="*/ 3862 w 15360"/>
              <a:gd name="T51" fmla="*/ 1018 h 2576"/>
              <a:gd name="T52" fmla="*/ 3071 w 15360"/>
              <a:gd name="T53" fmla="*/ 1022 h 2576"/>
              <a:gd name="T54" fmla="*/ 2539 w 15360"/>
              <a:gd name="T55" fmla="*/ 917 h 2576"/>
              <a:gd name="T56" fmla="*/ 3333 w 15360"/>
              <a:gd name="T57" fmla="*/ 870 h 2576"/>
              <a:gd name="T58" fmla="*/ 4105 w 15360"/>
              <a:gd name="T59" fmla="*/ 988 h 2576"/>
              <a:gd name="T60" fmla="*/ 5054 w 15360"/>
              <a:gd name="T61" fmla="*/ 1948 h 2576"/>
              <a:gd name="T62" fmla="*/ 5262 w 15360"/>
              <a:gd name="T63" fmla="*/ 1498 h 2576"/>
              <a:gd name="T64" fmla="*/ 4507 w 15360"/>
              <a:gd name="T65" fmla="*/ 1241 h 2576"/>
              <a:gd name="T66" fmla="*/ 5229 w 15360"/>
              <a:gd name="T67" fmla="*/ 772 h 2576"/>
              <a:gd name="T68" fmla="*/ 6330 w 15360"/>
              <a:gd name="T69" fmla="*/ 1869 h 2576"/>
              <a:gd name="T70" fmla="*/ 5600 w 15360"/>
              <a:gd name="T71" fmla="*/ 1532 h 2576"/>
              <a:gd name="T72" fmla="*/ 6428 w 15360"/>
              <a:gd name="T73" fmla="*/ 1444 h 2576"/>
              <a:gd name="T74" fmla="*/ 7011 w 15360"/>
              <a:gd name="T75" fmla="*/ 1936 h 2576"/>
              <a:gd name="T76" fmla="*/ 7422 w 15360"/>
              <a:gd name="T77" fmla="*/ 1677 h 2576"/>
              <a:gd name="T78" fmla="*/ 6797 w 15360"/>
              <a:gd name="T79" fmla="*/ 1069 h 2576"/>
              <a:gd name="T80" fmla="*/ 7565 w 15360"/>
              <a:gd name="T81" fmla="*/ 787 h 2576"/>
              <a:gd name="T82" fmla="*/ 7042 w 15360"/>
              <a:gd name="T83" fmla="*/ 1046 h 2576"/>
              <a:gd name="T84" fmla="*/ 8038 w 15360"/>
              <a:gd name="T85" fmla="*/ 1930 h 2576"/>
              <a:gd name="T86" fmla="*/ 8403 w 15360"/>
              <a:gd name="T87" fmla="*/ 1706 h 2576"/>
              <a:gd name="T88" fmla="*/ 8320 w 15360"/>
              <a:gd name="T89" fmla="*/ 1908 h 2576"/>
              <a:gd name="T90" fmla="*/ 8481 w 15360"/>
              <a:gd name="T91" fmla="*/ 1219 h 2576"/>
              <a:gd name="T92" fmla="*/ 8367 w 15360"/>
              <a:gd name="T93" fmla="*/ 993 h 2576"/>
              <a:gd name="T94" fmla="*/ 9057 w 15360"/>
              <a:gd name="T95" fmla="*/ 821 h 2576"/>
              <a:gd name="T96" fmla="*/ 10272 w 15360"/>
              <a:gd name="T97" fmla="*/ 1899 h 2576"/>
              <a:gd name="T98" fmla="*/ 10227 w 15360"/>
              <a:gd name="T99" fmla="*/ 1657 h 2576"/>
              <a:gd name="T100" fmla="*/ 9651 w 15360"/>
              <a:gd name="T101" fmla="*/ 1058 h 2576"/>
              <a:gd name="T102" fmla="*/ 10154 w 15360"/>
              <a:gd name="T103" fmla="*/ 716 h 2576"/>
              <a:gd name="T104" fmla="*/ 11552 w 15360"/>
              <a:gd name="T105" fmla="*/ 1719 h 2576"/>
              <a:gd name="T106" fmla="*/ 10797 w 15360"/>
              <a:gd name="T107" fmla="*/ 1605 h 2576"/>
              <a:gd name="T108" fmla="*/ 11313 w 15360"/>
              <a:gd name="T109" fmla="*/ 1530 h 2576"/>
              <a:gd name="T110" fmla="*/ 10737 w 15360"/>
              <a:gd name="T111" fmla="*/ 872 h 2576"/>
              <a:gd name="T112" fmla="*/ 11266 w 15360"/>
              <a:gd name="T113" fmla="*/ 946 h 2576"/>
              <a:gd name="T114" fmla="*/ 11011 w 15360"/>
              <a:gd name="T115" fmla="*/ 1176 h 2576"/>
              <a:gd name="T116" fmla="*/ 1550 w 15360"/>
              <a:gd name="T117" fmla="*/ 1384 h 2576"/>
              <a:gd name="T118" fmla="*/ 1688 w 15360"/>
              <a:gd name="T119" fmla="*/ 1773 h 2576"/>
              <a:gd name="T120" fmla="*/ 1126 w 15360"/>
              <a:gd name="T121" fmla="*/ 1601 h 2576"/>
              <a:gd name="T122" fmla="*/ 1918 w 15360"/>
              <a:gd name="T123" fmla="*/ 1000 h 2576"/>
              <a:gd name="T124" fmla="*/ 1506 w 15360"/>
              <a:gd name="T125" fmla="*/ 715 h 25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360" h="2576">
                <a:moveTo>
                  <a:pt x="15050" y="979"/>
                </a:moveTo>
                <a:lnTo>
                  <a:pt x="15050" y="979"/>
                </a:lnTo>
                <a:lnTo>
                  <a:pt x="15025" y="980"/>
                </a:lnTo>
                <a:lnTo>
                  <a:pt x="15000" y="982"/>
                </a:lnTo>
                <a:lnTo>
                  <a:pt x="14976" y="988"/>
                </a:lnTo>
                <a:lnTo>
                  <a:pt x="14953" y="995"/>
                </a:lnTo>
                <a:lnTo>
                  <a:pt x="14931" y="1004"/>
                </a:lnTo>
                <a:lnTo>
                  <a:pt x="14909" y="1013"/>
                </a:lnTo>
                <a:lnTo>
                  <a:pt x="14889" y="1026"/>
                </a:lnTo>
                <a:lnTo>
                  <a:pt x="14869" y="1038"/>
                </a:lnTo>
                <a:lnTo>
                  <a:pt x="14851" y="1053"/>
                </a:lnTo>
                <a:lnTo>
                  <a:pt x="14833" y="1069"/>
                </a:lnTo>
                <a:lnTo>
                  <a:pt x="14817" y="1087"/>
                </a:lnTo>
                <a:lnTo>
                  <a:pt x="14802" y="1105"/>
                </a:lnTo>
                <a:lnTo>
                  <a:pt x="14790" y="1125"/>
                </a:lnTo>
                <a:lnTo>
                  <a:pt x="14777" y="1147"/>
                </a:lnTo>
                <a:lnTo>
                  <a:pt x="14768" y="1169"/>
                </a:lnTo>
                <a:lnTo>
                  <a:pt x="14759" y="1190"/>
                </a:lnTo>
                <a:lnTo>
                  <a:pt x="14543" y="1190"/>
                </a:lnTo>
                <a:lnTo>
                  <a:pt x="14543" y="1190"/>
                </a:lnTo>
                <a:lnTo>
                  <a:pt x="14538" y="1160"/>
                </a:lnTo>
                <a:lnTo>
                  <a:pt x="14531" y="1131"/>
                </a:lnTo>
                <a:lnTo>
                  <a:pt x="14523" y="1100"/>
                </a:lnTo>
                <a:lnTo>
                  <a:pt x="14513" y="1071"/>
                </a:lnTo>
                <a:lnTo>
                  <a:pt x="14502" y="1042"/>
                </a:lnTo>
                <a:lnTo>
                  <a:pt x="14489" y="1015"/>
                </a:lnTo>
                <a:lnTo>
                  <a:pt x="14476" y="988"/>
                </a:lnTo>
                <a:lnTo>
                  <a:pt x="14462" y="962"/>
                </a:lnTo>
                <a:lnTo>
                  <a:pt x="14446" y="937"/>
                </a:lnTo>
                <a:lnTo>
                  <a:pt x="14427" y="912"/>
                </a:lnTo>
                <a:lnTo>
                  <a:pt x="14409" y="888"/>
                </a:lnTo>
                <a:lnTo>
                  <a:pt x="14389" y="867"/>
                </a:lnTo>
                <a:lnTo>
                  <a:pt x="14370" y="843"/>
                </a:lnTo>
                <a:lnTo>
                  <a:pt x="14348" y="823"/>
                </a:lnTo>
                <a:lnTo>
                  <a:pt x="14324" y="803"/>
                </a:lnTo>
                <a:lnTo>
                  <a:pt x="14301" y="785"/>
                </a:lnTo>
                <a:lnTo>
                  <a:pt x="14406" y="602"/>
                </a:lnTo>
                <a:lnTo>
                  <a:pt x="14406" y="602"/>
                </a:lnTo>
                <a:lnTo>
                  <a:pt x="14431" y="608"/>
                </a:lnTo>
                <a:lnTo>
                  <a:pt x="14455" y="611"/>
                </a:lnTo>
                <a:lnTo>
                  <a:pt x="14480" y="613"/>
                </a:lnTo>
                <a:lnTo>
                  <a:pt x="14505" y="613"/>
                </a:lnTo>
                <a:lnTo>
                  <a:pt x="14529" y="610"/>
                </a:lnTo>
                <a:lnTo>
                  <a:pt x="14554" y="606"/>
                </a:lnTo>
                <a:lnTo>
                  <a:pt x="14578" y="599"/>
                </a:lnTo>
                <a:lnTo>
                  <a:pt x="14601" y="592"/>
                </a:lnTo>
                <a:lnTo>
                  <a:pt x="14623" y="581"/>
                </a:lnTo>
                <a:lnTo>
                  <a:pt x="14645" y="568"/>
                </a:lnTo>
                <a:lnTo>
                  <a:pt x="14667" y="555"/>
                </a:lnTo>
                <a:lnTo>
                  <a:pt x="14685" y="539"/>
                </a:lnTo>
                <a:lnTo>
                  <a:pt x="14705" y="521"/>
                </a:lnTo>
                <a:lnTo>
                  <a:pt x="14721" y="503"/>
                </a:lnTo>
                <a:lnTo>
                  <a:pt x="14737" y="481"/>
                </a:lnTo>
                <a:lnTo>
                  <a:pt x="14752" y="459"/>
                </a:lnTo>
                <a:lnTo>
                  <a:pt x="14752" y="459"/>
                </a:lnTo>
                <a:lnTo>
                  <a:pt x="14766" y="432"/>
                </a:lnTo>
                <a:lnTo>
                  <a:pt x="14777" y="403"/>
                </a:lnTo>
                <a:lnTo>
                  <a:pt x="14784" y="374"/>
                </a:lnTo>
                <a:lnTo>
                  <a:pt x="14790" y="346"/>
                </a:lnTo>
                <a:lnTo>
                  <a:pt x="14793" y="315"/>
                </a:lnTo>
                <a:lnTo>
                  <a:pt x="14791" y="286"/>
                </a:lnTo>
                <a:lnTo>
                  <a:pt x="14788" y="255"/>
                </a:lnTo>
                <a:lnTo>
                  <a:pt x="14782" y="228"/>
                </a:lnTo>
                <a:lnTo>
                  <a:pt x="14773" y="199"/>
                </a:lnTo>
                <a:lnTo>
                  <a:pt x="14762" y="172"/>
                </a:lnTo>
                <a:lnTo>
                  <a:pt x="14748" y="147"/>
                </a:lnTo>
                <a:lnTo>
                  <a:pt x="14730" y="121"/>
                </a:lnTo>
                <a:lnTo>
                  <a:pt x="14712" y="98"/>
                </a:lnTo>
                <a:lnTo>
                  <a:pt x="14690" y="76"/>
                </a:lnTo>
                <a:lnTo>
                  <a:pt x="14665" y="58"/>
                </a:lnTo>
                <a:lnTo>
                  <a:pt x="14639" y="40"/>
                </a:lnTo>
                <a:lnTo>
                  <a:pt x="14639" y="40"/>
                </a:lnTo>
                <a:lnTo>
                  <a:pt x="14610" y="27"/>
                </a:lnTo>
                <a:lnTo>
                  <a:pt x="14583" y="16"/>
                </a:lnTo>
                <a:lnTo>
                  <a:pt x="14552" y="7"/>
                </a:lnTo>
                <a:lnTo>
                  <a:pt x="14523" y="2"/>
                </a:lnTo>
                <a:lnTo>
                  <a:pt x="14494" y="0"/>
                </a:lnTo>
                <a:lnTo>
                  <a:pt x="14464" y="2"/>
                </a:lnTo>
                <a:lnTo>
                  <a:pt x="14435" y="4"/>
                </a:lnTo>
                <a:lnTo>
                  <a:pt x="14406" y="11"/>
                </a:lnTo>
                <a:lnTo>
                  <a:pt x="14379" y="20"/>
                </a:lnTo>
                <a:lnTo>
                  <a:pt x="14351" y="31"/>
                </a:lnTo>
                <a:lnTo>
                  <a:pt x="14324" y="45"/>
                </a:lnTo>
                <a:lnTo>
                  <a:pt x="14301" y="62"/>
                </a:lnTo>
                <a:lnTo>
                  <a:pt x="14277" y="80"/>
                </a:lnTo>
                <a:lnTo>
                  <a:pt x="14255" y="101"/>
                </a:lnTo>
                <a:lnTo>
                  <a:pt x="14237" y="127"/>
                </a:lnTo>
                <a:lnTo>
                  <a:pt x="14219" y="154"/>
                </a:lnTo>
                <a:lnTo>
                  <a:pt x="14219" y="154"/>
                </a:lnTo>
                <a:lnTo>
                  <a:pt x="14208" y="175"/>
                </a:lnTo>
                <a:lnTo>
                  <a:pt x="14198" y="199"/>
                </a:lnTo>
                <a:lnTo>
                  <a:pt x="14190" y="221"/>
                </a:lnTo>
                <a:lnTo>
                  <a:pt x="14185" y="244"/>
                </a:lnTo>
                <a:lnTo>
                  <a:pt x="14179" y="268"/>
                </a:lnTo>
                <a:lnTo>
                  <a:pt x="14178" y="293"/>
                </a:lnTo>
                <a:lnTo>
                  <a:pt x="14178" y="317"/>
                </a:lnTo>
                <a:lnTo>
                  <a:pt x="14179" y="340"/>
                </a:lnTo>
                <a:lnTo>
                  <a:pt x="14183" y="364"/>
                </a:lnTo>
                <a:lnTo>
                  <a:pt x="14188" y="385"/>
                </a:lnTo>
                <a:lnTo>
                  <a:pt x="14196" y="409"/>
                </a:lnTo>
                <a:lnTo>
                  <a:pt x="14205" y="431"/>
                </a:lnTo>
                <a:lnTo>
                  <a:pt x="14214" y="452"/>
                </a:lnTo>
                <a:lnTo>
                  <a:pt x="14227" y="472"/>
                </a:lnTo>
                <a:lnTo>
                  <a:pt x="14241" y="492"/>
                </a:lnTo>
                <a:lnTo>
                  <a:pt x="14255" y="510"/>
                </a:lnTo>
                <a:lnTo>
                  <a:pt x="14149" y="698"/>
                </a:lnTo>
                <a:lnTo>
                  <a:pt x="14149" y="698"/>
                </a:lnTo>
                <a:lnTo>
                  <a:pt x="14121" y="687"/>
                </a:lnTo>
                <a:lnTo>
                  <a:pt x="14093" y="678"/>
                </a:lnTo>
                <a:lnTo>
                  <a:pt x="14065" y="671"/>
                </a:lnTo>
                <a:lnTo>
                  <a:pt x="14036" y="666"/>
                </a:lnTo>
                <a:lnTo>
                  <a:pt x="14007" y="660"/>
                </a:lnTo>
                <a:lnTo>
                  <a:pt x="13978" y="657"/>
                </a:lnTo>
                <a:lnTo>
                  <a:pt x="13948" y="655"/>
                </a:lnTo>
                <a:lnTo>
                  <a:pt x="13919" y="655"/>
                </a:lnTo>
                <a:lnTo>
                  <a:pt x="13919" y="655"/>
                </a:lnTo>
                <a:lnTo>
                  <a:pt x="13886" y="655"/>
                </a:lnTo>
                <a:lnTo>
                  <a:pt x="13854" y="657"/>
                </a:lnTo>
                <a:lnTo>
                  <a:pt x="13823" y="662"/>
                </a:lnTo>
                <a:lnTo>
                  <a:pt x="13792" y="668"/>
                </a:lnTo>
                <a:lnTo>
                  <a:pt x="13761" y="675"/>
                </a:lnTo>
                <a:lnTo>
                  <a:pt x="13730" y="684"/>
                </a:lnTo>
                <a:lnTo>
                  <a:pt x="13701" y="693"/>
                </a:lnTo>
                <a:lnTo>
                  <a:pt x="13672" y="706"/>
                </a:lnTo>
                <a:lnTo>
                  <a:pt x="13569" y="523"/>
                </a:lnTo>
                <a:lnTo>
                  <a:pt x="13569" y="523"/>
                </a:lnTo>
                <a:lnTo>
                  <a:pt x="13587" y="505"/>
                </a:lnTo>
                <a:lnTo>
                  <a:pt x="13602" y="485"/>
                </a:lnTo>
                <a:lnTo>
                  <a:pt x="13616" y="463"/>
                </a:lnTo>
                <a:lnTo>
                  <a:pt x="13627" y="441"/>
                </a:lnTo>
                <a:lnTo>
                  <a:pt x="13638" y="420"/>
                </a:lnTo>
                <a:lnTo>
                  <a:pt x="13645" y="396"/>
                </a:lnTo>
                <a:lnTo>
                  <a:pt x="13653" y="373"/>
                </a:lnTo>
                <a:lnTo>
                  <a:pt x="13656" y="347"/>
                </a:lnTo>
                <a:lnTo>
                  <a:pt x="13660" y="324"/>
                </a:lnTo>
                <a:lnTo>
                  <a:pt x="13660" y="298"/>
                </a:lnTo>
                <a:lnTo>
                  <a:pt x="13658" y="273"/>
                </a:lnTo>
                <a:lnTo>
                  <a:pt x="13654" y="250"/>
                </a:lnTo>
                <a:lnTo>
                  <a:pt x="13649" y="224"/>
                </a:lnTo>
                <a:lnTo>
                  <a:pt x="13642" y="201"/>
                </a:lnTo>
                <a:lnTo>
                  <a:pt x="13631" y="175"/>
                </a:lnTo>
                <a:lnTo>
                  <a:pt x="13618" y="154"/>
                </a:lnTo>
                <a:lnTo>
                  <a:pt x="13618" y="154"/>
                </a:lnTo>
                <a:lnTo>
                  <a:pt x="13602" y="127"/>
                </a:lnTo>
                <a:lnTo>
                  <a:pt x="13582" y="101"/>
                </a:lnTo>
                <a:lnTo>
                  <a:pt x="13562" y="80"/>
                </a:lnTo>
                <a:lnTo>
                  <a:pt x="13538" y="62"/>
                </a:lnTo>
                <a:lnTo>
                  <a:pt x="13513" y="45"/>
                </a:lnTo>
                <a:lnTo>
                  <a:pt x="13488" y="31"/>
                </a:lnTo>
                <a:lnTo>
                  <a:pt x="13461" y="20"/>
                </a:lnTo>
                <a:lnTo>
                  <a:pt x="13432" y="11"/>
                </a:lnTo>
                <a:lnTo>
                  <a:pt x="13403" y="4"/>
                </a:lnTo>
                <a:lnTo>
                  <a:pt x="13374" y="2"/>
                </a:lnTo>
                <a:lnTo>
                  <a:pt x="13345" y="0"/>
                </a:lnTo>
                <a:lnTo>
                  <a:pt x="13314" y="2"/>
                </a:lnTo>
                <a:lnTo>
                  <a:pt x="13285" y="7"/>
                </a:lnTo>
                <a:lnTo>
                  <a:pt x="13256" y="16"/>
                </a:lnTo>
                <a:lnTo>
                  <a:pt x="13227" y="27"/>
                </a:lnTo>
                <a:lnTo>
                  <a:pt x="13200" y="40"/>
                </a:lnTo>
                <a:lnTo>
                  <a:pt x="13200" y="40"/>
                </a:lnTo>
                <a:lnTo>
                  <a:pt x="13173" y="58"/>
                </a:lnTo>
                <a:lnTo>
                  <a:pt x="13149" y="76"/>
                </a:lnTo>
                <a:lnTo>
                  <a:pt x="13127" y="98"/>
                </a:lnTo>
                <a:lnTo>
                  <a:pt x="13108" y="121"/>
                </a:lnTo>
                <a:lnTo>
                  <a:pt x="13091" y="147"/>
                </a:lnTo>
                <a:lnTo>
                  <a:pt x="13077" y="172"/>
                </a:lnTo>
                <a:lnTo>
                  <a:pt x="13064" y="199"/>
                </a:lnTo>
                <a:lnTo>
                  <a:pt x="13057" y="228"/>
                </a:lnTo>
                <a:lnTo>
                  <a:pt x="13050" y="255"/>
                </a:lnTo>
                <a:lnTo>
                  <a:pt x="13046" y="286"/>
                </a:lnTo>
                <a:lnTo>
                  <a:pt x="13046" y="315"/>
                </a:lnTo>
                <a:lnTo>
                  <a:pt x="13048" y="346"/>
                </a:lnTo>
                <a:lnTo>
                  <a:pt x="13053" y="374"/>
                </a:lnTo>
                <a:lnTo>
                  <a:pt x="13062" y="403"/>
                </a:lnTo>
                <a:lnTo>
                  <a:pt x="13073" y="432"/>
                </a:lnTo>
                <a:lnTo>
                  <a:pt x="13088" y="459"/>
                </a:lnTo>
                <a:lnTo>
                  <a:pt x="13088" y="459"/>
                </a:lnTo>
                <a:lnTo>
                  <a:pt x="13100" y="481"/>
                </a:lnTo>
                <a:lnTo>
                  <a:pt x="13115" y="501"/>
                </a:lnTo>
                <a:lnTo>
                  <a:pt x="13131" y="519"/>
                </a:lnTo>
                <a:lnTo>
                  <a:pt x="13149" y="535"/>
                </a:lnTo>
                <a:lnTo>
                  <a:pt x="13167" y="552"/>
                </a:lnTo>
                <a:lnTo>
                  <a:pt x="13187" y="564"/>
                </a:lnTo>
                <a:lnTo>
                  <a:pt x="13207" y="577"/>
                </a:lnTo>
                <a:lnTo>
                  <a:pt x="13229" y="588"/>
                </a:lnTo>
                <a:lnTo>
                  <a:pt x="13251" y="597"/>
                </a:lnTo>
                <a:lnTo>
                  <a:pt x="13272" y="604"/>
                </a:lnTo>
                <a:lnTo>
                  <a:pt x="13296" y="608"/>
                </a:lnTo>
                <a:lnTo>
                  <a:pt x="13319" y="611"/>
                </a:lnTo>
                <a:lnTo>
                  <a:pt x="13343" y="613"/>
                </a:lnTo>
                <a:lnTo>
                  <a:pt x="13366" y="613"/>
                </a:lnTo>
                <a:lnTo>
                  <a:pt x="13390" y="611"/>
                </a:lnTo>
                <a:lnTo>
                  <a:pt x="13414" y="608"/>
                </a:lnTo>
                <a:lnTo>
                  <a:pt x="13524" y="794"/>
                </a:lnTo>
                <a:lnTo>
                  <a:pt x="13524" y="794"/>
                </a:lnTo>
                <a:lnTo>
                  <a:pt x="13502" y="814"/>
                </a:lnTo>
                <a:lnTo>
                  <a:pt x="13481" y="832"/>
                </a:lnTo>
                <a:lnTo>
                  <a:pt x="13461" y="854"/>
                </a:lnTo>
                <a:lnTo>
                  <a:pt x="13441" y="876"/>
                </a:lnTo>
                <a:lnTo>
                  <a:pt x="13423" y="897"/>
                </a:lnTo>
                <a:lnTo>
                  <a:pt x="13404" y="921"/>
                </a:lnTo>
                <a:lnTo>
                  <a:pt x="13388" y="944"/>
                </a:lnTo>
                <a:lnTo>
                  <a:pt x="13374" y="970"/>
                </a:lnTo>
                <a:lnTo>
                  <a:pt x="13359" y="995"/>
                </a:lnTo>
                <a:lnTo>
                  <a:pt x="13347" y="1020"/>
                </a:lnTo>
                <a:lnTo>
                  <a:pt x="13334" y="1047"/>
                </a:lnTo>
                <a:lnTo>
                  <a:pt x="13323" y="1075"/>
                </a:lnTo>
                <a:lnTo>
                  <a:pt x="13314" y="1103"/>
                </a:lnTo>
                <a:lnTo>
                  <a:pt x="13307" y="1132"/>
                </a:lnTo>
                <a:lnTo>
                  <a:pt x="13299" y="1161"/>
                </a:lnTo>
                <a:lnTo>
                  <a:pt x="13294" y="1190"/>
                </a:lnTo>
                <a:lnTo>
                  <a:pt x="13077" y="1190"/>
                </a:lnTo>
                <a:lnTo>
                  <a:pt x="13077" y="1190"/>
                </a:lnTo>
                <a:lnTo>
                  <a:pt x="13069" y="1169"/>
                </a:lnTo>
                <a:lnTo>
                  <a:pt x="13059" y="1147"/>
                </a:lnTo>
                <a:lnTo>
                  <a:pt x="13048" y="1125"/>
                </a:lnTo>
                <a:lnTo>
                  <a:pt x="13035" y="1105"/>
                </a:lnTo>
                <a:lnTo>
                  <a:pt x="13021" y="1087"/>
                </a:lnTo>
                <a:lnTo>
                  <a:pt x="13004" y="1069"/>
                </a:lnTo>
                <a:lnTo>
                  <a:pt x="12986" y="1053"/>
                </a:lnTo>
                <a:lnTo>
                  <a:pt x="12968" y="1038"/>
                </a:lnTo>
                <a:lnTo>
                  <a:pt x="12948" y="1026"/>
                </a:lnTo>
                <a:lnTo>
                  <a:pt x="12928" y="1013"/>
                </a:lnTo>
                <a:lnTo>
                  <a:pt x="12907" y="1004"/>
                </a:lnTo>
                <a:lnTo>
                  <a:pt x="12883" y="995"/>
                </a:lnTo>
                <a:lnTo>
                  <a:pt x="12859" y="988"/>
                </a:lnTo>
                <a:lnTo>
                  <a:pt x="12836" y="982"/>
                </a:lnTo>
                <a:lnTo>
                  <a:pt x="12811" y="980"/>
                </a:lnTo>
                <a:lnTo>
                  <a:pt x="12785" y="979"/>
                </a:lnTo>
                <a:lnTo>
                  <a:pt x="12785" y="979"/>
                </a:lnTo>
                <a:lnTo>
                  <a:pt x="12754" y="980"/>
                </a:lnTo>
                <a:lnTo>
                  <a:pt x="12724" y="986"/>
                </a:lnTo>
                <a:lnTo>
                  <a:pt x="12695" y="993"/>
                </a:lnTo>
                <a:lnTo>
                  <a:pt x="12666" y="1002"/>
                </a:lnTo>
                <a:lnTo>
                  <a:pt x="12639" y="1017"/>
                </a:lnTo>
                <a:lnTo>
                  <a:pt x="12615" y="1031"/>
                </a:lnTo>
                <a:lnTo>
                  <a:pt x="12590" y="1049"/>
                </a:lnTo>
                <a:lnTo>
                  <a:pt x="12568" y="1069"/>
                </a:lnTo>
                <a:lnTo>
                  <a:pt x="12548" y="1091"/>
                </a:lnTo>
                <a:lnTo>
                  <a:pt x="12532" y="1114"/>
                </a:lnTo>
                <a:lnTo>
                  <a:pt x="12515" y="1140"/>
                </a:lnTo>
                <a:lnTo>
                  <a:pt x="12503" y="1167"/>
                </a:lnTo>
                <a:lnTo>
                  <a:pt x="12492" y="1196"/>
                </a:lnTo>
                <a:lnTo>
                  <a:pt x="12485" y="1226"/>
                </a:lnTo>
                <a:lnTo>
                  <a:pt x="12481" y="1257"/>
                </a:lnTo>
                <a:lnTo>
                  <a:pt x="12479" y="1288"/>
                </a:lnTo>
                <a:lnTo>
                  <a:pt x="12479" y="1288"/>
                </a:lnTo>
                <a:lnTo>
                  <a:pt x="12481" y="1319"/>
                </a:lnTo>
                <a:lnTo>
                  <a:pt x="12485" y="1350"/>
                </a:lnTo>
                <a:lnTo>
                  <a:pt x="12492" y="1378"/>
                </a:lnTo>
                <a:lnTo>
                  <a:pt x="12503" y="1407"/>
                </a:lnTo>
                <a:lnTo>
                  <a:pt x="12515" y="1435"/>
                </a:lnTo>
                <a:lnTo>
                  <a:pt x="12532" y="1460"/>
                </a:lnTo>
                <a:lnTo>
                  <a:pt x="12548" y="1483"/>
                </a:lnTo>
                <a:lnTo>
                  <a:pt x="12568" y="1505"/>
                </a:lnTo>
                <a:lnTo>
                  <a:pt x="12590" y="1525"/>
                </a:lnTo>
                <a:lnTo>
                  <a:pt x="12615" y="1543"/>
                </a:lnTo>
                <a:lnTo>
                  <a:pt x="12639" y="1558"/>
                </a:lnTo>
                <a:lnTo>
                  <a:pt x="12666" y="1570"/>
                </a:lnTo>
                <a:lnTo>
                  <a:pt x="12695" y="1581"/>
                </a:lnTo>
                <a:lnTo>
                  <a:pt x="12724" y="1588"/>
                </a:lnTo>
                <a:lnTo>
                  <a:pt x="12754" y="1594"/>
                </a:lnTo>
                <a:lnTo>
                  <a:pt x="12785" y="1596"/>
                </a:lnTo>
                <a:lnTo>
                  <a:pt x="12785" y="1596"/>
                </a:lnTo>
                <a:lnTo>
                  <a:pt x="12812" y="1594"/>
                </a:lnTo>
                <a:lnTo>
                  <a:pt x="12838" y="1590"/>
                </a:lnTo>
                <a:lnTo>
                  <a:pt x="12863" y="1585"/>
                </a:lnTo>
                <a:lnTo>
                  <a:pt x="12887" y="1577"/>
                </a:lnTo>
                <a:lnTo>
                  <a:pt x="12910" y="1568"/>
                </a:lnTo>
                <a:lnTo>
                  <a:pt x="12934" y="1558"/>
                </a:lnTo>
                <a:lnTo>
                  <a:pt x="12955" y="1545"/>
                </a:lnTo>
                <a:lnTo>
                  <a:pt x="12975" y="1530"/>
                </a:lnTo>
                <a:lnTo>
                  <a:pt x="12993" y="1514"/>
                </a:lnTo>
                <a:lnTo>
                  <a:pt x="13012" y="1496"/>
                </a:lnTo>
                <a:lnTo>
                  <a:pt x="13028" y="1478"/>
                </a:lnTo>
                <a:lnTo>
                  <a:pt x="13042" y="1458"/>
                </a:lnTo>
                <a:lnTo>
                  <a:pt x="13055" y="1436"/>
                </a:lnTo>
                <a:lnTo>
                  <a:pt x="13066" y="1415"/>
                </a:lnTo>
                <a:lnTo>
                  <a:pt x="13075" y="1391"/>
                </a:lnTo>
                <a:lnTo>
                  <a:pt x="13082" y="1368"/>
                </a:lnTo>
                <a:lnTo>
                  <a:pt x="13292" y="1368"/>
                </a:lnTo>
                <a:lnTo>
                  <a:pt x="13292" y="1368"/>
                </a:lnTo>
                <a:lnTo>
                  <a:pt x="13296" y="1398"/>
                </a:lnTo>
                <a:lnTo>
                  <a:pt x="13303" y="1429"/>
                </a:lnTo>
                <a:lnTo>
                  <a:pt x="13310" y="1458"/>
                </a:lnTo>
                <a:lnTo>
                  <a:pt x="13319" y="1487"/>
                </a:lnTo>
                <a:lnTo>
                  <a:pt x="13328" y="1516"/>
                </a:lnTo>
                <a:lnTo>
                  <a:pt x="13341" y="1545"/>
                </a:lnTo>
                <a:lnTo>
                  <a:pt x="13354" y="1572"/>
                </a:lnTo>
                <a:lnTo>
                  <a:pt x="13368" y="1597"/>
                </a:lnTo>
                <a:lnTo>
                  <a:pt x="13385" y="1624"/>
                </a:lnTo>
                <a:lnTo>
                  <a:pt x="13401" y="1648"/>
                </a:lnTo>
                <a:lnTo>
                  <a:pt x="13419" y="1673"/>
                </a:lnTo>
                <a:lnTo>
                  <a:pt x="13437" y="1697"/>
                </a:lnTo>
                <a:lnTo>
                  <a:pt x="13459" y="1719"/>
                </a:lnTo>
                <a:lnTo>
                  <a:pt x="13479" y="1740"/>
                </a:lnTo>
                <a:lnTo>
                  <a:pt x="13500" y="1760"/>
                </a:lnTo>
                <a:lnTo>
                  <a:pt x="13524" y="1778"/>
                </a:lnTo>
                <a:lnTo>
                  <a:pt x="13414" y="1968"/>
                </a:lnTo>
                <a:lnTo>
                  <a:pt x="13414" y="1968"/>
                </a:lnTo>
                <a:lnTo>
                  <a:pt x="13390" y="1965"/>
                </a:lnTo>
                <a:lnTo>
                  <a:pt x="13366" y="1961"/>
                </a:lnTo>
                <a:lnTo>
                  <a:pt x="13343" y="1961"/>
                </a:lnTo>
                <a:lnTo>
                  <a:pt x="13319" y="1963"/>
                </a:lnTo>
                <a:lnTo>
                  <a:pt x="13296" y="1966"/>
                </a:lnTo>
                <a:lnTo>
                  <a:pt x="13272" y="1972"/>
                </a:lnTo>
                <a:lnTo>
                  <a:pt x="13251" y="1977"/>
                </a:lnTo>
                <a:lnTo>
                  <a:pt x="13229" y="1986"/>
                </a:lnTo>
                <a:lnTo>
                  <a:pt x="13207" y="1997"/>
                </a:lnTo>
                <a:lnTo>
                  <a:pt x="13187" y="2008"/>
                </a:lnTo>
                <a:lnTo>
                  <a:pt x="13167" y="2022"/>
                </a:lnTo>
                <a:lnTo>
                  <a:pt x="13149" y="2037"/>
                </a:lnTo>
                <a:lnTo>
                  <a:pt x="13131" y="2055"/>
                </a:lnTo>
                <a:lnTo>
                  <a:pt x="13115" y="2073"/>
                </a:lnTo>
                <a:lnTo>
                  <a:pt x="13100" y="2093"/>
                </a:lnTo>
                <a:lnTo>
                  <a:pt x="13088" y="2115"/>
                </a:lnTo>
                <a:lnTo>
                  <a:pt x="13088" y="2115"/>
                </a:lnTo>
                <a:lnTo>
                  <a:pt x="13073" y="2142"/>
                </a:lnTo>
                <a:lnTo>
                  <a:pt x="13062" y="2171"/>
                </a:lnTo>
                <a:lnTo>
                  <a:pt x="13053" y="2200"/>
                </a:lnTo>
                <a:lnTo>
                  <a:pt x="13048" y="2230"/>
                </a:lnTo>
                <a:lnTo>
                  <a:pt x="13046" y="2259"/>
                </a:lnTo>
                <a:lnTo>
                  <a:pt x="13046" y="2290"/>
                </a:lnTo>
                <a:lnTo>
                  <a:pt x="13050" y="2319"/>
                </a:lnTo>
                <a:lnTo>
                  <a:pt x="13057" y="2348"/>
                </a:lnTo>
                <a:lnTo>
                  <a:pt x="13064" y="2375"/>
                </a:lnTo>
                <a:lnTo>
                  <a:pt x="13077" y="2402"/>
                </a:lnTo>
                <a:lnTo>
                  <a:pt x="13091" y="2429"/>
                </a:lnTo>
                <a:lnTo>
                  <a:pt x="13108" y="2453"/>
                </a:lnTo>
                <a:lnTo>
                  <a:pt x="13127" y="2477"/>
                </a:lnTo>
                <a:lnTo>
                  <a:pt x="13149" y="2496"/>
                </a:lnTo>
                <a:lnTo>
                  <a:pt x="13173" y="2516"/>
                </a:lnTo>
                <a:lnTo>
                  <a:pt x="13200" y="2533"/>
                </a:lnTo>
                <a:lnTo>
                  <a:pt x="13200" y="2533"/>
                </a:lnTo>
                <a:lnTo>
                  <a:pt x="13227" y="2549"/>
                </a:lnTo>
                <a:lnTo>
                  <a:pt x="13256" y="2560"/>
                </a:lnTo>
                <a:lnTo>
                  <a:pt x="13285" y="2569"/>
                </a:lnTo>
                <a:lnTo>
                  <a:pt x="13314" y="2574"/>
                </a:lnTo>
                <a:lnTo>
                  <a:pt x="13345" y="2576"/>
                </a:lnTo>
                <a:lnTo>
                  <a:pt x="13374" y="2574"/>
                </a:lnTo>
                <a:lnTo>
                  <a:pt x="13403" y="2572"/>
                </a:lnTo>
                <a:lnTo>
                  <a:pt x="13432" y="2565"/>
                </a:lnTo>
                <a:lnTo>
                  <a:pt x="13461" y="2556"/>
                </a:lnTo>
                <a:lnTo>
                  <a:pt x="13488" y="2545"/>
                </a:lnTo>
                <a:lnTo>
                  <a:pt x="13513" y="2531"/>
                </a:lnTo>
                <a:lnTo>
                  <a:pt x="13538" y="2513"/>
                </a:lnTo>
                <a:lnTo>
                  <a:pt x="13562" y="2495"/>
                </a:lnTo>
                <a:lnTo>
                  <a:pt x="13582" y="2471"/>
                </a:lnTo>
                <a:lnTo>
                  <a:pt x="13602" y="2448"/>
                </a:lnTo>
                <a:lnTo>
                  <a:pt x="13618" y="2420"/>
                </a:lnTo>
                <a:lnTo>
                  <a:pt x="13618" y="2420"/>
                </a:lnTo>
                <a:lnTo>
                  <a:pt x="13631" y="2397"/>
                </a:lnTo>
                <a:lnTo>
                  <a:pt x="13642" y="2373"/>
                </a:lnTo>
                <a:lnTo>
                  <a:pt x="13649" y="2350"/>
                </a:lnTo>
                <a:lnTo>
                  <a:pt x="13654" y="2325"/>
                </a:lnTo>
                <a:lnTo>
                  <a:pt x="13658" y="2299"/>
                </a:lnTo>
                <a:lnTo>
                  <a:pt x="13660" y="2276"/>
                </a:lnTo>
                <a:lnTo>
                  <a:pt x="13660" y="2250"/>
                </a:lnTo>
                <a:lnTo>
                  <a:pt x="13656" y="2225"/>
                </a:lnTo>
                <a:lnTo>
                  <a:pt x="13653" y="2202"/>
                </a:lnTo>
                <a:lnTo>
                  <a:pt x="13645" y="2178"/>
                </a:lnTo>
                <a:lnTo>
                  <a:pt x="13638" y="2155"/>
                </a:lnTo>
                <a:lnTo>
                  <a:pt x="13627" y="2131"/>
                </a:lnTo>
                <a:lnTo>
                  <a:pt x="13616" y="2109"/>
                </a:lnTo>
                <a:lnTo>
                  <a:pt x="13602" y="2089"/>
                </a:lnTo>
                <a:lnTo>
                  <a:pt x="13587" y="2069"/>
                </a:lnTo>
                <a:lnTo>
                  <a:pt x="13569" y="2050"/>
                </a:lnTo>
                <a:lnTo>
                  <a:pt x="13674" y="1870"/>
                </a:lnTo>
                <a:lnTo>
                  <a:pt x="13674" y="1870"/>
                </a:lnTo>
                <a:lnTo>
                  <a:pt x="13703" y="1881"/>
                </a:lnTo>
                <a:lnTo>
                  <a:pt x="13732" y="1892"/>
                </a:lnTo>
                <a:lnTo>
                  <a:pt x="13761" y="1899"/>
                </a:lnTo>
                <a:lnTo>
                  <a:pt x="13792" y="1907"/>
                </a:lnTo>
                <a:lnTo>
                  <a:pt x="13823" y="1912"/>
                </a:lnTo>
                <a:lnTo>
                  <a:pt x="13854" y="1916"/>
                </a:lnTo>
                <a:lnTo>
                  <a:pt x="13886" y="1919"/>
                </a:lnTo>
                <a:lnTo>
                  <a:pt x="13919" y="1919"/>
                </a:lnTo>
                <a:lnTo>
                  <a:pt x="13919" y="1919"/>
                </a:lnTo>
                <a:lnTo>
                  <a:pt x="13948" y="1919"/>
                </a:lnTo>
                <a:lnTo>
                  <a:pt x="13978" y="1918"/>
                </a:lnTo>
                <a:lnTo>
                  <a:pt x="14007" y="1914"/>
                </a:lnTo>
                <a:lnTo>
                  <a:pt x="14036" y="1908"/>
                </a:lnTo>
                <a:lnTo>
                  <a:pt x="14065" y="1903"/>
                </a:lnTo>
                <a:lnTo>
                  <a:pt x="14093" y="1894"/>
                </a:lnTo>
                <a:lnTo>
                  <a:pt x="14121" y="1887"/>
                </a:lnTo>
                <a:lnTo>
                  <a:pt x="14149" y="1876"/>
                </a:lnTo>
                <a:lnTo>
                  <a:pt x="14255" y="2062"/>
                </a:lnTo>
                <a:lnTo>
                  <a:pt x="14255" y="2062"/>
                </a:lnTo>
                <a:lnTo>
                  <a:pt x="14241" y="2082"/>
                </a:lnTo>
                <a:lnTo>
                  <a:pt x="14227" y="2102"/>
                </a:lnTo>
                <a:lnTo>
                  <a:pt x="14214" y="2122"/>
                </a:lnTo>
                <a:lnTo>
                  <a:pt x="14205" y="2144"/>
                </a:lnTo>
                <a:lnTo>
                  <a:pt x="14196" y="2165"/>
                </a:lnTo>
                <a:lnTo>
                  <a:pt x="14188" y="2187"/>
                </a:lnTo>
                <a:lnTo>
                  <a:pt x="14183" y="2211"/>
                </a:lnTo>
                <a:lnTo>
                  <a:pt x="14179" y="2234"/>
                </a:lnTo>
                <a:lnTo>
                  <a:pt x="14178" y="2258"/>
                </a:lnTo>
                <a:lnTo>
                  <a:pt x="14178" y="2281"/>
                </a:lnTo>
                <a:lnTo>
                  <a:pt x="14179" y="2305"/>
                </a:lnTo>
                <a:lnTo>
                  <a:pt x="14185" y="2328"/>
                </a:lnTo>
                <a:lnTo>
                  <a:pt x="14190" y="2352"/>
                </a:lnTo>
                <a:lnTo>
                  <a:pt x="14198" y="2375"/>
                </a:lnTo>
                <a:lnTo>
                  <a:pt x="14208" y="2399"/>
                </a:lnTo>
                <a:lnTo>
                  <a:pt x="14219" y="2420"/>
                </a:lnTo>
                <a:lnTo>
                  <a:pt x="14219" y="2420"/>
                </a:lnTo>
                <a:lnTo>
                  <a:pt x="14237" y="2448"/>
                </a:lnTo>
                <a:lnTo>
                  <a:pt x="14255" y="2471"/>
                </a:lnTo>
                <a:lnTo>
                  <a:pt x="14277" y="2495"/>
                </a:lnTo>
                <a:lnTo>
                  <a:pt x="14301" y="2513"/>
                </a:lnTo>
                <a:lnTo>
                  <a:pt x="14324" y="2531"/>
                </a:lnTo>
                <a:lnTo>
                  <a:pt x="14351" y="2545"/>
                </a:lnTo>
                <a:lnTo>
                  <a:pt x="14379" y="2556"/>
                </a:lnTo>
                <a:lnTo>
                  <a:pt x="14406" y="2565"/>
                </a:lnTo>
                <a:lnTo>
                  <a:pt x="14435" y="2572"/>
                </a:lnTo>
                <a:lnTo>
                  <a:pt x="14464" y="2574"/>
                </a:lnTo>
                <a:lnTo>
                  <a:pt x="14494" y="2576"/>
                </a:lnTo>
                <a:lnTo>
                  <a:pt x="14523" y="2574"/>
                </a:lnTo>
                <a:lnTo>
                  <a:pt x="14552" y="2569"/>
                </a:lnTo>
                <a:lnTo>
                  <a:pt x="14583" y="2560"/>
                </a:lnTo>
                <a:lnTo>
                  <a:pt x="14610" y="2549"/>
                </a:lnTo>
                <a:lnTo>
                  <a:pt x="14639" y="2533"/>
                </a:lnTo>
                <a:lnTo>
                  <a:pt x="14639" y="2533"/>
                </a:lnTo>
                <a:lnTo>
                  <a:pt x="14665" y="2516"/>
                </a:lnTo>
                <a:lnTo>
                  <a:pt x="14690" y="2496"/>
                </a:lnTo>
                <a:lnTo>
                  <a:pt x="14712" y="2477"/>
                </a:lnTo>
                <a:lnTo>
                  <a:pt x="14730" y="2453"/>
                </a:lnTo>
                <a:lnTo>
                  <a:pt x="14748" y="2429"/>
                </a:lnTo>
                <a:lnTo>
                  <a:pt x="14762" y="2402"/>
                </a:lnTo>
                <a:lnTo>
                  <a:pt x="14773" y="2375"/>
                </a:lnTo>
                <a:lnTo>
                  <a:pt x="14782" y="2348"/>
                </a:lnTo>
                <a:lnTo>
                  <a:pt x="14788" y="2319"/>
                </a:lnTo>
                <a:lnTo>
                  <a:pt x="14791" y="2290"/>
                </a:lnTo>
                <a:lnTo>
                  <a:pt x="14793" y="2259"/>
                </a:lnTo>
                <a:lnTo>
                  <a:pt x="14790" y="2230"/>
                </a:lnTo>
                <a:lnTo>
                  <a:pt x="14784" y="2200"/>
                </a:lnTo>
                <a:lnTo>
                  <a:pt x="14777" y="2171"/>
                </a:lnTo>
                <a:lnTo>
                  <a:pt x="14766" y="2142"/>
                </a:lnTo>
                <a:lnTo>
                  <a:pt x="14752" y="2115"/>
                </a:lnTo>
                <a:lnTo>
                  <a:pt x="14752" y="2115"/>
                </a:lnTo>
                <a:lnTo>
                  <a:pt x="14737" y="2091"/>
                </a:lnTo>
                <a:lnTo>
                  <a:pt x="14721" y="2071"/>
                </a:lnTo>
                <a:lnTo>
                  <a:pt x="14705" y="2051"/>
                </a:lnTo>
                <a:lnTo>
                  <a:pt x="14685" y="2035"/>
                </a:lnTo>
                <a:lnTo>
                  <a:pt x="14667" y="2019"/>
                </a:lnTo>
                <a:lnTo>
                  <a:pt x="14645" y="2006"/>
                </a:lnTo>
                <a:lnTo>
                  <a:pt x="14623" y="1994"/>
                </a:lnTo>
                <a:lnTo>
                  <a:pt x="14601" y="1983"/>
                </a:lnTo>
                <a:lnTo>
                  <a:pt x="14578" y="1975"/>
                </a:lnTo>
                <a:lnTo>
                  <a:pt x="14554" y="1968"/>
                </a:lnTo>
                <a:lnTo>
                  <a:pt x="14529" y="1963"/>
                </a:lnTo>
                <a:lnTo>
                  <a:pt x="14505" y="1961"/>
                </a:lnTo>
                <a:lnTo>
                  <a:pt x="14480" y="1961"/>
                </a:lnTo>
                <a:lnTo>
                  <a:pt x="14455" y="1961"/>
                </a:lnTo>
                <a:lnTo>
                  <a:pt x="14431" y="1965"/>
                </a:lnTo>
                <a:lnTo>
                  <a:pt x="14406" y="1970"/>
                </a:lnTo>
                <a:lnTo>
                  <a:pt x="14301" y="1793"/>
                </a:lnTo>
                <a:lnTo>
                  <a:pt x="14301" y="1793"/>
                </a:lnTo>
                <a:lnTo>
                  <a:pt x="14326" y="1773"/>
                </a:lnTo>
                <a:lnTo>
                  <a:pt x="14350" y="1751"/>
                </a:lnTo>
                <a:lnTo>
                  <a:pt x="14371" y="1729"/>
                </a:lnTo>
                <a:lnTo>
                  <a:pt x="14393" y="1706"/>
                </a:lnTo>
                <a:lnTo>
                  <a:pt x="14413" y="1682"/>
                </a:lnTo>
                <a:lnTo>
                  <a:pt x="14431" y="1657"/>
                </a:lnTo>
                <a:lnTo>
                  <a:pt x="14449" y="1632"/>
                </a:lnTo>
                <a:lnTo>
                  <a:pt x="14466" y="1606"/>
                </a:lnTo>
                <a:lnTo>
                  <a:pt x="14480" y="1577"/>
                </a:lnTo>
                <a:lnTo>
                  <a:pt x="14494" y="1550"/>
                </a:lnTo>
                <a:lnTo>
                  <a:pt x="14507" y="1521"/>
                </a:lnTo>
                <a:lnTo>
                  <a:pt x="14518" y="1492"/>
                </a:lnTo>
                <a:lnTo>
                  <a:pt x="14527" y="1462"/>
                </a:lnTo>
                <a:lnTo>
                  <a:pt x="14534" y="1431"/>
                </a:lnTo>
                <a:lnTo>
                  <a:pt x="14542" y="1400"/>
                </a:lnTo>
                <a:lnTo>
                  <a:pt x="14547" y="1368"/>
                </a:lnTo>
                <a:lnTo>
                  <a:pt x="14753" y="1368"/>
                </a:lnTo>
                <a:lnTo>
                  <a:pt x="14753" y="1368"/>
                </a:lnTo>
                <a:lnTo>
                  <a:pt x="14761" y="1391"/>
                </a:lnTo>
                <a:lnTo>
                  <a:pt x="14772" y="1415"/>
                </a:lnTo>
                <a:lnTo>
                  <a:pt x="14782" y="1436"/>
                </a:lnTo>
                <a:lnTo>
                  <a:pt x="14795" y="1458"/>
                </a:lnTo>
                <a:lnTo>
                  <a:pt x="14810" y="1478"/>
                </a:lnTo>
                <a:lnTo>
                  <a:pt x="14826" y="1496"/>
                </a:lnTo>
                <a:lnTo>
                  <a:pt x="14844" y="1514"/>
                </a:lnTo>
                <a:lnTo>
                  <a:pt x="14862" y="1530"/>
                </a:lnTo>
                <a:lnTo>
                  <a:pt x="14882" y="1545"/>
                </a:lnTo>
                <a:lnTo>
                  <a:pt x="14904" y="1558"/>
                </a:lnTo>
                <a:lnTo>
                  <a:pt x="14927" y="1568"/>
                </a:lnTo>
                <a:lnTo>
                  <a:pt x="14949" y="1577"/>
                </a:lnTo>
                <a:lnTo>
                  <a:pt x="14974" y="1585"/>
                </a:lnTo>
                <a:lnTo>
                  <a:pt x="14998" y="1590"/>
                </a:lnTo>
                <a:lnTo>
                  <a:pt x="15025" y="1594"/>
                </a:lnTo>
                <a:lnTo>
                  <a:pt x="15050" y="1596"/>
                </a:lnTo>
                <a:lnTo>
                  <a:pt x="15050" y="1596"/>
                </a:lnTo>
                <a:lnTo>
                  <a:pt x="15081" y="1594"/>
                </a:lnTo>
                <a:lnTo>
                  <a:pt x="15112" y="1588"/>
                </a:lnTo>
                <a:lnTo>
                  <a:pt x="15143" y="1581"/>
                </a:lnTo>
                <a:lnTo>
                  <a:pt x="15172" y="1570"/>
                </a:lnTo>
                <a:lnTo>
                  <a:pt x="15197" y="1558"/>
                </a:lnTo>
                <a:lnTo>
                  <a:pt x="15224" y="1543"/>
                </a:lnTo>
                <a:lnTo>
                  <a:pt x="15248" y="1525"/>
                </a:lnTo>
                <a:lnTo>
                  <a:pt x="15269" y="1505"/>
                </a:lnTo>
                <a:lnTo>
                  <a:pt x="15289" y="1483"/>
                </a:lnTo>
                <a:lnTo>
                  <a:pt x="15307" y="1460"/>
                </a:lnTo>
                <a:lnTo>
                  <a:pt x="15322" y="1435"/>
                </a:lnTo>
                <a:lnTo>
                  <a:pt x="15335" y="1407"/>
                </a:lnTo>
                <a:lnTo>
                  <a:pt x="15346" y="1378"/>
                </a:lnTo>
                <a:lnTo>
                  <a:pt x="15353" y="1350"/>
                </a:lnTo>
                <a:lnTo>
                  <a:pt x="15358" y="1319"/>
                </a:lnTo>
                <a:lnTo>
                  <a:pt x="15360" y="1288"/>
                </a:lnTo>
                <a:lnTo>
                  <a:pt x="15360" y="1288"/>
                </a:lnTo>
                <a:lnTo>
                  <a:pt x="15358" y="1257"/>
                </a:lnTo>
                <a:lnTo>
                  <a:pt x="15353" y="1226"/>
                </a:lnTo>
                <a:lnTo>
                  <a:pt x="15346" y="1196"/>
                </a:lnTo>
                <a:lnTo>
                  <a:pt x="15335" y="1167"/>
                </a:lnTo>
                <a:lnTo>
                  <a:pt x="15322" y="1140"/>
                </a:lnTo>
                <a:lnTo>
                  <a:pt x="15307" y="1114"/>
                </a:lnTo>
                <a:lnTo>
                  <a:pt x="15289" y="1091"/>
                </a:lnTo>
                <a:lnTo>
                  <a:pt x="15269" y="1069"/>
                </a:lnTo>
                <a:lnTo>
                  <a:pt x="15248" y="1049"/>
                </a:lnTo>
                <a:lnTo>
                  <a:pt x="15224" y="1031"/>
                </a:lnTo>
                <a:lnTo>
                  <a:pt x="15197" y="1017"/>
                </a:lnTo>
                <a:lnTo>
                  <a:pt x="15172" y="1002"/>
                </a:lnTo>
                <a:lnTo>
                  <a:pt x="15143" y="993"/>
                </a:lnTo>
                <a:lnTo>
                  <a:pt x="15112" y="986"/>
                </a:lnTo>
                <a:lnTo>
                  <a:pt x="15081" y="980"/>
                </a:lnTo>
                <a:lnTo>
                  <a:pt x="15050" y="979"/>
                </a:lnTo>
                <a:lnTo>
                  <a:pt x="15050" y="979"/>
                </a:lnTo>
                <a:close/>
                <a:moveTo>
                  <a:pt x="14136" y="1664"/>
                </a:moveTo>
                <a:lnTo>
                  <a:pt x="14136" y="1664"/>
                </a:lnTo>
                <a:lnTo>
                  <a:pt x="14116" y="1675"/>
                </a:lnTo>
                <a:lnTo>
                  <a:pt x="14096" y="1684"/>
                </a:lnTo>
                <a:lnTo>
                  <a:pt x="14076" y="1693"/>
                </a:lnTo>
                <a:lnTo>
                  <a:pt x="14054" y="1700"/>
                </a:lnTo>
                <a:lnTo>
                  <a:pt x="14015" y="1711"/>
                </a:lnTo>
                <a:lnTo>
                  <a:pt x="13971" y="1719"/>
                </a:lnTo>
                <a:lnTo>
                  <a:pt x="13930" y="1722"/>
                </a:lnTo>
                <a:lnTo>
                  <a:pt x="13888" y="1722"/>
                </a:lnTo>
                <a:lnTo>
                  <a:pt x="13846" y="1717"/>
                </a:lnTo>
                <a:lnTo>
                  <a:pt x="13806" y="1708"/>
                </a:lnTo>
                <a:lnTo>
                  <a:pt x="13767" y="1695"/>
                </a:lnTo>
                <a:lnTo>
                  <a:pt x="13729" y="1679"/>
                </a:lnTo>
                <a:lnTo>
                  <a:pt x="13691" y="1659"/>
                </a:lnTo>
                <a:lnTo>
                  <a:pt x="13656" y="1635"/>
                </a:lnTo>
                <a:lnTo>
                  <a:pt x="13624" y="1608"/>
                </a:lnTo>
                <a:lnTo>
                  <a:pt x="13593" y="1577"/>
                </a:lnTo>
                <a:lnTo>
                  <a:pt x="13580" y="1559"/>
                </a:lnTo>
                <a:lnTo>
                  <a:pt x="13566" y="1543"/>
                </a:lnTo>
                <a:lnTo>
                  <a:pt x="13553" y="1525"/>
                </a:lnTo>
                <a:lnTo>
                  <a:pt x="13542" y="1505"/>
                </a:lnTo>
                <a:lnTo>
                  <a:pt x="13542" y="1505"/>
                </a:lnTo>
                <a:lnTo>
                  <a:pt x="13531" y="1485"/>
                </a:lnTo>
                <a:lnTo>
                  <a:pt x="13522" y="1465"/>
                </a:lnTo>
                <a:lnTo>
                  <a:pt x="13513" y="1445"/>
                </a:lnTo>
                <a:lnTo>
                  <a:pt x="13506" y="1425"/>
                </a:lnTo>
                <a:lnTo>
                  <a:pt x="13495" y="1384"/>
                </a:lnTo>
                <a:lnTo>
                  <a:pt x="13488" y="1340"/>
                </a:lnTo>
                <a:lnTo>
                  <a:pt x="13484" y="1299"/>
                </a:lnTo>
                <a:lnTo>
                  <a:pt x="13484" y="1257"/>
                </a:lnTo>
                <a:lnTo>
                  <a:pt x="13490" y="1216"/>
                </a:lnTo>
                <a:lnTo>
                  <a:pt x="13499" y="1174"/>
                </a:lnTo>
                <a:lnTo>
                  <a:pt x="13511" y="1134"/>
                </a:lnTo>
                <a:lnTo>
                  <a:pt x="13528" y="1096"/>
                </a:lnTo>
                <a:lnTo>
                  <a:pt x="13548" y="1058"/>
                </a:lnTo>
                <a:lnTo>
                  <a:pt x="13571" y="1024"/>
                </a:lnTo>
                <a:lnTo>
                  <a:pt x="13598" y="991"/>
                </a:lnTo>
                <a:lnTo>
                  <a:pt x="13629" y="961"/>
                </a:lnTo>
                <a:lnTo>
                  <a:pt x="13645" y="948"/>
                </a:lnTo>
                <a:lnTo>
                  <a:pt x="13663" y="933"/>
                </a:lnTo>
                <a:lnTo>
                  <a:pt x="13681" y="921"/>
                </a:lnTo>
                <a:lnTo>
                  <a:pt x="13701" y="910"/>
                </a:lnTo>
                <a:lnTo>
                  <a:pt x="13701" y="910"/>
                </a:lnTo>
                <a:lnTo>
                  <a:pt x="13736" y="892"/>
                </a:lnTo>
                <a:lnTo>
                  <a:pt x="13772" y="877"/>
                </a:lnTo>
                <a:lnTo>
                  <a:pt x="13808" y="867"/>
                </a:lnTo>
                <a:lnTo>
                  <a:pt x="13844" y="857"/>
                </a:lnTo>
                <a:lnTo>
                  <a:pt x="13881" y="854"/>
                </a:lnTo>
                <a:lnTo>
                  <a:pt x="13919" y="852"/>
                </a:lnTo>
                <a:lnTo>
                  <a:pt x="13955" y="852"/>
                </a:lnTo>
                <a:lnTo>
                  <a:pt x="13991" y="857"/>
                </a:lnTo>
                <a:lnTo>
                  <a:pt x="14026" y="865"/>
                </a:lnTo>
                <a:lnTo>
                  <a:pt x="14062" y="876"/>
                </a:lnTo>
                <a:lnTo>
                  <a:pt x="14094" y="888"/>
                </a:lnTo>
                <a:lnTo>
                  <a:pt x="14127" y="904"/>
                </a:lnTo>
                <a:lnTo>
                  <a:pt x="14160" y="924"/>
                </a:lnTo>
                <a:lnTo>
                  <a:pt x="14188" y="946"/>
                </a:lnTo>
                <a:lnTo>
                  <a:pt x="14216" y="970"/>
                </a:lnTo>
                <a:lnTo>
                  <a:pt x="14243" y="997"/>
                </a:lnTo>
                <a:lnTo>
                  <a:pt x="13997" y="1140"/>
                </a:lnTo>
                <a:lnTo>
                  <a:pt x="13777" y="1082"/>
                </a:lnTo>
                <a:lnTo>
                  <a:pt x="13777" y="1082"/>
                </a:lnTo>
                <a:lnTo>
                  <a:pt x="13763" y="1078"/>
                </a:lnTo>
                <a:lnTo>
                  <a:pt x="13748" y="1078"/>
                </a:lnTo>
                <a:lnTo>
                  <a:pt x="13736" y="1082"/>
                </a:lnTo>
                <a:lnTo>
                  <a:pt x="13723" y="1087"/>
                </a:lnTo>
                <a:lnTo>
                  <a:pt x="13712" y="1094"/>
                </a:lnTo>
                <a:lnTo>
                  <a:pt x="13701" y="1103"/>
                </a:lnTo>
                <a:lnTo>
                  <a:pt x="13694" y="1114"/>
                </a:lnTo>
                <a:lnTo>
                  <a:pt x="13687" y="1127"/>
                </a:lnTo>
                <a:lnTo>
                  <a:pt x="13944" y="1567"/>
                </a:lnTo>
                <a:lnTo>
                  <a:pt x="13944" y="1567"/>
                </a:lnTo>
                <a:lnTo>
                  <a:pt x="13957" y="1568"/>
                </a:lnTo>
                <a:lnTo>
                  <a:pt x="13969" y="1567"/>
                </a:lnTo>
                <a:lnTo>
                  <a:pt x="13982" y="1563"/>
                </a:lnTo>
                <a:lnTo>
                  <a:pt x="13995" y="1558"/>
                </a:lnTo>
                <a:lnTo>
                  <a:pt x="14006" y="1548"/>
                </a:lnTo>
                <a:lnTo>
                  <a:pt x="14015" y="1539"/>
                </a:lnTo>
                <a:lnTo>
                  <a:pt x="14020" y="1527"/>
                </a:lnTo>
                <a:lnTo>
                  <a:pt x="14026" y="1512"/>
                </a:lnTo>
                <a:lnTo>
                  <a:pt x="14087" y="1293"/>
                </a:lnTo>
                <a:lnTo>
                  <a:pt x="14332" y="1151"/>
                </a:lnTo>
                <a:lnTo>
                  <a:pt x="14332" y="1151"/>
                </a:lnTo>
                <a:lnTo>
                  <a:pt x="14342" y="1187"/>
                </a:lnTo>
                <a:lnTo>
                  <a:pt x="14350" y="1223"/>
                </a:lnTo>
                <a:lnTo>
                  <a:pt x="14353" y="1259"/>
                </a:lnTo>
                <a:lnTo>
                  <a:pt x="14353" y="1297"/>
                </a:lnTo>
                <a:lnTo>
                  <a:pt x="14351" y="1333"/>
                </a:lnTo>
                <a:lnTo>
                  <a:pt x="14346" y="1369"/>
                </a:lnTo>
                <a:lnTo>
                  <a:pt x="14339" y="1406"/>
                </a:lnTo>
                <a:lnTo>
                  <a:pt x="14326" y="1440"/>
                </a:lnTo>
                <a:lnTo>
                  <a:pt x="14312" y="1473"/>
                </a:lnTo>
                <a:lnTo>
                  <a:pt x="14295" y="1505"/>
                </a:lnTo>
                <a:lnTo>
                  <a:pt x="14275" y="1538"/>
                </a:lnTo>
                <a:lnTo>
                  <a:pt x="14252" y="1567"/>
                </a:lnTo>
                <a:lnTo>
                  <a:pt x="14227" y="1594"/>
                </a:lnTo>
                <a:lnTo>
                  <a:pt x="14199" y="1619"/>
                </a:lnTo>
                <a:lnTo>
                  <a:pt x="14169" y="1643"/>
                </a:lnTo>
                <a:lnTo>
                  <a:pt x="14136" y="1664"/>
                </a:lnTo>
                <a:lnTo>
                  <a:pt x="14136" y="1664"/>
                </a:lnTo>
                <a:close/>
                <a:moveTo>
                  <a:pt x="11679" y="601"/>
                </a:moveTo>
                <a:lnTo>
                  <a:pt x="11679" y="601"/>
                </a:lnTo>
                <a:lnTo>
                  <a:pt x="11657" y="602"/>
                </a:lnTo>
                <a:lnTo>
                  <a:pt x="11639" y="608"/>
                </a:lnTo>
                <a:lnTo>
                  <a:pt x="11621" y="617"/>
                </a:lnTo>
                <a:lnTo>
                  <a:pt x="11606" y="630"/>
                </a:lnTo>
                <a:lnTo>
                  <a:pt x="11594" y="644"/>
                </a:lnTo>
                <a:lnTo>
                  <a:pt x="11585" y="662"/>
                </a:lnTo>
                <a:lnTo>
                  <a:pt x="11577" y="682"/>
                </a:lnTo>
                <a:lnTo>
                  <a:pt x="11576" y="702"/>
                </a:lnTo>
                <a:lnTo>
                  <a:pt x="11576" y="702"/>
                </a:lnTo>
                <a:lnTo>
                  <a:pt x="11577" y="724"/>
                </a:lnTo>
                <a:lnTo>
                  <a:pt x="11585" y="743"/>
                </a:lnTo>
                <a:lnTo>
                  <a:pt x="11594" y="762"/>
                </a:lnTo>
                <a:lnTo>
                  <a:pt x="11606" y="776"/>
                </a:lnTo>
                <a:lnTo>
                  <a:pt x="11621" y="789"/>
                </a:lnTo>
                <a:lnTo>
                  <a:pt x="11639" y="798"/>
                </a:lnTo>
                <a:lnTo>
                  <a:pt x="11657" y="803"/>
                </a:lnTo>
                <a:lnTo>
                  <a:pt x="11679" y="805"/>
                </a:lnTo>
                <a:lnTo>
                  <a:pt x="11679" y="805"/>
                </a:lnTo>
                <a:lnTo>
                  <a:pt x="11699" y="803"/>
                </a:lnTo>
                <a:lnTo>
                  <a:pt x="11717" y="798"/>
                </a:lnTo>
                <a:lnTo>
                  <a:pt x="11735" y="789"/>
                </a:lnTo>
                <a:lnTo>
                  <a:pt x="11750" y="776"/>
                </a:lnTo>
                <a:lnTo>
                  <a:pt x="11762" y="762"/>
                </a:lnTo>
                <a:lnTo>
                  <a:pt x="11773" y="743"/>
                </a:lnTo>
                <a:lnTo>
                  <a:pt x="11778" y="724"/>
                </a:lnTo>
                <a:lnTo>
                  <a:pt x="11780" y="713"/>
                </a:lnTo>
                <a:lnTo>
                  <a:pt x="11780" y="702"/>
                </a:lnTo>
                <a:lnTo>
                  <a:pt x="11780" y="702"/>
                </a:lnTo>
                <a:lnTo>
                  <a:pt x="11780" y="691"/>
                </a:lnTo>
                <a:lnTo>
                  <a:pt x="11778" y="682"/>
                </a:lnTo>
                <a:lnTo>
                  <a:pt x="11773" y="662"/>
                </a:lnTo>
                <a:lnTo>
                  <a:pt x="11762" y="644"/>
                </a:lnTo>
                <a:lnTo>
                  <a:pt x="11750" y="630"/>
                </a:lnTo>
                <a:lnTo>
                  <a:pt x="11735" y="617"/>
                </a:lnTo>
                <a:lnTo>
                  <a:pt x="11717" y="608"/>
                </a:lnTo>
                <a:lnTo>
                  <a:pt x="11699" y="602"/>
                </a:lnTo>
                <a:lnTo>
                  <a:pt x="11679" y="601"/>
                </a:lnTo>
                <a:lnTo>
                  <a:pt x="11679" y="601"/>
                </a:lnTo>
                <a:close/>
                <a:moveTo>
                  <a:pt x="11679" y="789"/>
                </a:moveTo>
                <a:lnTo>
                  <a:pt x="11679" y="789"/>
                </a:lnTo>
                <a:lnTo>
                  <a:pt x="11661" y="789"/>
                </a:lnTo>
                <a:lnTo>
                  <a:pt x="11644" y="783"/>
                </a:lnTo>
                <a:lnTo>
                  <a:pt x="11630" y="774"/>
                </a:lnTo>
                <a:lnTo>
                  <a:pt x="11617" y="765"/>
                </a:lnTo>
                <a:lnTo>
                  <a:pt x="11608" y="751"/>
                </a:lnTo>
                <a:lnTo>
                  <a:pt x="11601" y="736"/>
                </a:lnTo>
                <a:lnTo>
                  <a:pt x="11596" y="720"/>
                </a:lnTo>
                <a:lnTo>
                  <a:pt x="11594" y="702"/>
                </a:lnTo>
                <a:lnTo>
                  <a:pt x="11594" y="702"/>
                </a:lnTo>
                <a:lnTo>
                  <a:pt x="11596" y="686"/>
                </a:lnTo>
                <a:lnTo>
                  <a:pt x="11601" y="669"/>
                </a:lnTo>
                <a:lnTo>
                  <a:pt x="11608" y="653"/>
                </a:lnTo>
                <a:lnTo>
                  <a:pt x="11617" y="640"/>
                </a:lnTo>
                <a:lnTo>
                  <a:pt x="11630" y="630"/>
                </a:lnTo>
                <a:lnTo>
                  <a:pt x="11644" y="622"/>
                </a:lnTo>
                <a:lnTo>
                  <a:pt x="11661" y="617"/>
                </a:lnTo>
                <a:lnTo>
                  <a:pt x="11679" y="615"/>
                </a:lnTo>
                <a:lnTo>
                  <a:pt x="11679" y="615"/>
                </a:lnTo>
                <a:lnTo>
                  <a:pt x="11695" y="617"/>
                </a:lnTo>
                <a:lnTo>
                  <a:pt x="11711" y="622"/>
                </a:lnTo>
                <a:lnTo>
                  <a:pt x="11724" y="630"/>
                </a:lnTo>
                <a:lnTo>
                  <a:pt x="11737" y="640"/>
                </a:lnTo>
                <a:lnTo>
                  <a:pt x="11746" y="653"/>
                </a:lnTo>
                <a:lnTo>
                  <a:pt x="11753" y="669"/>
                </a:lnTo>
                <a:lnTo>
                  <a:pt x="11759" y="686"/>
                </a:lnTo>
                <a:lnTo>
                  <a:pt x="11760" y="702"/>
                </a:lnTo>
                <a:lnTo>
                  <a:pt x="11760" y="702"/>
                </a:lnTo>
                <a:lnTo>
                  <a:pt x="11759" y="720"/>
                </a:lnTo>
                <a:lnTo>
                  <a:pt x="11753" y="736"/>
                </a:lnTo>
                <a:lnTo>
                  <a:pt x="11746" y="751"/>
                </a:lnTo>
                <a:lnTo>
                  <a:pt x="11737" y="765"/>
                </a:lnTo>
                <a:lnTo>
                  <a:pt x="11724" y="774"/>
                </a:lnTo>
                <a:lnTo>
                  <a:pt x="11711" y="783"/>
                </a:lnTo>
                <a:lnTo>
                  <a:pt x="11695" y="789"/>
                </a:lnTo>
                <a:lnTo>
                  <a:pt x="11679" y="789"/>
                </a:lnTo>
                <a:lnTo>
                  <a:pt x="11679" y="789"/>
                </a:lnTo>
                <a:close/>
                <a:moveTo>
                  <a:pt x="11724" y="677"/>
                </a:moveTo>
                <a:lnTo>
                  <a:pt x="11724" y="677"/>
                </a:lnTo>
                <a:lnTo>
                  <a:pt x="11724" y="669"/>
                </a:lnTo>
                <a:lnTo>
                  <a:pt x="11722" y="662"/>
                </a:lnTo>
                <a:lnTo>
                  <a:pt x="11719" y="655"/>
                </a:lnTo>
                <a:lnTo>
                  <a:pt x="11715" y="651"/>
                </a:lnTo>
                <a:lnTo>
                  <a:pt x="11710" y="646"/>
                </a:lnTo>
                <a:lnTo>
                  <a:pt x="11702" y="644"/>
                </a:lnTo>
                <a:lnTo>
                  <a:pt x="11693" y="642"/>
                </a:lnTo>
                <a:lnTo>
                  <a:pt x="11684" y="642"/>
                </a:lnTo>
                <a:lnTo>
                  <a:pt x="11637" y="642"/>
                </a:lnTo>
                <a:lnTo>
                  <a:pt x="11637" y="762"/>
                </a:lnTo>
                <a:lnTo>
                  <a:pt x="11655" y="762"/>
                </a:lnTo>
                <a:lnTo>
                  <a:pt x="11655" y="711"/>
                </a:lnTo>
                <a:lnTo>
                  <a:pt x="11675" y="711"/>
                </a:lnTo>
                <a:lnTo>
                  <a:pt x="11710" y="762"/>
                </a:lnTo>
                <a:lnTo>
                  <a:pt x="11728" y="762"/>
                </a:lnTo>
                <a:lnTo>
                  <a:pt x="11693" y="711"/>
                </a:lnTo>
                <a:lnTo>
                  <a:pt x="11693" y="711"/>
                </a:lnTo>
                <a:lnTo>
                  <a:pt x="11706" y="707"/>
                </a:lnTo>
                <a:lnTo>
                  <a:pt x="11711" y="704"/>
                </a:lnTo>
                <a:lnTo>
                  <a:pt x="11715" y="700"/>
                </a:lnTo>
                <a:lnTo>
                  <a:pt x="11719" y="696"/>
                </a:lnTo>
                <a:lnTo>
                  <a:pt x="11722" y="691"/>
                </a:lnTo>
                <a:lnTo>
                  <a:pt x="11724" y="684"/>
                </a:lnTo>
                <a:lnTo>
                  <a:pt x="11724" y="677"/>
                </a:lnTo>
                <a:lnTo>
                  <a:pt x="11724" y="677"/>
                </a:lnTo>
                <a:close/>
                <a:moveTo>
                  <a:pt x="11655" y="695"/>
                </a:moveTo>
                <a:lnTo>
                  <a:pt x="11655" y="657"/>
                </a:lnTo>
                <a:lnTo>
                  <a:pt x="11681" y="657"/>
                </a:lnTo>
                <a:lnTo>
                  <a:pt x="11681" y="657"/>
                </a:lnTo>
                <a:lnTo>
                  <a:pt x="11690" y="657"/>
                </a:lnTo>
                <a:lnTo>
                  <a:pt x="11699" y="660"/>
                </a:lnTo>
                <a:lnTo>
                  <a:pt x="11702" y="662"/>
                </a:lnTo>
                <a:lnTo>
                  <a:pt x="11704" y="666"/>
                </a:lnTo>
                <a:lnTo>
                  <a:pt x="11706" y="669"/>
                </a:lnTo>
                <a:lnTo>
                  <a:pt x="11706" y="675"/>
                </a:lnTo>
                <a:lnTo>
                  <a:pt x="11706" y="675"/>
                </a:lnTo>
                <a:lnTo>
                  <a:pt x="11706" y="682"/>
                </a:lnTo>
                <a:lnTo>
                  <a:pt x="11704" y="686"/>
                </a:lnTo>
                <a:lnTo>
                  <a:pt x="11701" y="689"/>
                </a:lnTo>
                <a:lnTo>
                  <a:pt x="11697" y="693"/>
                </a:lnTo>
                <a:lnTo>
                  <a:pt x="11688" y="695"/>
                </a:lnTo>
                <a:lnTo>
                  <a:pt x="11675" y="695"/>
                </a:lnTo>
                <a:lnTo>
                  <a:pt x="11655" y="695"/>
                </a:lnTo>
                <a:close/>
                <a:moveTo>
                  <a:pt x="244" y="1339"/>
                </a:moveTo>
                <a:lnTo>
                  <a:pt x="244" y="1339"/>
                </a:lnTo>
                <a:lnTo>
                  <a:pt x="244" y="1380"/>
                </a:lnTo>
                <a:lnTo>
                  <a:pt x="250" y="1422"/>
                </a:lnTo>
                <a:lnTo>
                  <a:pt x="259" y="1460"/>
                </a:lnTo>
                <a:lnTo>
                  <a:pt x="272" y="1498"/>
                </a:lnTo>
                <a:lnTo>
                  <a:pt x="286" y="1534"/>
                </a:lnTo>
                <a:lnTo>
                  <a:pt x="304" y="1568"/>
                </a:lnTo>
                <a:lnTo>
                  <a:pt x="324" y="1599"/>
                </a:lnTo>
                <a:lnTo>
                  <a:pt x="348" y="1628"/>
                </a:lnTo>
                <a:lnTo>
                  <a:pt x="375" y="1655"/>
                </a:lnTo>
                <a:lnTo>
                  <a:pt x="404" y="1679"/>
                </a:lnTo>
                <a:lnTo>
                  <a:pt x="436" y="1699"/>
                </a:lnTo>
                <a:lnTo>
                  <a:pt x="471" y="1717"/>
                </a:lnTo>
                <a:lnTo>
                  <a:pt x="507" y="1729"/>
                </a:lnTo>
                <a:lnTo>
                  <a:pt x="545" y="1740"/>
                </a:lnTo>
                <a:lnTo>
                  <a:pt x="587" y="1746"/>
                </a:lnTo>
                <a:lnTo>
                  <a:pt x="630" y="1749"/>
                </a:lnTo>
                <a:lnTo>
                  <a:pt x="630" y="1749"/>
                </a:lnTo>
                <a:lnTo>
                  <a:pt x="654" y="1747"/>
                </a:lnTo>
                <a:lnTo>
                  <a:pt x="675" y="1746"/>
                </a:lnTo>
                <a:lnTo>
                  <a:pt x="697" y="1744"/>
                </a:lnTo>
                <a:lnTo>
                  <a:pt x="719" y="1740"/>
                </a:lnTo>
                <a:lnTo>
                  <a:pt x="739" y="1735"/>
                </a:lnTo>
                <a:lnTo>
                  <a:pt x="759" y="1729"/>
                </a:lnTo>
                <a:lnTo>
                  <a:pt x="777" y="1722"/>
                </a:lnTo>
                <a:lnTo>
                  <a:pt x="795" y="1715"/>
                </a:lnTo>
                <a:lnTo>
                  <a:pt x="813" y="1706"/>
                </a:lnTo>
                <a:lnTo>
                  <a:pt x="829" y="1695"/>
                </a:lnTo>
                <a:lnTo>
                  <a:pt x="846" y="1684"/>
                </a:lnTo>
                <a:lnTo>
                  <a:pt x="862" y="1672"/>
                </a:lnTo>
                <a:lnTo>
                  <a:pt x="893" y="1644"/>
                </a:lnTo>
                <a:lnTo>
                  <a:pt x="922" y="1614"/>
                </a:lnTo>
                <a:lnTo>
                  <a:pt x="1085" y="1776"/>
                </a:lnTo>
                <a:lnTo>
                  <a:pt x="1085" y="1776"/>
                </a:lnTo>
                <a:lnTo>
                  <a:pt x="1061" y="1800"/>
                </a:lnTo>
                <a:lnTo>
                  <a:pt x="1038" y="1822"/>
                </a:lnTo>
                <a:lnTo>
                  <a:pt x="1012" y="1842"/>
                </a:lnTo>
                <a:lnTo>
                  <a:pt x="987" y="1860"/>
                </a:lnTo>
                <a:lnTo>
                  <a:pt x="961" y="1878"/>
                </a:lnTo>
                <a:lnTo>
                  <a:pt x="934" y="1892"/>
                </a:lnTo>
                <a:lnTo>
                  <a:pt x="905" y="1905"/>
                </a:lnTo>
                <a:lnTo>
                  <a:pt x="876" y="1918"/>
                </a:lnTo>
                <a:lnTo>
                  <a:pt x="847" y="1928"/>
                </a:lnTo>
                <a:lnTo>
                  <a:pt x="818" y="1937"/>
                </a:lnTo>
                <a:lnTo>
                  <a:pt x="788" y="1945"/>
                </a:lnTo>
                <a:lnTo>
                  <a:pt x="757" y="1950"/>
                </a:lnTo>
                <a:lnTo>
                  <a:pt x="724" y="1956"/>
                </a:lnTo>
                <a:lnTo>
                  <a:pt x="692" y="1957"/>
                </a:lnTo>
                <a:lnTo>
                  <a:pt x="659" y="1959"/>
                </a:lnTo>
                <a:lnTo>
                  <a:pt x="626" y="1961"/>
                </a:lnTo>
                <a:lnTo>
                  <a:pt x="626" y="1961"/>
                </a:lnTo>
                <a:lnTo>
                  <a:pt x="592" y="1959"/>
                </a:lnTo>
                <a:lnTo>
                  <a:pt x="560" y="1957"/>
                </a:lnTo>
                <a:lnTo>
                  <a:pt x="527" y="1954"/>
                </a:lnTo>
                <a:lnTo>
                  <a:pt x="494" y="1948"/>
                </a:lnTo>
                <a:lnTo>
                  <a:pt x="464" y="1943"/>
                </a:lnTo>
                <a:lnTo>
                  <a:pt x="433" y="1934"/>
                </a:lnTo>
                <a:lnTo>
                  <a:pt x="402" y="1925"/>
                </a:lnTo>
                <a:lnTo>
                  <a:pt x="373" y="1916"/>
                </a:lnTo>
                <a:lnTo>
                  <a:pt x="346" y="1903"/>
                </a:lnTo>
                <a:lnTo>
                  <a:pt x="319" y="1890"/>
                </a:lnTo>
                <a:lnTo>
                  <a:pt x="292" y="1876"/>
                </a:lnTo>
                <a:lnTo>
                  <a:pt x="266" y="1860"/>
                </a:lnTo>
                <a:lnTo>
                  <a:pt x="243" y="1843"/>
                </a:lnTo>
                <a:lnTo>
                  <a:pt x="219" y="1825"/>
                </a:lnTo>
                <a:lnTo>
                  <a:pt x="197" y="1807"/>
                </a:lnTo>
                <a:lnTo>
                  <a:pt x="176" y="1787"/>
                </a:lnTo>
                <a:lnTo>
                  <a:pt x="156" y="1766"/>
                </a:lnTo>
                <a:lnTo>
                  <a:pt x="136" y="1742"/>
                </a:lnTo>
                <a:lnTo>
                  <a:pt x="118" y="1720"/>
                </a:lnTo>
                <a:lnTo>
                  <a:pt x="101" y="1695"/>
                </a:lnTo>
                <a:lnTo>
                  <a:pt x="87" y="1670"/>
                </a:lnTo>
                <a:lnTo>
                  <a:pt x="72" y="1644"/>
                </a:lnTo>
                <a:lnTo>
                  <a:pt x="58" y="1617"/>
                </a:lnTo>
                <a:lnTo>
                  <a:pt x="47" y="1588"/>
                </a:lnTo>
                <a:lnTo>
                  <a:pt x="36" y="1559"/>
                </a:lnTo>
                <a:lnTo>
                  <a:pt x="27" y="1530"/>
                </a:lnTo>
                <a:lnTo>
                  <a:pt x="20" y="1500"/>
                </a:lnTo>
                <a:lnTo>
                  <a:pt x="13" y="1467"/>
                </a:lnTo>
                <a:lnTo>
                  <a:pt x="7" y="1435"/>
                </a:lnTo>
                <a:lnTo>
                  <a:pt x="4" y="1402"/>
                </a:lnTo>
                <a:lnTo>
                  <a:pt x="2" y="1369"/>
                </a:lnTo>
                <a:lnTo>
                  <a:pt x="0" y="1335"/>
                </a:lnTo>
                <a:lnTo>
                  <a:pt x="0" y="1335"/>
                </a:lnTo>
                <a:lnTo>
                  <a:pt x="2" y="1301"/>
                </a:lnTo>
                <a:lnTo>
                  <a:pt x="4" y="1266"/>
                </a:lnTo>
                <a:lnTo>
                  <a:pt x="7" y="1234"/>
                </a:lnTo>
                <a:lnTo>
                  <a:pt x="13" y="1201"/>
                </a:lnTo>
                <a:lnTo>
                  <a:pt x="18" y="1169"/>
                </a:lnTo>
                <a:lnTo>
                  <a:pt x="27" y="1138"/>
                </a:lnTo>
                <a:lnTo>
                  <a:pt x="36" y="1107"/>
                </a:lnTo>
                <a:lnTo>
                  <a:pt x="45" y="1078"/>
                </a:lnTo>
                <a:lnTo>
                  <a:pt x="58" y="1051"/>
                </a:lnTo>
                <a:lnTo>
                  <a:pt x="71" y="1022"/>
                </a:lnTo>
                <a:lnTo>
                  <a:pt x="85" y="997"/>
                </a:lnTo>
                <a:lnTo>
                  <a:pt x="100" y="971"/>
                </a:lnTo>
                <a:lnTo>
                  <a:pt x="118" y="946"/>
                </a:lnTo>
                <a:lnTo>
                  <a:pt x="134" y="923"/>
                </a:lnTo>
                <a:lnTo>
                  <a:pt x="154" y="899"/>
                </a:lnTo>
                <a:lnTo>
                  <a:pt x="174" y="877"/>
                </a:lnTo>
                <a:lnTo>
                  <a:pt x="196" y="857"/>
                </a:lnTo>
                <a:lnTo>
                  <a:pt x="217" y="838"/>
                </a:lnTo>
                <a:lnTo>
                  <a:pt x="241" y="819"/>
                </a:lnTo>
                <a:lnTo>
                  <a:pt x="264" y="803"/>
                </a:lnTo>
                <a:lnTo>
                  <a:pt x="290" y="787"/>
                </a:lnTo>
                <a:lnTo>
                  <a:pt x="317" y="772"/>
                </a:lnTo>
                <a:lnTo>
                  <a:pt x="344" y="760"/>
                </a:lnTo>
                <a:lnTo>
                  <a:pt x="371" y="747"/>
                </a:lnTo>
                <a:lnTo>
                  <a:pt x="400" y="736"/>
                </a:lnTo>
                <a:lnTo>
                  <a:pt x="431" y="727"/>
                </a:lnTo>
                <a:lnTo>
                  <a:pt x="462" y="718"/>
                </a:lnTo>
                <a:lnTo>
                  <a:pt x="493" y="713"/>
                </a:lnTo>
                <a:lnTo>
                  <a:pt x="525" y="707"/>
                </a:lnTo>
                <a:lnTo>
                  <a:pt x="558" y="704"/>
                </a:lnTo>
                <a:lnTo>
                  <a:pt x="592" y="700"/>
                </a:lnTo>
                <a:lnTo>
                  <a:pt x="626" y="700"/>
                </a:lnTo>
                <a:lnTo>
                  <a:pt x="626" y="700"/>
                </a:lnTo>
                <a:lnTo>
                  <a:pt x="659" y="700"/>
                </a:lnTo>
                <a:lnTo>
                  <a:pt x="693" y="704"/>
                </a:lnTo>
                <a:lnTo>
                  <a:pt x="724" y="707"/>
                </a:lnTo>
                <a:lnTo>
                  <a:pt x="757" y="711"/>
                </a:lnTo>
                <a:lnTo>
                  <a:pt x="788" y="718"/>
                </a:lnTo>
                <a:lnTo>
                  <a:pt x="818" y="727"/>
                </a:lnTo>
                <a:lnTo>
                  <a:pt x="849" y="736"/>
                </a:lnTo>
                <a:lnTo>
                  <a:pt x="880" y="747"/>
                </a:lnTo>
                <a:lnTo>
                  <a:pt x="909" y="760"/>
                </a:lnTo>
                <a:lnTo>
                  <a:pt x="936" y="774"/>
                </a:lnTo>
                <a:lnTo>
                  <a:pt x="965" y="789"/>
                </a:lnTo>
                <a:lnTo>
                  <a:pt x="992" y="807"/>
                </a:lnTo>
                <a:lnTo>
                  <a:pt x="1018" y="825"/>
                </a:lnTo>
                <a:lnTo>
                  <a:pt x="1043" y="847"/>
                </a:lnTo>
                <a:lnTo>
                  <a:pt x="1066" y="868"/>
                </a:lnTo>
                <a:lnTo>
                  <a:pt x="1090" y="892"/>
                </a:lnTo>
                <a:lnTo>
                  <a:pt x="916" y="1047"/>
                </a:lnTo>
                <a:lnTo>
                  <a:pt x="916" y="1047"/>
                </a:lnTo>
                <a:lnTo>
                  <a:pt x="885" y="1017"/>
                </a:lnTo>
                <a:lnTo>
                  <a:pt x="853" y="990"/>
                </a:lnTo>
                <a:lnTo>
                  <a:pt x="837" y="977"/>
                </a:lnTo>
                <a:lnTo>
                  <a:pt x="818" y="966"/>
                </a:lnTo>
                <a:lnTo>
                  <a:pt x="802" y="957"/>
                </a:lnTo>
                <a:lnTo>
                  <a:pt x="784" y="948"/>
                </a:lnTo>
                <a:lnTo>
                  <a:pt x="766" y="941"/>
                </a:lnTo>
                <a:lnTo>
                  <a:pt x="746" y="933"/>
                </a:lnTo>
                <a:lnTo>
                  <a:pt x="726" y="928"/>
                </a:lnTo>
                <a:lnTo>
                  <a:pt x="706" y="923"/>
                </a:lnTo>
                <a:lnTo>
                  <a:pt x="684" y="919"/>
                </a:lnTo>
                <a:lnTo>
                  <a:pt x="663" y="917"/>
                </a:lnTo>
                <a:lnTo>
                  <a:pt x="617" y="915"/>
                </a:lnTo>
                <a:lnTo>
                  <a:pt x="617" y="915"/>
                </a:lnTo>
                <a:lnTo>
                  <a:pt x="594" y="915"/>
                </a:lnTo>
                <a:lnTo>
                  <a:pt x="572" y="917"/>
                </a:lnTo>
                <a:lnTo>
                  <a:pt x="550" y="921"/>
                </a:lnTo>
                <a:lnTo>
                  <a:pt x="529" y="924"/>
                </a:lnTo>
                <a:lnTo>
                  <a:pt x="509" y="928"/>
                </a:lnTo>
                <a:lnTo>
                  <a:pt x="491" y="935"/>
                </a:lnTo>
                <a:lnTo>
                  <a:pt x="473" y="942"/>
                </a:lnTo>
                <a:lnTo>
                  <a:pt x="454" y="950"/>
                </a:lnTo>
                <a:lnTo>
                  <a:pt x="436" y="959"/>
                </a:lnTo>
                <a:lnTo>
                  <a:pt x="420" y="968"/>
                </a:lnTo>
                <a:lnTo>
                  <a:pt x="404" y="979"/>
                </a:lnTo>
                <a:lnTo>
                  <a:pt x="389" y="990"/>
                </a:lnTo>
                <a:lnTo>
                  <a:pt x="362" y="1015"/>
                </a:lnTo>
                <a:lnTo>
                  <a:pt x="337" y="1042"/>
                </a:lnTo>
                <a:lnTo>
                  <a:pt x="315" y="1073"/>
                </a:lnTo>
                <a:lnTo>
                  <a:pt x="297" y="1105"/>
                </a:lnTo>
                <a:lnTo>
                  <a:pt x="281" y="1141"/>
                </a:lnTo>
                <a:lnTo>
                  <a:pt x="266" y="1178"/>
                </a:lnTo>
                <a:lnTo>
                  <a:pt x="257" y="1217"/>
                </a:lnTo>
                <a:lnTo>
                  <a:pt x="250" y="1257"/>
                </a:lnTo>
                <a:lnTo>
                  <a:pt x="244" y="1297"/>
                </a:lnTo>
                <a:lnTo>
                  <a:pt x="244" y="1339"/>
                </a:lnTo>
                <a:lnTo>
                  <a:pt x="244" y="1339"/>
                </a:lnTo>
                <a:close/>
                <a:moveTo>
                  <a:pt x="4137" y="1230"/>
                </a:moveTo>
                <a:lnTo>
                  <a:pt x="4137" y="1930"/>
                </a:lnTo>
                <a:lnTo>
                  <a:pt x="3909" y="1930"/>
                </a:lnTo>
                <a:lnTo>
                  <a:pt x="3909" y="1261"/>
                </a:lnTo>
                <a:lnTo>
                  <a:pt x="3909" y="1261"/>
                </a:lnTo>
                <a:lnTo>
                  <a:pt x="3909" y="1226"/>
                </a:lnTo>
                <a:lnTo>
                  <a:pt x="3907" y="1192"/>
                </a:lnTo>
                <a:lnTo>
                  <a:pt x="3904" y="1161"/>
                </a:lnTo>
                <a:lnTo>
                  <a:pt x="3900" y="1129"/>
                </a:lnTo>
                <a:lnTo>
                  <a:pt x="3893" y="1100"/>
                </a:lnTo>
                <a:lnTo>
                  <a:pt x="3886" y="1071"/>
                </a:lnTo>
                <a:lnTo>
                  <a:pt x="3875" y="1044"/>
                </a:lnTo>
                <a:lnTo>
                  <a:pt x="3862" y="1018"/>
                </a:lnTo>
                <a:lnTo>
                  <a:pt x="3848" y="995"/>
                </a:lnTo>
                <a:lnTo>
                  <a:pt x="3830" y="975"/>
                </a:lnTo>
                <a:lnTo>
                  <a:pt x="3808" y="957"/>
                </a:lnTo>
                <a:lnTo>
                  <a:pt x="3784" y="941"/>
                </a:lnTo>
                <a:lnTo>
                  <a:pt x="3757" y="928"/>
                </a:lnTo>
                <a:lnTo>
                  <a:pt x="3725" y="919"/>
                </a:lnTo>
                <a:lnTo>
                  <a:pt x="3690" y="914"/>
                </a:lnTo>
                <a:lnTo>
                  <a:pt x="3652" y="912"/>
                </a:lnTo>
                <a:lnTo>
                  <a:pt x="3652" y="912"/>
                </a:lnTo>
                <a:lnTo>
                  <a:pt x="3610" y="914"/>
                </a:lnTo>
                <a:lnTo>
                  <a:pt x="3574" y="919"/>
                </a:lnTo>
                <a:lnTo>
                  <a:pt x="3540" y="928"/>
                </a:lnTo>
                <a:lnTo>
                  <a:pt x="3509" y="939"/>
                </a:lnTo>
                <a:lnTo>
                  <a:pt x="3482" y="953"/>
                </a:lnTo>
                <a:lnTo>
                  <a:pt x="3457" y="970"/>
                </a:lnTo>
                <a:lnTo>
                  <a:pt x="3435" y="990"/>
                </a:lnTo>
                <a:lnTo>
                  <a:pt x="3415" y="1013"/>
                </a:lnTo>
                <a:lnTo>
                  <a:pt x="3397" y="1038"/>
                </a:lnTo>
                <a:lnTo>
                  <a:pt x="3382" y="1065"/>
                </a:lnTo>
                <a:lnTo>
                  <a:pt x="3371" y="1094"/>
                </a:lnTo>
                <a:lnTo>
                  <a:pt x="3361" y="1127"/>
                </a:lnTo>
                <a:lnTo>
                  <a:pt x="3353" y="1161"/>
                </a:lnTo>
                <a:lnTo>
                  <a:pt x="3348" y="1196"/>
                </a:lnTo>
                <a:lnTo>
                  <a:pt x="3346" y="1234"/>
                </a:lnTo>
                <a:lnTo>
                  <a:pt x="3344" y="1274"/>
                </a:lnTo>
                <a:lnTo>
                  <a:pt x="3344" y="1930"/>
                </a:lnTo>
                <a:lnTo>
                  <a:pt x="3114" y="1930"/>
                </a:lnTo>
                <a:lnTo>
                  <a:pt x="3114" y="1301"/>
                </a:lnTo>
                <a:lnTo>
                  <a:pt x="3114" y="1301"/>
                </a:lnTo>
                <a:lnTo>
                  <a:pt x="3113" y="1219"/>
                </a:lnTo>
                <a:lnTo>
                  <a:pt x="3111" y="1181"/>
                </a:lnTo>
                <a:lnTo>
                  <a:pt x="3105" y="1145"/>
                </a:lnTo>
                <a:lnTo>
                  <a:pt x="3100" y="1111"/>
                </a:lnTo>
                <a:lnTo>
                  <a:pt x="3093" y="1078"/>
                </a:lnTo>
                <a:lnTo>
                  <a:pt x="3084" y="1049"/>
                </a:lnTo>
                <a:lnTo>
                  <a:pt x="3071" y="1022"/>
                </a:lnTo>
                <a:lnTo>
                  <a:pt x="3056" y="997"/>
                </a:lnTo>
                <a:lnTo>
                  <a:pt x="3038" y="975"/>
                </a:lnTo>
                <a:lnTo>
                  <a:pt x="3029" y="966"/>
                </a:lnTo>
                <a:lnTo>
                  <a:pt x="3018" y="957"/>
                </a:lnTo>
                <a:lnTo>
                  <a:pt x="3008" y="948"/>
                </a:lnTo>
                <a:lnTo>
                  <a:pt x="2995" y="941"/>
                </a:lnTo>
                <a:lnTo>
                  <a:pt x="2982" y="935"/>
                </a:lnTo>
                <a:lnTo>
                  <a:pt x="2968" y="928"/>
                </a:lnTo>
                <a:lnTo>
                  <a:pt x="2951" y="924"/>
                </a:lnTo>
                <a:lnTo>
                  <a:pt x="2937" y="919"/>
                </a:lnTo>
                <a:lnTo>
                  <a:pt x="2901" y="914"/>
                </a:lnTo>
                <a:lnTo>
                  <a:pt x="2861" y="912"/>
                </a:lnTo>
                <a:lnTo>
                  <a:pt x="2861" y="912"/>
                </a:lnTo>
                <a:lnTo>
                  <a:pt x="2830" y="914"/>
                </a:lnTo>
                <a:lnTo>
                  <a:pt x="2801" y="919"/>
                </a:lnTo>
                <a:lnTo>
                  <a:pt x="2772" y="926"/>
                </a:lnTo>
                <a:lnTo>
                  <a:pt x="2743" y="935"/>
                </a:lnTo>
                <a:lnTo>
                  <a:pt x="2716" y="950"/>
                </a:lnTo>
                <a:lnTo>
                  <a:pt x="2691" y="966"/>
                </a:lnTo>
                <a:lnTo>
                  <a:pt x="2667" y="984"/>
                </a:lnTo>
                <a:lnTo>
                  <a:pt x="2644" y="1008"/>
                </a:lnTo>
                <a:lnTo>
                  <a:pt x="2624" y="1033"/>
                </a:lnTo>
                <a:lnTo>
                  <a:pt x="2606" y="1062"/>
                </a:lnTo>
                <a:lnTo>
                  <a:pt x="2589" y="1094"/>
                </a:lnTo>
                <a:lnTo>
                  <a:pt x="2575" y="1131"/>
                </a:lnTo>
                <a:lnTo>
                  <a:pt x="2564" y="1169"/>
                </a:lnTo>
                <a:lnTo>
                  <a:pt x="2557" y="1212"/>
                </a:lnTo>
                <a:lnTo>
                  <a:pt x="2551" y="1257"/>
                </a:lnTo>
                <a:lnTo>
                  <a:pt x="2549" y="1306"/>
                </a:lnTo>
                <a:lnTo>
                  <a:pt x="2549" y="1930"/>
                </a:lnTo>
                <a:lnTo>
                  <a:pt x="2321" y="1930"/>
                </a:lnTo>
                <a:lnTo>
                  <a:pt x="2321" y="729"/>
                </a:lnTo>
                <a:lnTo>
                  <a:pt x="2535" y="729"/>
                </a:lnTo>
                <a:lnTo>
                  <a:pt x="2535" y="917"/>
                </a:lnTo>
                <a:lnTo>
                  <a:pt x="2539" y="917"/>
                </a:lnTo>
                <a:lnTo>
                  <a:pt x="2539" y="917"/>
                </a:lnTo>
                <a:lnTo>
                  <a:pt x="2546" y="903"/>
                </a:lnTo>
                <a:lnTo>
                  <a:pt x="2553" y="888"/>
                </a:lnTo>
                <a:lnTo>
                  <a:pt x="2566" y="870"/>
                </a:lnTo>
                <a:lnTo>
                  <a:pt x="2578" y="852"/>
                </a:lnTo>
                <a:lnTo>
                  <a:pt x="2597" y="834"/>
                </a:lnTo>
                <a:lnTo>
                  <a:pt x="2615" y="816"/>
                </a:lnTo>
                <a:lnTo>
                  <a:pt x="2636" y="798"/>
                </a:lnTo>
                <a:lnTo>
                  <a:pt x="2660" y="781"/>
                </a:lnTo>
                <a:lnTo>
                  <a:pt x="2687" y="763"/>
                </a:lnTo>
                <a:lnTo>
                  <a:pt x="2714" y="749"/>
                </a:lnTo>
                <a:lnTo>
                  <a:pt x="2745" y="734"/>
                </a:lnTo>
                <a:lnTo>
                  <a:pt x="2778" y="722"/>
                </a:lnTo>
                <a:lnTo>
                  <a:pt x="2812" y="711"/>
                </a:lnTo>
                <a:lnTo>
                  <a:pt x="2848" y="704"/>
                </a:lnTo>
                <a:lnTo>
                  <a:pt x="2886" y="700"/>
                </a:lnTo>
                <a:lnTo>
                  <a:pt x="2926" y="698"/>
                </a:lnTo>
                <a:lnTo>
                  <a:pt x="2926" y="698"/>
                </a:lnTo>
                <a:lnTo>
                  <a:pt x="2957" y="698"/>
                </a:lnTo>
                <a:lnTo>
                  <a:pt x="2989" y="702"/>
                </a:lnTo>
                <a:lnTo>
                  <a:pt x="3018" y="706"/>
                </a:lnTo>
                <a:lnTo>
                  <a:pt x="3047" y="713"/>
                </a:lnTo>
                <a:lnTo>
                  <a:pt x="3075" y="720"/>
                </a:lnTo>
                <a:lnTo>
                  <a:pt x="3102" y="729"/>
                </a:lnTo>
                <a:lnTo>
                  <a:pt x="3127" y="742"/>
                </a:lnTo>
                <a:lnTo>
                  <a:pt x="3151" y="754"/>
                </a:lnTo>
                <a:lnTo>
                  <a:pt x="3174" y="769"/>
                </a:lnTo>
                <a:lnTo>
                  <a:pt x="3194" y="787"/>
                </a:lnTo>
                <a:lnTo>
                  <a:pt x="3216" y="805"/>
                </a:lnTo>
                <a:lnTo>
                  <a:pt x="3234" y="825"/>
                </a:lnTo>
                <a:lnTo>
                  <a:pt x="3254" y="847"/>
                </a:lnTo>
                <a:lnTo>
                  <a:pt x="3270" y="870"/>
                </a:lnTo>
                <a:lnTo>
                  <a:pt x="3286" y="895"/>
                </a:lnTo>
                <a:lnTo>
                  <a:pt x="3301" y="923"/>
                </a:lnTo>
                <a:lnTo>
                  <a:pt x="3301" y="923"/>
                </a:lnTo>
                <a:lnTo>
                  <a:pt x="3317" y="895"/>
                </a:lnTo>
                <a:lnTo>
                  <a:pt x="3333" y="870"/>
                </a:lnTo>
                <a:lnTo>
                  <a:pt x="3353" y="847"/>
                </a:lnTo>
                <a:lnTo>
                  <a:pt x="3373" y="825"/>
                </a:lnTo>
                <a:lnTo>
                  <a:pt x="3395" y="805"/>
                </a:lnTo>
                <a:lnTo>
                  <a:pt x="3419" y="787"/>
                </a:lnTo>
                <a:lnTo>
                  <a:pt x="3442" y="769"/>
                </a:lnTo>
                <a:lnTo>
                  <a:pt x="3466" y="754"/>
                </a:lnTo>
                <a:lnTo>
                  <a:pt x="3493" y="742"/>
                </a:lnTo>
                <a:lnTo>
                  <a:pt x="3518" y="729"/>
                </a:lnTo>
                <a:lnTo>
                  <a:pt x="3545" y="720"/>
                </a:lnTo>
                <a:lnTo>
                  <a:pt x="3572" y="713"/>
                </a:lnTo>
                <a:lnTo>
                  <a:pt x="3600" y="706"/>
                </a:lnTo>
                <a:lnTo>
                  <a:pt x="3627" y="702"/>
                </a:lnTo>
                <a:lnTo>
                  <a:pt x="3654" y="698"/>
                </a:lnTo>
                <a:lnTo>
                  <a:pt x="3681" y="698"/>
                </a:lnTo>
                <a:lnTo>
                  <a:pt x="3681" y="698"/>
                </a:lnTo>
                <a:lnTo>
                  <a:pt x="3716" y="698"/>
                </a:lnTo>
                <a:lnTo>
                  <a:pt x="3748" y="700"/>
                </a:lnTo>
                <a:lnTo>
                  <a:pt x="3779" y="704"/>
                </a:lnTo>
                <a:lnTo>
                  <a:pt x="3808" y="709"/>
                </a:lnTo>
                <a:lnTo>
                  <a:pt x="3835" y="716"/>
                </a:lnTo>
                <a:lnTo>
                  <a:pt x="3860" y="724"/>
                </a:lnTo>
                <a:lnTo>
                  <a:pt x="3886" y="733"/>
                </a:lnTo>
                <a:lnTo>
                  <a:pt x="3907" y="743"/>
                </a:lnTo>
                <a:lnTo>
                  <a:pt x="3931" y="754"/>
                </a:lnTo>
                <a:lnTo>
                  <a:pt x="3951" y="767"/>
                </a:lnTo>
                <a:lnTo>
                  <a:pt x="3969" y="780"/>
                </a:lnTo>
                <a:lnTo>
                  <a:pt x="3987" y="794"/>
                </a:lnTo>
                <a:lnTo>
                  <a:pt x="4005" y="810"/>
                </a:lnTo>
                <a:lnTo>
                  <a:pt x="4020" y="827"/>
                </a:lnTo>
                <a:lnTo>
                  <a:pt x="4034" y="845"/>
                </a:lnTo>
                <a:lnTo>
                  <a:pt x="4047" y="863"/>
                </a:lnTo>
                <a:lnTo>
                  <a:pt x="4060" y="881"/>
                </a:lnTo>
                <a:lnTo>
                  <a:pt x="4070" y="901"/>
                </a:lnTo>
                <a:lnTo>
                  <a:pt x="4081" y="923"/>
                </a:lnTo>
                <a:lnTo>
                  <a:pt x="4090" y="942"/>
                </a:lnTo>
                <a:lnTo>
                  <a:pt x="4105" y="988"/>
                </a:lnTo>
                <a:lnTo>
                  <a:pt x="4117" y="1033"/>
                </a:lnTo>
                <a:lnTo>
                  <a:pt x="4127" y="1080"/>
                </a:lnTo>
                <a:lnTo>
                  <a:pt x="4132" y="1129"/>
                </a:lnTo>
                <a:lnTo>
                  <a:pt x="4136" y="1179"/>
                </a:lnTo>
                <a:lnTo>
                  <a:pt x="4137" y="1230"/>
                </a:lnTo>
                <a:lnTo>
                  <a:pt x="4137" y="1230"/>
                </a:lnTo>
                <a:close/>
                <a:moveTo>
                  <a:pt x="5533" y="1330"/>
                </a:moveTo>
                <a:lnTo>
                  <a:pt x="5533" y="1330"/>
                </a:lnTo>
                <a:lnTo>
                  <a:pt x="5532" y="1362"/>
                </a:lnTo>
                <a:lnTo>
                  <a:pt x="5530" y="1395"/>
                </a:lnTo>
                <a:lnTo>
                  <a:pt x="5526" y="1427"/>
                </a:lnTo>
                <a:lnTo>
                  <a:pt x="5523" y="1460"/>
                </a:lnTo>
                <a:lnTo>
                  <a:pt x="5515" y="1491"/>
                </a:lnTo>
                <a:lnTo>
                  <a:pt x="5508" y="1521"/>
                </a:lnTo>
                <a:lnTo>
                  <a:pt x="5499" y="1550"/>
                </a:lnTo>
                <a:lnTo>
                  <a:pt x="5490" y="1579"/>
                </a:lnTo>
                <a:lnTo>
                  <a:pt x="5477" y="1608"/>
                </a:lnTo>
                <a:lnTo>
                  <a:pt x="5466" y="1635"/>
                </a:lnTo>
                <a:lnTo>
                  <a:pt x="5452" y="1662"/>
                </a:lnTo>
                <a:lnTo>
                  <a:pt x="5437" y="1688"/>
                </a:lnTo>
                <a:lnTo>
                  <a:pt x="5421" y="1711"/>
                </a:lnTo>
                <a:lnTo>
                  <a:pt x="5405" y="1735"/>
                </a:lnTo>
                <a:lnTo>
                  <a:pt x="5385" y="1758"/>
                </a:lnTo>
                <a:lnTo>
                  <a:pt x="5367" y="1780"/>
                </a:lnTo>
                <a:lnTo>
                  <a:pt x="5345" y="1800"/>
                </a:lnTo>
                <a:lnTo>
                  <a:pt x="5323" y="1820"/>
                </a:lnTo>
                <a:lnTo>
                  <a:pt x="5302" y="1838"/>
                </a:lnTo>
                <a:lnTo>
                  <a:pt x="5278" y="1856"/>
                </a:lnTo>
                <a:lnTo>
                  <a:pt x="5253" y="1872"/>
                </a:lnTo>
                <a:lnTo>
                  <a:pt x="5227" y="1887"/>
                </a:lnTo>
                <a:lnTo>
                  <a:pt x="5200" y="1901"/>
                </a:lnTo>
                <a:lnTo>
                  <a:pt x="5173" y="1912"/>
                </a:lnTo>
                <a:lnTo>
                  <a:pt x="5146" y="1923"/>
                </a:lnTo>
                <a:lnTo>
                  <a:pt x="5115" y="1934"/>
                </a:lnTo>
                <a:lnTo>
                  <a:pt x="5086" y="1941"/>
                </a:lnTo>
                <a:lnTo>
                  <a:pt x="5054" y="1948"/>
                </a:lnTo>
                <a:lnTo>
                  <a:pt x="5023" y="1954"/>
                </a:lnTo>
                <a:lnTo>
                  <a:pt x="4990" y="1957"/>
                </a:lnTo>
                <a:lnTo>
                  <a:pt x="4956" y="1959"/>
                </a:lnTo>
                <a:lnTo>
                  <a:pt x="4921" y="1961"/>
                </a:lnTo>
                <a:lnTo>
                  <a:pt x="4921" y="1961"/>
                </a:lnTo>
                <a:lnTo>
                  <a:pt x="4887" y="1959"/>
                </a:lnTo>
                <a:lnTo>
                  <a:pt x="4853" y="1957"/>
                </a:lnTo>
                <a:lnTo>
                  <a:pt x="4820" y="1952"/>
                </a:lnTo>
                <a:lnTo>
                  <a:pt x="4787" y="1945"/>
                </a:lnTo>
                <a:lnTo>
                  <a:pt x="4755" y="1936"/>
                </a:lnTo>
                <a:lnTo>
                  <a:pt x="4724" y="1925"/>
                </a:lnTo>
                <a:lnTo>
                  <a:pt x="4695" y="1912"/>
                </a:lnTo>
                <a:lnTo>
                  <a:pt x="4666" y="1899"/>
                </a:lnTo>
                <a:lnTo>
                  <a:pt x="4666" y="1682"/>
                </a:lnTo>
                <a:lnTo>
                  <a:pt x="4666" y="1682"/>
                </a:lnTo>
                <a:lnTo>
                  <a:pt x="4690" y="1697"/>
                </a:lnTo>
                <a:lnTo>
                  <a:pt x="4715" y="1709"/>
                </a:lnTo>
                <a:lnTo>
                  <a:pt x="4742" y="1720"/>
                </a:lnTo>
                <a:lnTo>
                  <a:pt x="4769" y="1731"/>
                </a:lnTo>
                <a:lnTo>
                  <a:pt x="4798" y="1738"/>
                </a:lnTo>
                <a:lnTo>
                  <a:pt x="4829" y="1744"/>
                </a:lnTo>
                <a:lnTo>
                  <a:pt x="4860" y="1747"/>
                </a:lnTo>
                <a:lnTo>
                  <a:pt x="4894" y="1749"/>
                </a:lnTo>
                <a:lnTo>
                  <a:pt x="4894" y="1749"/>
                </a:lnTo>
                <a:lnTo>
                  <a:pt x="4938" y="1746"/>
                </a:lnTo>
                <a:lnTo>
                  <a:pt x="4981" y="1740"/>
                </a:lnTo>
                <a:lnTo>
                  <a:pt x="5021" y="1731"/>
                </a:lnTo>
                <a:lnTo>
                  <a:pt x="5059" y="1717"/>
                </a:lnTo>
                <a:lnTo>
                  <a:pt x="5093" y="1700"/>
                </a:lnTo>
                <a:lnTo>
                  <a:pt x="5126" y="1681"/>
                </a:lnTo>
                <a:lnTo>
                  <a:pt x="5157" y="1657"/>
                </a:lnTo>
                <a:lnTo>
                  <a:pt x="5184" y="1630"/>
                </a:lnTo>
                <a:lnTo>
                  <a:pt x="5208" y="1601"/>
                </a:lnTo>
                <a:lnTo>
                  <a:pt x="5229" y="1568"/>
                </a:lnTo>
                <a:lnTo>
                  <a:pt x="5247" y="1534"/>
                </a:lnTo>
                <a:lnTo>
                  <a:pt x="5262" y="1498"/>
                </a:lnTo>
                <a:lnTo>
                  <a:pt x="5275" y="1458"/>
                </a:lnTo>
                <a:lnTo>
                  <a:pt x="5284" y="1416"/>
                </a:lnTo>
                <a:lnTo>
                  <a:pt x="5289" y="1373"/>
                </a:lnTo>
                <a:lnTo>
                  <a:pt x="5291" y="1330"/>
                </a:lnTo>
                <a:lnTo>
                  <a:pt x="5291" y="1330"/>
                </a:lnTo>
                <a:lnTo>
                  <a:pt x="5289" y="1284"/>
                </a:lnTo>
                <a:lnTo>
                  <a:pt x="5284" y="1241"/>
                </a:lnTo>
                <a:lnTo>
                  <a:pt x="5275" y="1201"/>
                </a:lnTo>
                <a:lnTo>
                  <a:pt x="5262" y="1161"/>
                </a:lnTo>
                <a:lnTo>
                  <a:pt x="5247" y="1125"/>
                </a:lnTo>
                <a:lnTo>
                  <a:pt x="5229" y="1091"/>
                </a:lnTo>
                <a:lnTo>
                  <a:pt x="5208" y="1058"/>
                </a:lnTo>
                <a:lnTo>
                  <a:pt x="5184" y="1029"/>
                </a:lnTo>
                <a:lnTo>
                  <a:pt x="5157" y="1004"/>
                </a:lnTo>
                <a:lnTo>
                  <a:pt x="5126" y="980"/>
                </a:lnTo>
                <a:lnTo>
                  <a:pt x="5093" y="961"/>
                </a:lnTo>
                <a:lnTo>
                  <a:pt x="5059" y="942"/>
                </a:lnTo>
                <a:lnTo>
                  <a:pt x="5021" y="930"/>
                </a:lnTo>
                <a:lnTo>
                  <a:pt x="4981" y="921"/>
                </a:lnTo>
                <a:lnTo>
                  <a:pt x="4938" y="914"/>
                </a:lnTo>
                <a:lnTo>
                  <a:pt x="4894" y="912"/>
                </a:lnTo>
                <a:lnTo>
                  <a:pt x="4894" y="912"/>
                </a:lnTo>
                <a:lnTo>
                  <a:pt x="4849" y="914"/>
                </a:lnTo>
                <a:lnTo>
                  <a:pt x="4807" y="921"/>
                </a:lnTo>
                <a:lnTo>
                  <a:pt x="4768" y="930"/>
                </a:lnTo>
                <a:lnTo>
                  <a:pt x="4729" y="942"/>
                </a:lnTo>
                <a:lnTo>
                  <a:pt x="4695" y="961"/>
                </a:lnTo>
                <a:lnTo>
                  <a:pt x="4663" y="980"/>
                </a:lnTo>
                <a:lnTo>
                  <a:pt x="4634" y="1004"/>
                </a:lnTo>
                <a:lnTo>
                  <a:pt x="4606" y="1029"/>
                </a:lnTo>
                <a:lnTo>
                  <a:pt x="4581" y="1058"/>
                </a:lnTo>
                <a:lnTo>
                  <a:pt x="4561" y="1091"/>
                </a:lnTo>
                <a:lnTo>
                  <a:pt x="4543" y="1125"/>
                </a:lnTo>
                <a:lnTo>
                  <a:pt x="4527" y="1161"/>
                </a:lnTo>
                <a:lnTo>
                  <a:pt x="4516" y="1201"/>
                </a:lnTo>
                <a:lnTo>
                  <a:pt x="4507" y="1241"/>
                </a:lnTo>
                <a:lnTo>
                  <a:pt x="4501" y="1284"/>
                </a:lnTo>
                <a:lnTo>
                  <a:pt x="4500" y="1330"/>
                </a:lnTo>
                <a:lnTo>
                  <a:pt x="4500" y="2562"/>
                </a:lnTo>
                <a:lnTo>
                  <a:pt x="4270" y="2562"/>
                </a:lnTo>
                <a:lnTo>
                  <a:pt x="4270" y="729"/>
                </a:lnTo>
                <a:lnTo>
                  <a:pt x="4500" y="729"/>
                </a:lnTo>
                <a:lnTo>
                  <a:pt x="4500" y="903"/>
                </a:lnTo>
                <a:lnTo>
                  <a:pt x="4505" y="903"/>
                </a:lnTo>
                <a:lnTo>
                  <a:pt x="4505" y="903"/>
                </a:lnTo>
                <a:lnTo>
                  <a:pt x="4523" y="879"/>
                </a:lnTo>
                <a:lnTo>
                  <a:pt x="4541" y="856"/>
                </a:lnTo>
                <a:lnTo>
                  <a:pt x="4563" y="834"/>
                </a:lnTo>
                <a:lnTo>
                  <a:pt x="4585" y="816"/>
                </a:lnTo>
                <a:lnTo>
                  <a:pt x="4608" y="798"/>
                </a:lnTo>
                <a:lnTo>
                  <a:pt x="4634" y="780"/>
                </a:lnTo>
                <a:lnTo>
                  <a:pt x="4659" y="765"/>
                </a:lnTo>
                <a:lnTo>
                  <a:pt x="4686" y="751"/>
                </a:lnTo>
                <a:lnTo>
                  <a:pt x="4713" y="738"/>
                </a:lnTo>
                <a:lnTo>
                  <a:pt x="4742" y="727"/>
                </a:lnTo>
                <a:lnTo>
                  <a:pt x="4771" y="718"/>
                </a:lnTo>
                <a:lnTo>
                  <a:pt x="4800" y="711"/>
                </a:lnTo>
                <a:lnTo>
                  <a:pt x="4831" y="706"/>
                </a:lnTo>
                <a:lnTo>
                  <a:pt x="4862" y="702"/>
                </a:lnTo>
                <a:lnTo>
                  <a:pt x="4891" y="698"/>
                </a:lnTo>
                <a:lnTo>
                  <a:pt x="4921" y="698"/>
                </a:lnTo>
                <a:lnTo>
                  <a:pt x="4921" y="698"/>
                </a:lnTo>
                <a:lnTo>
                  <a:pt x="4956" y="698"/>
                </a:lnTo>
                <a:lnTo>
                  <a:pt x="4990" y="700"/>
                </a:lnTo>
                <a:lnTo>
                  <a:pt x="5023" y="706"/>
                </a:lnTo>
                <a:lnTo>
                  <a:pt x="5055" y="711"/>
                </a:lnTo>
                <a:lnTo>
                  <a:pt x="5086" y="716"/>
                </a:lnTo>
                <a:lnTo>
                  <a:pt x="5117" y="725"/>
                </a:lnTo>
                <a:lnTo>
                  <a:pt x="5146" y="734"/>
                </a:lnTo>
                <a:lnTo>
                  <a:pt x="5175" y="747"/>
                </a:lnTo>
                <a:lnTo>
                  <a:pt x="5202" y="758"/>
                </a:lnTo>
                <a:lnTo>
                  <a:pt x="5229" y="772"/>
                </a:lnTo>
                <a:lnTo>
                  <a:pt x="5255" y="787"/>
                </a:lnTo>
                <a:lnTo>
                  <a:pt x="5280" y="803"/>
                </a:lnTo>
                <a:lnTo>
                  <a:pt x="5303" y="821"/>
                </a:lnTo>
                <a:lnTo>
                  <a:pt x="5325" y="839"/>
                </a:lnTo>
                <a:lnTo>
                  <a:pt x="5347" y="859"/>
                </a:lnTo>
                <a:lnTo>
                  <a:pt x="5367" y="879"/>
                </a:lnTo>
                <a:lnTo>
                  <a:pt x="5387" y="903"/>
                </a:lnTo>
                <a:lnTo>
                  <a:pt x="5405" y="924"/>
                </a:lnTo>
                <a:lnTo>
                  <a:pt x="5421" y="948"/>
                </a:lnTo>
                <a:lnTo>
                  <a:pt x="5437" y="973"/>
                </a:lnTo>
                <a:lnTo>
                  <a:pt x="5452" y="999"/>
                </a:lnTo>
                <a:lnTo>
                  <a:pt x="5466" y="1026"/>
                </a:lnTo>
                <a:lnTo>
                  <a:pt x="5479" y="1053"/>
                </a:lnTo>
                <a:lnTo>
                  <a:pt x="5490" y="1080"/>
                </a:lnTo>
                <a:lnTo>
                  <a:pt x="5499" y="1109"/>
                </a:lnTo>
                <a:lnTo>
                  <a:pt x="5508" y="1140"/>
                </a:lnTo>
                <a:lnTo>
                  <a:pt x="5515" y="1169"/>
                </a:lnTo>
                <a:lnTo>
                  <a:pt x="5523" y="1199"/>
                </a:lnTo>
                <a:lnTo>
                  <a:pt x="5526" y="1232"/>
                </a:lnTo>
                <a:lnTo>
                  <a:pt x="5530" y="1263"/>
                </a:lnTo>
                <a:lnTo>
                  <a:pt x="5532" y="1295"/>
                </a:lnTo>
                <a:lnTo>
                  <a:pt x="5533" y="1330"/>
                </a:lnTo>
                <a:lnTo>
                  <a:pt x="5533" y="1330"/>
                </a:lnTo>
                <a:close/>
                <a:moveTo>
                  <a:pt x="6435" y="729"/>
                </a:moveTo>
                <a:lnTo>
                  <a:pt x="6665" y="729"/>
                </a:lnTo>
                <a:lnTo>
                  <a:pt x="6665" y="1930"/>
                </a:lnTo>
                <a:lnTo>
                  <a:pt x="6435" y="1930"/>
                </a:lnTo>
                <a:lnTo>
                  <a:pt x="6435" y="1746"/>
                </a:lnTo>
                <a:lnTo>
                  <a:pt x="6430" y="1746"/>
                </a:lnTo>
                <a:lnTo>
                  <a:pt x="6430" y="1746"/>
                </a:lnTo>
                <a:lnTo>
                  <a:pt x="6419" y="1769"/>
                </a:lnTo>
                <a:lnTo>
                  <a:pt x="6404" y="1791"/>
                </a:lnTo>
                <a:lnTo>
                  <a:pt x="6388" y="1813"/>
                </a:lnTo>
                <a:lnTo>
                  <a:pt x="6370" y="1833"/>
                </a:lnTo>
                <a:lnTo>
                  <a:pt x="6350" y="1851"/>
                </a:lnTo>
                <a:lnTo>
                  <a:pt x="6330" y="1869"/>
                </a:lnTo>
                <a:lnTo>
                  <a:pt x="6307" y="1885"/>
                </a:lnTo>
                <a:lnTo>
                  <a:pt x="6281" y="1899"/>
                </a:lnTo>
                <a:lnTo>
                  <a:pt x="6254" y="1914"/>
                </a:lnTo>
                <a:lnTo>
                  <a:pt x="6227" y="1927"/>
                </a:lnTo>
                <a:lnTo>
                  <a:pt x="6198" y="1936"/>
                </a:lnTo>
                <a:lnTo>
                  <a:pt x="6167" y="1945"/>
                </a:lnTo>
                <a:lnTo>
                  <a:pt x="6136" y="1952"/>
                </a:lnTo>
                <a:lnTo>
                  <a:pt x="6104" y="1957"/>
                </a:lnTo>
                <a:lnTo>
                  <a:pt x="6071" y="1959"/>
                </a:lnTo>
                <a:lnTo>
                  <a:pt x="6037" y="1961"/>
                </a:lnTo>
                <a:lnTo>
                  <a:pt x="6037" y="1961"/>
                </a:lnTo>
                <a:lnTo>
                  <a:pt x="5993" y="1959"/>
                </a:lnTo>
                <a:lnTo>
                  <a:pt x="5950" y="1954"/>
                </a:lnTo>
                <a:lnTo>
                  <a:pt x="5908" y="1945"/>
                </a:lnTo>
                <a:lnTo>
                  <a:pt x="5868" y="1934"/>
                </a:lnTo>
                <a:lnTo>
                  <a:pt x="5830" y="1918"/>
                </a:lnTo>
                <a:lnTo>
                  <a:pt x="5794" y="1899"/>
                </a:lnTo>
                <a:lnTo>
                  <a:pt x="5778" y="1889"/>
                </a:lnTo>
                <a:lnTo>
                  <a:pt x="5762" y="1878"/>
                </a:lnTo>
                <a:lnTo>
                  <a:pt x="5745" y="1865"/>
                </a:lnTo>
                <a:lnTo>
                  <a:pt x="5729" y="1851"/>
                </a:lnTo>
                <a:lnTo>
                  <a:pt x="5715" y="1836"/>
                </a:lnTo>
                <a:lnTo>
                  <a:pt x="5702" y="1822"/>
                </a:lnTo>
                <a:lnTo>
                  <a:pt x="5687" y="1804"/>
                </a:lnTo>
                <a:lnTo>
                  <a:pt x="5675" y="1787"/>
                </a:lnTo>
                <a:lnTo>
                  <a:pt x="5664" y="1769"/>
                </a:lnTo>
                <a:lnTo>
                  <a:pt x="5653" y="1749"/>
                </a:lnTo>
                <a:lnTo>
                  <a:pt x="5644" y="1729"/>
                </a:lnTo>
                <a:lnTo>
                  <a:pt x="5635" y="1708"/>
                </a:lnTo>
                <a:lnTo>
                  <a:pt x="5626" y="1686"/>
                </a:lnTo>
                <a:lnTo>
                  <a:pt x="5619" y="1662"/>
                </a:lnTo>
                <a:lnTo>
                  <a:pt x="5613" y="1639"/>
                </a:lnTo>
                <a:lnTo>
                  <a:pt x="5608" y="1614"/>
                </a:lnTo>
                <a:lnTo>
                  <a:pt x="5604" y="1588"/>
                </a:lnTo>
                <a:lnTo>
                  <a:pt x="5602" y="1561"/>
                </a:lnTo>
                <a:lnTo>
                  <a:pt x="5600" y="1532"/>
                </a:lnTo>
                <a:lnTo>
                  <a:pt x="5599" y="1503"/>
                </a:lnTo>
                <a:lnTo>
                  <a:pt x="5599" y="729"/>
                </a:lnTo>
                <a:lnTo>
                  <a:pt x="5827" y="729"/>
                </a:lnTo>
                <a:lnTo>
                  <a:pt x="5827" y="1438"/>
                </a:lnTo>
                <a:lnTo>
                  <a:pt x="5827" y="1438"/>
                </a:lnTo>
                <a:lnTo>
                  <a:pt x="5829" y="1480"/>
                </a:lnTo>
                <a:lnTo>
                  <a:pt x="5832" y="1518"/>
                </a:lnTo>
                <a:lnTo>
                  <a:pt x="5839" y="1550"/>
                </a:lnTo>
                <a:lnTo>
                  <a:pt x="5848" y="1583"/>
                </a:lnTo>
                <a:lnTo>
                  <a:pt x="5861" y="1610"/>
                </a:lnTo>
                <a:lnTo>
                  <a:pt x="5876" y="1635"/>
                </a:lnTo>
                <a:lnTo>
                  <a:pt x="5892" y="1659"/>
                </a:lnTo>
                <a:lnTo>
                  <a:pt x="5910" y="1679"/>
                </a:lnTo>
                <a:lnTo>
                  <a:pt x="5930" y="1695"/>
                </a:lnTo>
                <a:lnTo>
                  <a:pt x="5952" y="1709"/>
                </a:lnTo>
                <a:lnTo>
                  <a:pt x="5973" y="1722"/>
                </a:lnTo>
                <a:lnTo>
                  <a:pt x="5997" y="1731"/>
                </a:lnTo>
                <a:lnTo>
                  <a:pt x="6022" y="1738"/>
                </a:lnTo>
                <a:lnTo>
                  <a:pt x="6048" y="1744"/>
                </a:lnTo>
                <a:lnTo>
                  <a:pt x="6073" y="1747"/>
                </a:lnTo>
                <a:lnTo>
                  <a:pt x="6100" y="1749"/>
                </a:lnTo>
                <a:lnTo>
                  <a:pt x="6100" y="1749"/>
                </a:lnTo>
                <a:lnTo>
                  <a:pt x="6136" y="1747"/>
                </a:lnTo>
                <a:lnTo>
                  <a:pt x="6169" y="1742"/>
                </a:lnTo>
                <a:lnTo>
                  <a:pt x="6202" y="1735"/>
                </a:lnTo>
                <a:lnTo>
                  <a:pt x="6234" y="1726"/>
                </a:lnTo>
                <a:lnTo>
                  <a:pt x="6263" y="1711"/>
                </a:lnTo>
                <a:lnTo>
                  <a:pt x="6290" y="1695"/>
                </a:lnTo>
                <a:lnTo>
                  <a:pt x="6316" y="1675"/>
                </a:lnTo>
                <a:lnTo>
                  <a:pt x="6339" y="1652"/>
                </a:lnTo>
                <a:lnTo>
                  <a:pt x="6361" y="1626"/>
                </a:lnTo>
                <a:lnTo>
                  <a:pt x="6379" y="1597"/>
                </a:lnTo>
                <a:lnTo>
                  <a:pt x="6395" y="1563"/>
                </a:lnTo>
                <a:lnTo>
                  <a:pt x="6410" y="1527"/>
                </a:lnTo>
                <a:lnTo>
                  <a:pt x="6421" y="1487"/>
                </a:lnTo>
                <a:lnTo>
                  <a:pt x="6428" y="1444"/>
                </a:lnTo>
                <a:lnTo>
                  <a:pt x="6433" y="1397"/>
                </a:lnTo>
                <a:lnTo>
                  <a:pt x="6435" y="1348"/>
                </a:lnTo>
                <a:lnTo>
                  <a:pt x="6435" y="729"/>
                </a:lnTo>
                <a:close/>
                <a:moveTo>
                  <a:pt x="7697" y="1583"/>
                </a:moveTo>
                <a:lnTo>
                  <a:pt x="7697" y="1583"/>
                </a:lnTo>
                <a:lnTo>
                  <a:pt x="7697" y="1606"/>
                </a:lnTo>
                <a:lnTo>
                  <a:pt x="7695" y="1632"/>
                </a:lnTo>
                <a:lnTo>
                  <a:pt x="7692" y="1653"/>
                </a:lnTo>
                <a:lnTo>
                  <a:pt x="7686" y="1677"/>
                </a:lnTo>
                <a:lnTo>
                  <a:pt x="7681" y="1697"/>
                </a:lnTo>
                <a:lnTo>
                  <a:pt x="7674" y="1719"/>
                </a:lnTo>
                <a:lnTo>
                  <a:pt x="7665" y="1737"/>
                </a:lnTo>
                <a:lnTo>
                  <a:pt x="7656" y="1757"/>
                </a:lnTo>
                <a:lnTo>
                  <a:pt x="7645" y="1773"/>
                </a:lnTo>
                <a:lnTo>
                  <a:pt x="7634" y="1791"/>
                </a:lnTo>
                <a:lnTo>
                  <a:pt x="7621" y="1805"/>
                </a:lnTo>
                <a:lnTo>
                  <a:pt x="7607" y="1822"/>
                </a:lnTo>
                <a:lnTo>
                  <a:pt x="7592" y="1836"/>
                </a:lnTo>
                <a:lnTo>
                  <a:pt x="7578" y="1849"/>
                </a:lnTo>
                <a:lnTo>
                  <a:pt x="7561" y="1861"/>
                </a:lnTo>
                <a:lnTo>
                  <a:pt x="7545" y="1872"/>
                </a:lnTo>
                <a:lnTo>
                  <a:pt x="7509" y="1894"/>
                </a:lnTo>
                <a:lnTo>
                  <a:pt x="7471" y="1912"/>
                </a:lnTo>
                <a:lnTo>
                  <a:pt x="7431" y="1927"/>
                </a:lnTo>
                <a:lnTo>
                  <a:pt x="7389" y="1939"/>
                </a:lnTo>
                <a:lnTo>
                  <a:pt x="7346" y="1948"/>
                </a:lnTo>
                <a:lnTo>
                  <a:pt x="7301" y="1956"/>
                </a:lnTo>
                <a:lnTo>
                  <a:pt x="7257" y="1959"/>
                </a:lnTo>
                <a:lnTo>
                  <a:pt x="7212" y="1961"/>
                </a:lnTo>
                <a:lnTo>
                  <a:pt x="7212" y="1961"/>
                </a:lnTo>
                <a:lnTo>
                  <a:pt x="7176" y="1959"/>
                </a:lnTo>
                <a:lnTo>
                  <a:pt x="7141" y="1957"/>
                </a:lnTo>
                <a:lnTo>
                  <a:pt x="7107" y="1956"/>
                </a:lnTo>
                <a:lnTo>
                  <a:pt x="7074" y="1950"/>
                </a:lnTo>
                <a:lnTo>
                  <a:pt x="7042" y="1945"/>
                </a:lnTo>
                <a:lnTo>
                  <a:pt x="7011" y="1936"/>
                </a:lnTo>
                <a:lnTo>
                  <a:pt x="6980" y="1927"/>
                </a:lnTo>
                <a:lnTo>
                  <a:pt x="6951" y="1916"/>
                </a:lnTo>
                <a:lnTo>
                  <a:pt x="6922" y="1901"/>
                </a:lnTo>
                <a:lnTo>
                  <a:pt x="6895" y="1887"/>
                </a:lnTo>
                <a:lnTo>
                  <a:pt x="6868" y="1869"/>
                </a:lnTo>
                <a:lnTo>
                  <a:pt x="6843" y="1849"/>
                </a:lnTo>
                <a:lnTo>
                  <a:pt x="6817" y="1827"/>
                </a:lnTo>
                <a:lnTo>
                  <a:pt x="6794" y="1804"/>
                </a:lnTo>
                <a:lnTo>
                  <a:pt x="6770" y="1778"/>
                </a:lnTo>
                <a:lnTo>
                  <a:pt x="6747" y="1749"/>
                </a:lnTo>
                <a:lnTo>
                  <a:pt x="6920" y="1605"/>
                </a:lnTo>
                <a:lnTo>
                  <a:pt x="6920" y="1605"/>
                </a:lnTo>
                <a:lnTo>
                  <a:pt x="6949" y="1634"/>
                </a:lnTo>
                <a:lnTo>
                  <a:pt x="6978" y="1659"/>
                </a:lnTo>
                <a:lnTo>
                  <a:pt x="7011" y="1682"/>
                </a:lnTo>
                <a:lnTo>
                  <a:pt x="7045" y="1704"/>
                </a:lnTo>
                <a:lnTo>
                  <a:pt x="7062" y="1715"/>
                </a:lnTo>
                <a:lnTo>
                  <a:pt x="7082" y="1722"/>
                </a:lnTo>
                <a:lnTo>
                  <a:pt x="7101" y="1729"/>
                </a:lnTo>
                <a:lnTo>
                  <a:pt x="7121" y="1737"/>
                </a:lnTo>
                <a:lnTo>
                  <a:pt x="7143" y="1742"/>
                </a:lnTo>
                <a:lnTo>
                  <a:pt x="7165" y="1746"/>
                </a:lnTo>
                <a:lnTo>
                  <a:pt x="7188" y="1747"/>
                </a:lnTo>
                <a:lnTo>
                  <a:pt x="7212" y="1749"/>
                </a:lnTo>
                <a:lnTo>
                  <a:pt x="7212" y="1749"/>
                </a:lnTo>
                <a:lnTo>
                  <a:pt x="7234" y="1747"/>
                </a:lnTo>
                <a:lnTo>
                  <a:pt x="7255" y="1746"/>
                </a:lnTo>
                <a:lnTo>
                  <a:pt x="7277" y="1744"/>
                </a:lnTo>
                <a:lnTo>
                  <a:pt x="7299" y="1738"/>
                </a:lnTo>
                <a:lnTo>
                  <a:pt x="7319" y="1735"/>
                </a:lnTo>
                <a:lnTo>
                  <a:pt x="7340" y="1728"/>
                </a:lnTo>
                <a:lnTo>
                  <a:pt x="7359" y="1720"/>
                </a:lnTo>
                <a:lnTo>
                  <a:pt x="7377" y="1711"/>
                </a:lnTo>
                <a:lnTo>
                  <a:pt x="7393" y="1700"/>
                </a:lnTo>
                <a:lnTo>
                  <a:pt x="7409" y="1690"/>
                </a:lnTo>
                <a:lnTo>
                  <a:pt x="7422" y="1677"/>
                </a:lnTo>
                <a:lnTo>
                  <a:pt x="7433" y="1662"/>
                </a:lnTo>
                <a:lnTo>
                  <a:pt x="7442" y="1648"/>
                </a:lnTo>
                <a:lnTo>
                  <a:pt x="7449" y="1632"/>
                </a:lnTo>
                <a:lnTo>
                  <a:pt x="7455" y="1614"/>
                </a:lnTo>
                <a:lnTo>
                  <a:pt x="7455" y="1596"/>
                </a:lnTo>
                <a:lnTo>
                  <a:pt x="7455" y="1596"/>
                </a:lnTo>
                <a:lnTo>
                  <a:pt x="7455" y="1583"/>
                </a:lnTo>
                <a:lnTo>
                  <a:pt x="7453" y="1570"/>
                </a:lnTo>
                <a:lnTo>
                  <a:pt x="7451" y="1559"/>
                </a:lnTo>
                <a:lnTo>
                  <a:pt x="7447" y="1548"/>
                </a:lnTo>
                <a:lnTo>
                  <a:pt x="7436" y="1530"/>
                </a:lnTo>
                <a:lnTo>
                  <a:pt x="7424" y="1512"/>
                </a:lnTo>
                <a:lnTo>
                  <a:pt x="7407" y="1496"/>
                </a:lnTo>
                <a:lnTo>
                  <a:pt x="7389" y="1483"/>
                </a:lnTo>
                <a:lnTo>
                  <a:pt x="7369" y="1471"/>
                </a:lnTo>
                <a:lnTo>
                  <a:pt x="7348" y="1462"/>
                </a:lnTo>
                <a:lnTo>
                  <a:pt x="7326" y="1451"/>
                </a:lnTo>
                <a:lnTo>
                  <a:pt x="7301" y="1444"/>
                </a:lnTo>
                <a:lnTo>
                  <a:pt x="7254" y="1431"/>
                </a:lnTo>
                <a:lnTo>
                  <a:pt x="7167" y="1411"/>
                </a:lnTo>
                <a:lnTo>
                  <a:pt x="7167" y="1411"/>
                </a:lnTo>
                <a:lnTo>
                  <a:pt x="7094" y="1391"/>
                </a:lnTo>
                <a:lnTo>
                  <a:pt x="7060" y="1380"/>
                </a:lnTo>
                <a:lnTo>
                  <a:pt x="7027" y="1369"/>
                </a:lnTo>
                <a:lnTo>
                  <a:pt x="6995" y="1357"/>
                </a:lnTo>
                <a:lnTo>
                  <a:pt x="6964" y="1342"/>
                </a:lnTo>
                <a:lnTo>
                  <a:pt x="6937" y="1326"/>
                </a:lnTo>
                <a:lnTo>
                  <a:pt x="6910" y="1308"/>
                </a:lnTo>
                <a:lnTo>
                  <a:pt x="6886" y="1288"/>
                </a:lnTo>
                <a:lnTo>
                  <a:pt x="6864" y="1264"/>
                </a:lnTo>
                <a:lnTo>
                  <a:pt x="6844" y="1239"/>
                </a:lnTo>
                <a:lnTo>
                  <a:pt x="6828" y="1212"/>
                </a:lnTo>
                <a:lnTo>
                  <a:pt x="6815" y="1181"/>
                </a:lnTo>
                <a:lnTo>
                  <a:pt x="6806" y="1147"/>
                </a:lnTo>
                <a:lnTo>
                  <a:pt x="6801" y="1109"/>
                </a:lnTo>
                <a:lnTo>
                  <a:pt x="6797" y="1069"/>
                </a:lnTo>
                <a:lnTo>
                  <a:pt x="6797" y="1069"/>
                </a:lnTo>
                <a:lnTo>
                  <a:pt x="6799" y="1046"/>
                </a:lnTo>
                <a:lnTo>
                  <a:pt x="6801" y="1022"/>
                </a:lnTo>
                <a:lnTo>
                  <a:pt x="6805" y="1000"/>
                </a:lnTo>
                <a:lnTo>
                  <a:pt x="6808" y="980"/>
                </a:lnTo>
                <a:lnTo>
                  <a:pt x="6814" y="961"/>
                </a:lnTo>
                <a:lnTo>
                  <a:pt x="6821" y="941"/>
                </a:lnTo>
                <a:lnTo>
                  <a:pt x="6828" y="923"/>
                </a:lnTo>
                <a:lnTo>
                  <a:pt x="6837" y="904"/>
                </a:lnTo>
                <a:lnTo>
                  <a:pt x="6848" y="888"/>
                </a:lnTo>
                <a:lnTo>
                  <a:pt x="6859" y="872"/>
                </a:lnTo>
                <a:lnTo>
                  <a:pt x="6870" y="856"/>
                </a:lnTo>
                <a:lnTo>
                  <a:pt x="6882" y="841"/>
                </a:lnTo>
                <a:lnTo>
                  <a:pt x="6897" y="827"/>
                </a:lnTo>
                <a:lnTo>
                  <a:pt x="6911" y="814"/>
                </a:lnTo>
                <a:lnTo>
                  <a:pt x="6942" y="789"/>
                </a:lnTo>
                <a:lnTo>
                  <a:pt x="6975" y="767"/>
                </a:lnTo>
                <a:lnTo>
                  <a:pt x="7011" y="749"/>
                </a:lnTo>
                <a:lnTo>
                  <a:pt x="7049" y="733"/>
                </a:lnTo>
                <a:lnTo>
                  <a:pt x="7089" y="720"/>
                </a:lnTo>
                <a:lnTo>
                  <a:pt x="7129" y="711"/>
                </a:lnTo>
                <a:lnTo>
                  <a:pt x="7170" y="704"/>
                </a:lnTo>
                <a:lnTo>
                  <a:pt x="7214" y="698"/>
                </a:lnTo>
                <a:lnTo>
                  <a:pt x="7255" y="698"/>
                </a:lnTo>
                <a:lnTo>
                  <a:pt x="7255" y="698"/>
                </a:lnTo>
                <a:lnTo>
                  <a:pt x="7286" y="698"/>
                </a:lnTo>
                <a:lnTo>
                  <a:pt x="7315" y="700"/>
                </a:lnTo>
                <a:lnTo>
                  <a:pt x="7346" y="704"/>
                </a:lnTo>
                <a:lnTo>
                  <a:pt x="7375" y="709"/>
                </a:lnTo>
                <a:lnTo>
                  <a:pt x="7404" y="715"/>
                </a:lnTo>
                <a:lnTo>
                  <a:pt x="7433" y="724"/>
                </a:lnTo>
                <a:lnTo>
                  <a:pt x="7460" y="733"/>
                </a:lnTo>
                <a:lnTo>
                  <a:pt x="7489" y="743"/>
                </a:lnTo>
                <a:lnTo>
                  <a:pt x="7514" y="756"/>
                </a:lnTo>
                <a:lnTo>
                  <a:pt x="7540" y="771"/>
                </a:lnTo>
                <a:lnTo>
                  <a:pt x="7565" y="787"/>
                </a:lnTo>
                <a:lnTo>
                  <a:pt x="7587" y="805"/>
                </a:lnTo>
                <a:lnTo>
                  <a:pt x="7608" y="825"/>
                </a:lnTo>
                <a:lnTo>
                  <a:pt x="7630" y="847"/>
                </a:lnTo>
                <a:lnTo>
                  <a:pt x="7648" y="872"/>
                </a:lnTo>
                <a:lnTo>
                  <a:pt x="7665" y="897"/>
                </a:lnTo>
                <a:lnTo>
                  <a:pt x="7489" y="1029"/>
                </a:lnTo>
                <a:lnTo>
                  <a:pt x="7489" y="1029"/>
                </a:lnTo>
                <a:lnTo>
                  <a:pt x="7467" y="1006"/>
                </a:lnTo>
                <a:lnTo>
                  <a:pt x="7444" y="984"/>
                </a:lnTo>
                <a:lnTo>
                  <a:pt x="7417" y="964"/>
                </a:lnTo>
                <a:lnTo>
                  <a:pt x="7388" y="946"/>
                </a:lnTo>
                <a:lnTo>
                  <a:pt x="7357" y="932"/>
                </a:lnTo>
                <a:lnTo>
                  <a:pt x="7339" y="926"/>
                </a:lnTo>
                <a:lnTo>
                  <a:pt x="7321" y="921"/>
                </a:lnTo>
                <a:lnTo>
                  <a:pt x="7302" y="917"/>
                </a:lnTo>
                <a:lnTo>
                  <a:pt x="7284" y="915"/>
                </a:lnTo>
                <a:lnTo>
                  <a:pt x="7264" y="914"/>
                </a:lnTo>
                <a:lnTo>
                  <a:pt x="7243" y="912"/>
                </a:lnTo>
                <a:lnTo>
                  <a:pt x="7243" y="912"/>
                </a:lnTo>
                <a:lnTo>
                  <a:pt x="7223" y="914"/>
                </a:lnTo>
                <a:lnTo>
                  <a:pt x="7203" y="915"/>
                </a:lnTo>
                <a:lnTo>
                  <a:pt x="7185" y="917"/>
                </a:lnTo>
                <a:lnTo>
                  <a:pt x="7167" y="921"/>
                </a:lnTo>
                <a:lnTo>
                  <a:pt x="7149" y="926"/>
                </a:lnTo>
                <a:lnTo>
                  <a:pt x="7132" y="932"/>
                </a:lnTo>
                <a:lnTo>
                  <a:pt x="7116" y="939"/>
                </a:lnTo>
                <a:lnTo>
                  <a:pt x="7101" y="946"/>
                </a:lnTo>
                <a:lnTo>
                  <a:pt x="7089" y="955"/>
                </a:lnTo>
                <a:lnTo>
                  <a:pt x="7076" y="964"/>
                </a:lnTo>
                <a:lnTo>
                  <a:pt x="7067" y="975"/>
                </a:lnTo>
                <a:lnTo>
                  <a:pt x="7058" y="988"/>
                </a:lnTo>
                <a:lnTo>
                  <a:pt x="7051" y="1000"/>
                </a:lnTo>
                <a:lnTo>
                  <a:pt x="7045" y="1015"/>
                </a:lnTo>
                <a:lnTo>
                  <a:pt x="7042" y="1029"/>
                </a:lnTo>
                <a:lnTo>
                  <a:pt x="7042" y="1046"/>
                </a:lnTo>
                <a:lnTo>
                  <a:pt x="7042" y="1046"/>
                </a:lnTo>
                <a:lnTo>
                  <a:pt x="7042" y="1058"/>
                </a:lnTo>
                <a:lnTo>
                  <a:pt x="7044" y="1071"/>
                </a:lnTo>
                <a:lnTo>
                  <a:pt x="7045" y="1084"/>
                </a:lnTo>
                <a:lnTo>
                  <a:pt x="7051" y="1094"/>
                </a:lnTo>
                <a:lnTo>
                  <a:pt x="7054" y="1105"/>
                </a:lnTo>
                <a:lnTo>
                  <a:pt x="7062" y="1114"/>
                </a:lnTo>
                <a:lnTo>
                  <a:pt x="7074" y="1132"/>
                </a:lnTo>
                <a:lnTo>
                  <a:pt x="7092" y="1149"/>
                </a:lnTo>
                <a:lnTo>
                  <a:pt x="7112" y="1163"/>
                </a:lnTo>
                <a:lnTo>
                  <a:pt x="7134" y="1176"/>
                </a:lnTo>
                <a:lnTo>
                  <a:pt x="7158" y="1185"/>
                </a:lnTo>
                <a:lnTo>
                  <a:pt x="7181" y="1194"/>
                </a:lnTo>
                <a:lnTo>
                  <a:pt x="7207" y="1203"/>
                </a:lnTo>
                <a:lnTo>
                  <a:pt x="7257" y="1214"/>
                </a:lnTo>
                <a:lnTo>
                  <a:pt x="7348" y="1232"/>
                </a:lnTo>
                <a:lnTo>
                  <a:pt x="7348" y="1232"/>
                </a:lnTo>
                <a:lnTo>
                  <a:pt x="7384" y="1241"/>
                </a:lnTo>
                <a:lnTo>
                  <a:pt x="7420" y="1252"/>
                </a:lnTo>
                <a:lnTo>
                  <a:pt x="7455" y="1263"/>
                </a:lnTo>
                <a:lnTo>
                  <a:pt x="7487" y="1275"/>
                </a:lnTo>
                <a:lnTo>
                  <a:pt x="7518" y="1290"/>
                </a:lnTo>
                <a:lnTo>
                  <a:pt x="7547" y="1304"/>
                </a:lnTo>
                <a:lnTo>
                  <a:pt x="7572" y="1322"/>
                </a:lnTo>
                <a:lnTo>
                  <a:pt x="7598" y="1340"/>
                </a:lnTo>
                <a:lnTo>
                  <a:pt x="7619" y="1362"/>
                </a:lnTo>
                <a:lnTo>
                  <a:pt x="7639" y="1386"/>
                </a:lnTo>
                <a:lnTo>
                  <a:pt x="7657" y="1411"/>
                </a:lnTo>
                <a:lnTo>
                  <a:pt x="7672" y="1440"/>
                </a:lnTo>
                <a:lnTo>
                  <a:pt x="7683" y="1471"/>
                </a:lnTo>
                <a:lnTo>
                  <a:pt x="7692" y="1505"/>
                </a:lnTo>
                <a:lnTo>
                  <a:pt x="7697" y="1541"/>
                </a:lnTo>
                <a:lnTo>
                  <a:pt x="7697" y="1583"/>
                </a:lnTo>
                <a:lnTo>
                  <a:pt x="7697" y="1583"/>
                </a:lnTo>
                <a:close/>
                <a:moveTo>
                  <a:pt x="7808" y="14"/>
                </a:moveTo>
                <a:lnTo>
                  <a:pt x="8038" y="14"/>
                </a:lnTo>
                <a:lnTo>
                  <a:pt x="8038" y="1930"/>
                </a:lnTo>
                <a:lnTo>
                  <a:pt x="7808" y="1930"/>
                </a:lnTo>
                <a:lnTo>
                  <a:pt x="7808" y="14"/>
                </a:lnTo>
                <a:close/>
                <a:moveTo>
                  <a:pt x="9177" y="1100"/>
                </a:moveTo>
                <a:lnTo>
                  <a:pt x="9177" y="1930"/>
                </a:lnTo>
                <a:lnTo>
                  <a:pt x="8963" y="1930"/>
                </a:lnTo>
                <a:lnTo>
                  <a:pt x="8963" y="1351"/>
                </a:lnTo>
                <a:lnTo>
                  <a:pt x="8842" y="1351"/>
                </a:lnTo>
                <a:lnTo>
                  <a:pt x="8842" y="1351"/>
                </a:lnTo>
                <a:lnTo>
                  <a:pt x="8800" y="1353"/>
                </a:lnTo>
                <a:lnTo>
                  <a:pt x="8758" y="1355"/>
                </a:lnTo>
                <a:lnTo>
                  <a:pt x="8717" y="1357"/>
                </a:lnTo>
                <a:lnTo>
                  <a:pt x="8675" y="1360"/>
                </a:lnTo>
                <a:lnTo>
                  <a:pt x="8635" y="1368"/>
                </a:lnTo>
                <a:lnTo>
                  <a:pt x="8595" y="1375"/>
                </a:lnTo>
                <a:lnTo>
                  <a:pt x="8557" y="1384"/>
                </a:lnTo>
                <a:lnTo>
                  <a:pt x="8521" y="1395"/>
                </a:lnTo>
                <a:lnTo>
                  <a:pt x="8488" y="1409"/>
                </a:lnTo>
                <a:lnTo>
                  <a:pt x="8458" y="1425"/>
                </a:lnTo>
                <a:lnTo>
                  <a:pt x="8431" y="1444"/>
                </a:lnTo>
                <a:lnTo>
                  <a:pt x="8418" y="1454"/>
                </a:lnTo>
                <a:lnTo>
                  <a:pt x="8407" y="1465"/>
                </a:lnTo>
                <a:lnTo>
                  <a:pt x="8398" y="1478"/>
                </a:lnTo>
                <a:lnTo>
                  <a:pt x="8389" y="1491"/>
                </a:lnTo>
                <a:lnTo>
                  <a:pt x="8382" y="1503"/>
                </a:lnTo>
                <a:lnTo>
                  <a:pt x="8374" y="1518"/>
                </a:lnTo>
                <a:lnTo>
                  <a:pt x="8369" y="1532"/>
                </a:lnTo>
                <a:lnTo>
                  <a:pt x="8365" y="1548"/>
                </a:lnTo>
                <a:lnTo>
                  <a:pt x="8364" y="1565"/>
                </a:lnTo>
                <a:lnTo>
                  <a:pt x="8364" y="1583"/>
                </a:lnTo>
                <a:lnTo>
                  <a:pt x="8364" y="1583"/>
                </a:lnTo>
                <a:lnTo>
                  <a:pt x="8364" y="1606"/>
                </a:lnTo>
                <a:lnTo>
                  <a:pt x="8367" y="1630"/>
                </a:lnTo>
                <a:lnTo>
                  <a:pt x="8373" y="1652"/>
                </a:lnTo>
                <a:lnTo>
                  <a:pt x="8382" y="1672"/>
                </a:lnTo>
                <a:lnTo>
                  <a:pt x="8391" y="1690"/>
                </a:lnTo>
                <a:lnTo>
                  <a:pt x="8403" y="1706"/>
                </a:lnTo>
                <a:lnTo>
                  <a:pt x="8416" y="1720"/>
                </a:lnTo>
                <a:lnTo>
                  <a:pt x="8432" y="1733"/>
                </a:lnTo>
                <a:lnTo>
                  <a:pt x="8450" y="1744"/>
                </a:lnTo>
                <a:lnTo>
                  <a:pt x="8470" y="1753"/>
                </a:lnTo>
                <a:lnTo>
                  <a:pt x="8490" y="1762"/>
                </a:lnTo>
                <a:lnTo>
                  <a:pt x="8514" y="1767"/>
                </a:lnTo>
                <a:lnTo>
                  <a:pt x="8537" y="1773"/>
                </a:lnTo>
                <a:lnTo>
                  <a:pt x="8565" y="1776"/>
                </a:lnTo>
                <a:lnTo>
                  <a:pt x="8592" y="1778"/>
                </a:lnTo>
                <a:lnTo>
                  <a:pt x="8621" y="1778"/>
                </a:lnTo>
                <a:lnTo>
                  <a:pt x="8621" y="1778"/>
                </a:lnTo>
                <a:lnTo>
                  <a:pt x="8648" y="1778"/>
                </a:lnTo>
                <a:lnTo>
                  <a:pt x="8671" y="1776"/>
                </a:lnTo>
                <a:lnTo>
                  <a:pt x="8695" y="1773"/>
                </a:lnTo>
                <a:lnTo>
                  <a:pt x="8718" y="1767"/>
                </a:lnTo>
                <a:lnTo>
                  <a:pt x="8738" y="1762"/>
                </a:lnTo>
                <a:lnTo>
                  <a:pt x="8760" y="1755"/>
                </a:lnTo>
                <a:lnTo>
                  <a:pt x="8778" y="1747"/>
                </a:lnTo>
                <a:lnTo>
                  <a:pt x="8798" y="1738"/>
                </a:lnTo>
                <a:lnTo>
                  <a:pt x="8798" y="1910"/>
                </a:lnTo>
                <a:lnTo>
                  <a:pt x="8798" y="1910"/>
                </a:lnTo>
                <a:lnTo>
                  <a:pt x="8769" y="1921"/>
                </a:lnTo>
                <a:lnTo>
                  <a:pt x="8742" y="1932"/>
                </a:lnTo>
                <a:lnTo>
                  <a:pt x="8713" y="1941"/>
                </a:lnTo>
                <a:lnTo>
                  <a:pt x="8682" y="1948"/>
                </a:lnTo>
                <a:lnTo>
                  <a:pt x="8650" y="1954"/>
                </a:lnTo>
                <a:lnTo>
                  <a:pt x="8617" y="1957"/>
                </a:lnTo>
                <a:lnTo>
                  <a:pt x="8584" y="1959"/>
                </a:lnTo>
                <a:lnTo>
                  <a:pt x="8550" y="1961"/>
                </a:lnTo>
                <a:lnTo>
                  <a:pt x="8550" y="1961"/>
                </a:lnTo>
                <a:lnTo>
                  <a:pt x="8508" y="1959"/>
                </a:lnTo>
                <a:lnTo>
                  <a:pt x="8469" y="1956"/>
                </a:lnTo>
                <a:lnTo>
                  <a:pt x="8429" y="1946"/>
                </a:lnTo>
                <a:lnTo>
                  <a:pt x="8391" y="1937"/>
                </a:lnTo>
                <a:lnTo>
                  <a:pt x="8354" y="1925"/>
                </a:lnTo>
                <a:lnTo>
                  <a:pt x="8320" y="1908"/>
                </a:lnTo>
                <a:lnTo>
                  <a:pt x="8289" y="1889"/>
                </a:lnTo>
                <a:lnTo>
                  <a:pt x="8259" y="1867"/>
                </a:lnTo>
                <a:lnTo>
                  <a:pt x="8231" y="1843"/>
                </a:lnTo>
                <a:lnTo>
                  <a:pt x="8208" y="1816"/>
                </a:lnTo>
                <a:lnTo>
                  <a:pt x="8186" y="1787"/>
                </a:lnTo>
                <a:lnTo>
                  <a:pt x="8168" y="1755"/>
                </a:lnTo>
                <a:lnTo>
                  <a:pt x="8161" y="1737"/>
                </a:lnTo>
                <a:lnTo>
                  <a:pt x="8153" y="1720"/>
                </a:lnTo>
                <a:lnTo>
                  <a:pt x="8148" y="1702"/>
                </a:lnTo>
                <a:lnTo>
                  <a:pt x="8144" y="1682"/>
                </a:lnTo>
                <a:lnTo>
                  <a:pt x="8141" y="1662"/>
                </a:lnTo>
                <a:lnTo>
                  <a:pt x="8137" y="1643"/>
                </a:lnTo>
                <a:lnTo>
                  <a:pt x="8135" y="1621"/>
                </a:lnTo>
                <a:lnTo>
                  <a:pt x="8135" y="1601"/>
                </a:lnTo>
                <a:lnTo>
                  <a:pt x="8135" y="1601"/>
                </a:lnTo>
                <a:lnTo>
                  <a:pt x="8135" y="1572"/>
                </a:lnTo>
                <a:lnTo>
                  <a:pt x="8139" y="1545"/>
                </a:lnTo>
                <a:lnTo>
                  <a:pt x="8143" y="1518"/>
                </a:lnTo>
                <a:lnTo>
                  <a:pt x="8148" y="1494"/>
                </a:lnTo>
                <a:lnTo>
                  <a:pt x="8155" y="1469"/>
                </a:lnTo>
                <a:lnTo>
                  <a:pt x="8164" y="1447"/>
                </a:lnTo>
                <a:lnTo>
                  <a:pt x="8175" y="1425"/>
                </a:lnTo>
                <a:lnTo>
                  <a:pt x="8188" y="1406"/>
                </a:lnTo>
                <a:lnTo>
                  <a:pt x="8201" y="1386"/>
                </a:lnTo>
                <a:lnTo>
                  <a:pt x="8215" y="1368"/>
                </a:lnTo>
                <a:lnTo>
                  <a:pt x="8231" y="1350"/>
                </a:lnTo>
                <a:lnTo>
                  <a:pt x="8248" y="1333"/>
                </a:lnTo>
                <a:lnTo>
                  <a:pt x="8266" y="1317"/>
                </a:lnTo>
                <a:lnTo>
                  <a:pt x="8286" y="1302"/>
                </a:lnTo>
                <a:lnTo>
                  <a:pt x="8307" y="1290"/>
                </a:lnTo>
                <a:lnTo>
                  <a:pt x="8329" y="1277"/>
                </a:lnTo>
                <a:lnTo>
                  <a:pt x="8353" y="1264"/>
                </a:lnTo>
                <a:lnTo>
                  <a:pt x="8376" y="1254"/>
                </a:lnTo>
                <a:lnTo>
                  <a:pt x="8402" y="1245"/>
                </a:lnTo>
                <a:lnTo>
                  <a:pt x="8427" y="1236"/>
                </a:lnTo>
                <a:lnTo>
                  <a:pt x="8481" y="1219"/>
                </a:lnTo>
                <a:lnTo>
                  <a:pt x="8539" y="1207"/>
                </a:lnTo>
                <a:lnTo>
                  <a:pt x="8599" y="1198"/>
                </a:lnTo>
                <a:lnTo>
                  <a:pt x="8662" y="1190"/>
                </a:lnTo>
                <a:lnTo>
                  <a:pt x="8727" y="1187"/>
                </a:lnTo>
                <a:lnTo>
                  <a:pt x="8794" y="1187"/>
                </a:lnTo>
                <a:lnTo>
                  <a:pt x="8963" y="1187"/>
                </a:lnTo>
                <a:lnTo>
                  <a:pt x="8963" y="1134"/>
                </a:lnTo>
                <a:lnTo>
                  <a:pt x="8963" y="1134"/>
                </a:lnTo>
                <a:lnTo>
                  <a:pt x="8963" y="1111"/>
                </a:lnTo>
                <a:lnTo>
                  <a:pt x="8959" y="1087"/>
                </a:lnTo>
                <a:lnTo>
                  <a:pt x="8954" y="1065"/>
                </a:lnTo>
                <a:lnTo>
                  <a:pt x="8947" y="1042"/>
                </a:lnTo>
                <a:lnTo>
                  <a:pt x="8936" y="1020"/>
                </a:lnTo>
                <a:lnTo>
                  <a:pt x="8925" y="1000"/>
                </a:lnTo>
                <a:lnTo>
                  <a:pt x="8910" y="980"/>
                </a:lnTo>
                <a:lnTo>
                  <a:pt x="8894" y="961"/>
                </a:lnTo>
                <a:lnTo>
                  <a:pt x="8874" y="944"/>
                </a:lnTo>
                <a:lnTo>
                  <a:pt x="8852" y="928"/>
                </a:lnTo>
                <a:lnTo>
                  <a:pt x="8829" y="915"/>
                </a:lnTo>
                <a:lnTo>
                  <a:pt x="8804" y="903"/>
                </a:lnTo>
                <a:lnTo>
                  <a:pt x="8776" y="894"/>
                </a:lnTo>
                <a:lnTo>
                  <a:pt x="8746" y="888"/>
                </a:lnTo>
                <a:lnTo>
                  <a:pt x="8713" y="883"/>
                </a:lnTo>
                <a:lnTo>
                  <a:pt x="8677" y="881"/>
                </a:lnTo>
                <a:lnTo>
                  <a:pt x="8677" y="881"/>
                </a:lnTo>
                <a:lnTo>
                  <a:pt x="8646" y="883"/>
                </a:lnTo>
                <a:lnTo>
                  <a:pt x="8615" y="885"/>
                </a:lnTo>
                <a:lnTo>
                  <a:pt x="8588" y="888"/>
                </a:lnTo>
                <a:lnTo>
                  <a:pt x="8561" y="894"/>
                </a:lnTo>
                <a:lnTo>
                  <a:pt x="8537" y="901"/>
                </a:lnTo>
                <a:lnTo>
                  <a:pt x="8514" y="908"/>
                </a:lnTo>
                <a:lnTo>
                  <a:pt x="8492" y="915"/>
                </a:lnTo>
                <a:lnTo>
                  <a:pt x="8472" y="926"/>
                </a:lnTo>
                <a:lnTo>
                  <a:pt x="8434" y="946"/>
                </a:lnTo>
                <a:lnTo>
                  <a:pt x="8400" y="970"/>
                </a:lnTo>
                <a:lnTo>
                  <a:pt x="8367" y="993"/>
                </a:lnTo>
                <a:lnTo>
                  <a:pt x="8335" y="1017"/>
                </a:lnTo>
                <a:lnTo>
                  <a:pt x="8197" y="877"/>
                </a:lnTo>
                <a:lnTo>
                  <a:pt x="8197" y="877"/>
                </a:lnTo>
                <a:lnTo>
                  <a:pt x="8220" y="854"/>
                </a:lnTo>
                <a:lnTo>
                  <a:pt x="8248" y="834"/>
                </a:lnTo>
                <a:lnTo>
                  <a:pt x="8273" y="816"/>
                </a:lnTo>
                <a:lnTo>
                  <a:pt x="8302" y="798"/>
                </a:lnTo>
                <a:lnTo>
                  <a:pt x="8331" y="781"/>
                </a:lnTo>
                <a:lnTo>
                  <a:pt x="8360" y="767"/>
                </a:lnTo>
                <a:lnTo>
                  <a:pt x="8389" y="754"/>
                </a:lnTo>
                <a:lnTo>
                  <a:pt x="8420" y="742"/>
                </a:lnTo>
                <a:lnTo>
                  <a:pt x="8452" y="731"/>
                </a:lnTo>
                <a:lnTo>
                  <a:pt x="8483" y="722"/>
                </a:lnTo>
                <a:lnTo>
                  <a:pt x="8514" y="715"/>
                </a:lnTo>
                <a:lnTo>
                  <a:pt x="8546" y="709"/>
                </a:lnTo>
                <a:lnTo>
                  <a:pt x="8579" y="704"/>
                </a:lnTo>
                <a:lnTo>
                  <a:pt x="8612" y="700"/>
                </a:lnTo>
                <a:lnTo>
                  <a:pt x="8642" y="698"/>
                </a:lnTo>
                <a:lnTo>
                  <a:pt x="8675" y="698"/>
                </a:lnTo>
                <a:lnTo>
                  <a:pt x="8675" y="698"/>
                </a:lnTo>
                <a:lnTo>
                  <a:pt x="8708" y="698"/>
                </a:lnTo>
                <a:lnTo>
                  <a:pt x="8738" y="700"/>
                </a:lnTo>
                <a:lnTo>
                  <a:pt x="8769" y="702"/>
                </a:lnTo>
                <a:lnTo>
                  <a:pt x="8798" y="706"/>
                </a:lnTo>
                <a:lnTo>
                  <a:pt x="8825" y="711"/>
                </a:lnTo>
                <a:lnTo>
                  <a:pt x="8852" y="716"/>
                </a:lnTo>
                <a:lnTo>
                  <a:pt x="8878" y="724"/>
                </a:lnTo>
                <a:lnTo>
                  <a:pt x="8901" y="731"/>
                </a:lnTo>
                <a:lnTo>
                  <a:pt x="8925" y="740"/>
                </a:lnTo>
                <a:lnTo>
                  <a:pt x="8947" y="749"/>
                </a:lnTo>
                <a:lnTo>
                  <a:pt x="8968" y="760"/>
                </a:lnTo>
                <a:lnTo>
                  <a:pt x="8988" y="771"/>
                </a:lnTo>
                <a:lnTo>
                  <a:pt x="9006" y="781"/>
                </a:lnTo>
                <a:lnTo>
                  <a:pt x="9024" y="794"/>
                </a:lnTo>
                <a:lnTo>
                  <a:pt x="9043" y="807"/>
                </a:lnTo>
                <a:lnTo>
                  <a:pt x="9057" y="821"/>
                </a:lnTo>
                <a:lnTo>
                  <a:pt x="9072" y="836"/>
                </a:lnTo>
                <a:lnTo>
                  <a:pt x="9086" y="850"/>
                </a:lnTo>
                <a:lnTo>
                  <a:pt x="9099" y="865"/>
                </a:lnTo>
                <a:lnTo>
                  <a:pt x="9110" y="881"/>
                </a:lnTo>
                <a:lnTo>
                  <a:pt x="9131" y="914"/>
                </a:lnTo>
                <a:lnTo>
                  <a:pt x="9148" y="950"/>
                </a:lnTo>
                <a:lnTo>
                  <a:pt x="9160" y="986"/>
                </a:lnTo>
                <a:lnTo>
                  <a:pt x="9169" y="1022"/>
                </a:lnTo>
                <a:lnTo>
                  <a:pt x="9175" y="1060"/>
                </a:lnTo>
                <a:lnTo>
                  <a:pt x="9177" y="1100"/>
                </a:lnTo>
                <a:lnTo>
                  <a:pt x="9177" y="1100"/>
                </a:lnTo>
                <a:close/>
                <a:moveTo>
                  <a:pt x="10602" y="1330"/>
                </a:moveTo>
                <a:lnTo>
                  <a:pt x="10602" y="1330"/>
                </a:lnTo>
                <a:lnTo>
                  <a:pt x="10602" y="1362"/>
                </a:lnTo>
                <a:lnTo>
                  <a:pt x="10600" y="1395"/>
                </a:lnTo>
                <a:lnTo>
                  <a:pt x="10596" y="1427"/>
                </a:lnTo>
                <a:lnTo>
                  <a:pt x="10591" y="1458"/>
                </a:lnTo>
                <a:lnTo>
                  <a:pt x="10585" y="1489"/>
                </a:lnTo>
                <a:lnTo>
                  <a:pt x="10578" y="1520"/>
                </a:lnTo>
                <a:lnTo>
                  <a:pt x="10569" y="1548"/>
                </a:lnTo>
                <a:lnTo>
                  <a:pt x="10560" y="1577"/>
                </a:lnTo>
                <a:lnTo>
                  <a:pt x="10547" y="1606"/>
                </a:lnTo>
                <a:lnTo>
                  <a:pt x="10536" y="1634"/>
                </a:lnTo>
                <a:lnTo>
                  <a:pt x="10522" y="1659"/>
                </a:lnTo>
                <a:lnTo>
                  <a:pt x="10507" y="1686"/>
                </a:lnTo>
                <a:lnTo>
                  <a:pt x="10491" y="1709"/>
                </a:lnTo>
                <a:lnTo>
                  <a:pt x="10475" y="1733"/>
                </a:lnTo>
                <a:lnTo>
                  <a:pt x="10457" y="1757"/>
                </a:lnTo>
                <a:lnTo>
                  <a:pt x="10437" y="1778"/>
                </a:lnTo>
                <a:lnTo>
                  <a:pt x="10417" y="1798"/>
                </a:lnTo>
                <a:lnTo>
                  <a:pt x="10395" y="1818"/>
                </a:lnTo>
                <a:lnTo>
                  <a:pt x="10372" y="1838"/>
                </a:lnTo>
                <a:lnTo>
                  <a:pt x="10348" y="1854"/>
                </a:lnTo>
                <a:lnTo>
                  <a:pt x="10324" y="1870"/>
                </a:lnTo>
                <a:lnTo>
                  <a:pt x="10299" y="1885"/>
                </a:lnTo>
                <a:lnTo>
                  <a:pt x="10272" y="1899"/>
                </a:lnTo>
                <a:lnTo>
                  <a:pt x="10245" y="1912"/>
                </a:lnTo>
                <a:lnTo>
                  <a:pt x="10216" y="1923"/>
                </a:lnTo>
                <a:lnTo>
                  <a:pt x="10187" y="1932"/>
                </a:lnTo>
                <a:lnTo>
                  <a:pt x="10156" y="1941"/>
                </a:lnTo>
                <a:lnTo>
                  <a:pt x="10125" y="1948"/>
                </a:lnTo>
                <a:lnTo>
                  <a:pt x="10093" y="1954"/>
                </a:lnTo>
                <a:lnTo>
                  <a:pt x="10060" y="1957"/>
                </a:lnTo>
                <a:lnTo>
                  <a:pt x="10026" y="1959"/>
                </a:lnTo>
                <a:lnTo>
                  <a:pt x="9991" y="1961"/>
                </a:lnTo>
                <a:lnTo>
                  <a:pt x="9991" y="1961"/>
                </a:lnTo>
                <a:lnTo>
                  <a:pt x="9959" y="1959"/>
                </a:lnTo>
                <a:lnTo>
                  <a:pt x="9926" y="1957"/>
                </a:lnTo>
                <a:lnTo>
                  <a:pt x="9894" y="1952"/>
                </a:lnTo>
                <a:lnTo>
                  <a:pt x="9863" y="1945"/>
                </a:lnTo>
                <a:lnTo>
                  <a:pt x="9830" y="1937"/>
                </a:lnTo>
                <a:lnTo>
                  <a:pt x="9799" y="1927"/>
                </a:lnTo>
                <a:lnTo>
                  <a:pt x="9770" y="1914"/>
                </a:lnTo>
                <a:lnTo>
                  <a:pt x="9741" y="1899"/>
                </a:lnTo>
                <a:lnTo>
                  <a:pt x="9741" y="1684"/>
                </a:lnTo>
                <a:lnTo>
                  <a:pt x="9741" y="1684"/>
                </a:lnTo>
                <a:lnTo>
                  <a:pt x="9765" y="1699"/>
                </a:lnTo>
                <a:lnTo>
                  <a:pt x="9789" y="1711"/>
                </a:lnTo>
                <a:lnTo>
                  <a:pt x="9816" y="1722"/>
                </a:lnTo>
                <a:lnTo>
                  <a:pt x="9843" y="1731"/>
                </a:lnTo>
                <a:lnTo>
                  <a:pt x="9872" y="1738"/>
                </a:lnTo>
                <a:lnTo>
                  <a:pt x="9901" y="1744"/>
                </a:lnTo>
                <a:lnTo>
                  <a:pt x="9933" y="1747"/>
                </a:lnTo>
                <a:lnTo>
                  <a:pt x="9966" y="1749"/>
                </a:lnTo>
                <a:lnTo>
                  <a:pt x="9966" y="1749"/>
                </a:lnTo>
                <a:lnTo>
                  <a:pt x="10009" y="1746"/>
                </a:lnTo>
                <a:lnTo>
                  <a:pt x="10053" y="1740"/>
                </a:lnTo>
                <a:lnTo>
                  <a:pt x="10093" y="1731"/>
                </a:lnTo>
                <a:lnTo>
                  <a:pt x="10129" y="1717"/>
                </a:lnTo>
                <a:lnTo>
                  <a:pt x="10165" y="1700"/>
                </a:lnTo>
                <a:lnTo>
                  <a:pt x="10198" y="1681"/>
                </a:lnTo>
                <a:lnTo>
                  <a:pt x="10227" y="1657"/>
                </a:lnTo>
                <a:lnTo>
                  <a:pt x="10254" y="1630"/>
                </a:lnTo>
                <a:lnTo>
                  <a:pt x="10277" y="1601"/>
                </a:lnTo>
                <a:lnTo>
                  <a:pt x="10299" y="1568"/>
                </a:lnTo>
                <a:lnTo>
                  <a:pt x="10317" y="1534"/>
                </a:lnTo>
                <a:lnTo>
                  <a:pt x="10332" y="1498"/>
                </a:lnTo>
                <a:lnTo>
                  <a:pt x="10344" y="1458"/>
                </a:lnTo>
                <a:lnTo>
                  <a:pt x="10352" y="1416"/>
                </a:lnTo>
                <a:lnTo>
                  <a:pt x="10357" y="1373"/>
                </a:lnTo>
                <a:lnTo>
                  <a:pt x="10359" y="1330"/>
                </a:lnTo>
                <a:lnTo>
                  <a:pt x="10359" y="1330"/>
                </a:lnTo>
                <a:lnTo>
                  <a:pt x="10357" y="1284"/>
                </a:lnTo>
                <a:lnTo>
                  <a:pt x="10352" y="1241"/>
                </a:lnTo>
                <a:lnTo>
                  <a:pt x="10344" y="1201"/>
                </a:lnTo>
                <a:lnTo>
                  <a:pt x="10332" y="1161"/>
                </a:lnTo>
                <a:lnTo>
                  <a:pt x="10317" y="1125"/>
                </a:lnTo>
                <a:lnTo>
                  <a:pt x="10299" y="1091"/>
                </a:lnTo>
                <a:lnTo>
                  <a:pt x="10277" y="1058"/>
                </a:lnTo>
                <a:lnTo>
                  <a:pt x="10254" y="1029"/>
                </a:lnTo>
                <a:lnTo>
                  <a:pt x="10227" y="1004"/>
                </a:lnTo>
                <a:lnTo>
                  <a:pt x="10198" y="980"/>
                </a:lnTo>
                <a:lnTo>
                  <a:pt x="10165" y="961"/>
                </a:lnTo>
                <a:lnTo>
                  <a:pt x="10129" y="942"/>
                </a:lnTo>
                <a:lnTo>
                  <a:pt x="10093" y="930"/>
                </a:lnTo>
                <a:lnTo>
                  <a:pt x="10053" y="921"/>
                </a:lnTo>
                <a:lnTo>
                  <a:pt x="10009" y="914"/>
                </a:lnTo>
                <a:lnTo>
                  <a:pt x="9966" y="912"/>
                </a:lnTo>
                <a:lnTo>
                  <a:pt x="9966" y="912"/>
                </a:lnTo>
                <a:lnTo>
                  <a:pt x="9921" y="914"/>
                </a:lnTo>
                <a:lnTo>
                  <a:pt x="9877" y="921"/>
                </a:lnTo>
                <a:lnTo>
                  <a:pt x="9837" y="930"/>
                </a:lnTo>
                <a:lnTo>
                  <a:pt x="9799" y="942"/>
                </a:lnTo>
                <a:lnTo>
                  <a:pt x="9765" y="961"/>
                </a:lnTo>
                <a:lnTo>
                  <a:pt x="9732" y="980"/>
                </a:lnTo>
                <a:lnTo>
                  <a:pt x="9702" y="1004"/>
                </a:lnTo>
                <a:lnTo>
                  <a:pt x="9676" y="1029"/>
                </a:lnTo>
                <a:lnTo>
                  <a:pt x="9651" y="1058"/>
                </a:lnTo>
                <a:lnTo>
                  <a:pt x="9629" y="1091"/>
                </a:lnTo>
                <a:lnTo>
                  <a:pt x="9611" y="1125"/>
                </a:lnTo>
                <a:lnTo>
                  <a:pt x="9597" y="1161"/>
                </a:lnTo>
                <a:lnTo>
                  <a:pt x="9586" y="1201"/>
                </a:lnTo>
                <a:lnTo>
                  <a:pt x="9577" y="1241"/>
                </a:lnTo>
                <a:lnTo>
                  <a:pt x="9571" y="1284"/>
                </a:lnTo>
                <a:lnTo>
                  <a:pt x="9569" y="1330"/>
                </a:lnTo>
                <a:lnTo>
                  <a:pt x="9569" y="1930"/>
                </a:lnTo>
                <a:lnTo>
                  <a:pt x="9341" y="1930"/>
                </a:lnTo>
                <a:lnTo>
                  <a:pt x="9341" y="14"/>
                </a:lnTo>
                <a:lnTo>
                  <a:pt x="9569" y="14"/>
                </a:lnTo>
                <a:lnTo>
                  <a:pt x="9569" y="903"/>
                </a:lnTo>
                <a:lnTo>
                  <a:pt x="9575" y="903"/>
                </a:lnTo>
                <a:lnTo>
                  <a:pt x="9575" y="903"/>
                </a:lnTo>
                <a:lnTo>
                  <a:pt x="9591" y="879"/>
                </a:lnTo>
                <a:lnTo>
                  <a:pt x="9607" y="857"/>
                </a:lnTo>
                <a:lnTo>
                  <a:pt x="9627" y="838"/>
                </a:lnTo>
                <a:lnTo>
                  <a:pt x="9649" y="818"/>
                </a:lnTo>
                <a:lnTo>
                  <a:pt x="9671" y="800"/>
                </a:lnTo>
                <a:lnTo>
                  <a:pt x="9696" y="781"/>
                </a:lnTo>
                <a:lnTo>
                  <a:pt x="9722" y="767"/>
                </a:lnTo>
                <a:lnTo>
                  <a:pt x="9749" y="753"/>
                </a:lnTo>
                <a:lnTo>
                  <a:pt x="9776" y="740"/>
                </a:lnTo>
                <a:lnTo>
                  <a:pt x="9805" y="729"/>
                </a:lnTo>
                <a:lnTo>
                  <a:pt x="9834" y="720"/>
                </a:lnTo>
                <a:lnTo>
                  <a:pt x="9865" y="713"/>
                </a:lnTo>
                <a:lnTo>
                  <a:pt x="9895" y="706"/>
                </a:lnTo>
                <a:lnTo>
                  <a:pt x="9928" y="702"/>
                </a:lnTo>
                <a:lnTo>
                  <a:pt x="9959" y="698"/>
                </a:lnTo>
                <a:lnTo>
                  <a:pt x="9991" y="698"/>
                </a:lnTo>
                <a:lnTo>
                  <a:pt x="9991" y="698"/>
                </a:lnTo>
                <a:lnTo>
                  <a:pt x="10026" y="698"/>
                </a:lnTo>
                <a:lnTo>
                  <a:pt x="10058" y="700"/>
                </a:lnTo>
                <a:lnTo>
                  <a:pt x="10093" y="704"/>
                </a:lnTo>
                <a:lnTo>
                  <a:pt x="10124" y="709"/>
                </a:lnTo>
                <a:lnTo>
                  <a:pt x="10154" y="716"/>
                </a:lnTo>
                <a:lnTo>
                  <a:pt x="10185" y="725"/>
                </a:lnTo>
                <a:lnTo>
                  <a:pt x="10214" y="734"/>
                </a:lnTo>
                <a:lnTo>
                  <a:pt x="10243" y="745"/>
                </a:lnTo>
                <a:lnTo>
                  <a:pt x="10270" y="758"/>
                </a:lnTo>
                <a:lnTo>
                  <a:pt x="10297" y="771"/>
                </a:lnTo>
                <a:lnTo>
                  <a:pt x="10323" y="787"/>
                </a:lnTo>
                <a:lnTo>
                  <a:pt x="10348" y="803"/>
                </a:lnTo>
                <a:lnTo>
                  <a:pt x="10372" y="819"/>
                </a:lnTo>
                <a:lnTo>
                  <a:pt x="10393" y="838"/>
                </a:lnTo>
                <a:lnTo>
                  <a:pt x="10415" y="857"/>
                </a:lnTo>
                <a:lnTo>
                  <a:pt x="10435" y="877"/>
                </a:lnTo>
                <a:lnTo>
                  <a:pt x="10455" y="899"/>
                </a:lnTo>
                <a:lnTo>
                  <a:pt x="10473" y="923"/>
                </a:lnTo>
                <a:lnTo>
                  <a:pt x="10491" y="946"/>
                </a:lnTo>
                <a:lnTo>
                  <a:pt x="10507" y="971"/>
                </a:lnTo>
                <a:lnTo>
                  <a:pt x="10522" y="997"/>
                </a:lnTo>
                <a:lnTo>
                  <a:pt x="10535" y="1022"/>
                </a:lnTo>
                <a:lnTo>
                  <a:pt x="10547" y="1051"/>
                </a:lnTo>
                <a:lnTo>
                  <a:pt x="10558" y="1078"/>
                </a:lnTo>
                <a:lnTo>
                  <a:pt x="10569" y="1107"/>
                </a:lnTo>
                <a:lnTo>
                  <a:pt x="10578" y="1136"/>
                </a:lnTo>
                <a:lnTo>
                  <a:pt x="10585" y="1167"/>
                </a:lnTo>
                <a:lnTo>
                  <a:pt x="10591" y="1198"/>
                </a:lnTo>
                <a:lnTo>
                  <a:pt x="10596" y="1230"/>
                </a:lnTo>
                <a:lnTo>
                  <a:pt x="10600" y="1263"/>
                </a:lnTo>
                <a:lnTo>
                  <a:pt x="10602" y="1295"/>
                </a:lnTo>
                <a:lnTo>
                  <a:pt x="10602" y="1330"/>
                </a:lnTo>
                <a:lnTo>
                  <a:pt x="10602" y="1330"/>
                </a:lnTo>
                <a:close/>
                <a:moveTo>
                  <a:pt x="11576" y="1583"/>
                </a:moveTo>
                <a:lnTo>
                  <a:pt x="11576" y="1583"/>
                </a:lnTo>
                <a:lnTo>
                  <a:pt x="11576" y="1606"/>
                </a:lnTo>
                <a:lnTo>
                  <a:pt x="11574" y="1632"/>
                </a:lnTo>
                <a:lnTo>
                  <a:pt x="11570" y="1653"/>
                </a:lnTo>
                <a:lnTo>
                  <a:pt x="11565" y="1677"/>
                </a:lnTo>
                <a:lnTo>
                  <a:pt x="11559" y="1697"/>
                </a:lnTo>
                <a:lnTo>
                  <a:pt x="11552" y="1719"/>
                </a:lnTo>
                <a:lnTo>
                  <a:pt x="11543" y="1737"/>
                </a:lnTo>
                <a:lnTo>
                  <a:pt x="11534" y="1757"/>
                </a:lnTo>
                <a:lnTo>
                  <a:pt x="11523" y="1773"/>
                </a:lnTo>
                <a:lnTo>
                  <a:pt x="11510" y="1791"/>
                </a:lnTo>
                <a:lnTo>
                  <a:pt x="11498" y="1805"/>
                </a:lnTo>
                <a:lnTo>
                  <a:pt x="11485" y="1822"/>
                </a:lnTo>
                <a:lnTo>
                  <a:pt x="11469" y="1836"/>
                </a:lnTo>
                <a:lnTo>
                  <a:pt x="11454" y="1849"/>
                </a:lnTo>
                <a:lnTo>
                  <a:pt x="11438" y="1861"/>
                </a:lnTo>
                <a:lnTo>
                  <a:pt x="11422" y="1872"/>
                </a:lnTo>
                <a:lnTo>
                  <a:pt x="11386" y="1894"/>
                </a:lnTo>
                <a:lnTo>
                  <a:pt x="11348" y="1912"/>
                </a:lnTo>
                <a:lnTo>
                  <a:pt x="11306" y="1927"/>
                </a:lnTo>
                <a:lnTo>
                  <a:pt x="11264" y="1939"/>
                </a:lnTo>
                <a:lnTo>
                  <a:pt x="11221" y="1948"/>
                </a:lnTo>
                <a:lnTo>
                  <a:pt x="11177" y="1956"/>
                </a:lnTo>
                <a:lnTo>
                  <a:pt x="11132" y="1959"/>
                </a:lnTo>
                <a:lnTo>
                  <a:pt x="11089" y="1961"/>
                </a:lnTo>
                <a:lnTo>
                  <a:pt x="11089" y="1961"/>
                </a:lnTo>
                <a:lnTo>
                  <a:pt x="11052" y="1959"/>
                </a:lnTo>
                <a:lnTo>
                  <a:pt x="11016" y="1957"/>
                </a:lnTo>
                <a:lnTo>
                  <a:pt x="10982" y="1956"/>
                </a:lnTo>
                <a:lnTo>
                  <a:pt x="10949" y="1950"/>
                </a:lnTo>
                <a:lnTo>
                  <a:pt x="10917" y="1945"/>
                </a:lnTo>
                <a:lnTo>
                  <a:pt x="10886" y="1936"/>
                </a:lnTo>
                <a:lnTo>
                  <a:pt x="10855" y="1927"/>
                </a:lnTo>
                <a:lnTo>
                  <a:pt x="10826" y="1916"/>
                </a:lnTo>
                <a:lnTo>
                  <a:pt x="10799" y="1901"/>
                </a:lnTo>
                <a:lnTo>
                  <a:pt x="10772" y="1887"/>
                </a:lnTo>
                <a:lnTo>
                  <a:pt x="10745" y="1869"/>
                </a:lnTo>
                <a:lnTo>
                  <a:pt x="10719" y="1849"/>
                </a:lnTo>
                <a:lnTo>
                  <a:pt x="10694" y="1827"/>
                </a:lnTo>
                <a:lnTo>
                  <a:pt x="10670" y="1804"/>
                </a:lnTo>
                <a:lnTo>
                  <a:pt x="10647" y="1778"/>
                </a:lnTo>
                <a:lnTo>
                  <a:pt x="10625" y="1749"/>
                </a:lnTo>
                <a:lnTo>
                  <a:pt x="10797" y="1605"/>
                </a:lnTo>
                <a:lnTo>
                  <a:pt x="10797" y="1605"/>
                </a:lnTo>
                <a:lnTo>
                  <a:pt x="10824" y="1634"/>
                </a:lnTo>
                <a:lnTo>
                  <a:pt x="10855" y="1659"/>
                </a:lnTo>
                <a:lnTo>
                  <a:pt x="10888" y="1682"/>
                </a:lnTo>
                <a:lnTo>
                  <a:pt x="10920" y="1704"/>
                </a:lnTo>
                <a:lnTo>
                  <a:pt x="10938" y="1715"/>
                </a:lnTo>
                <a:lnTo>
                  <a:pt x="10958" y="1722"/>
                </a:lnTo>
                <a:lnTo>
                  <a:pt x="10978" y="1729"/>
                </a:lnTo>
                <a:lnTo>
                  <a:pt x="10998" y="1737"/>
                </a:lnTo>
                <a:lnTo>
                  <a:pt x="11020" y="1742"/>
                </a:lnTo>
                <a:lnTo>
                  <a:pt x="11042" y="1746"/>
                </a:lnTo>
                <a:lnTo>
                  <a:pt x="11063" y="1747"/>
                </a:lnTo>
                <a:lnTo>
                  <a:pt x="11089" y="1749"/>
                </a:lnTo>
                <a:lnTo>
                  <a:pt x="11089" y="1749"/>
                </a:lnTo>
                <a:lnTo>
                  <a:pt x="11110" y="1747"/>
                </a:lnTo>
                <a:lnTo>
                  <a:pt x="11132" y="1746"/>
                </a:lnTo>
                <a:lnTo>
                  <a:pt x="11154" y="1744"/>
                </a:lnTo>
                <a:lnTo>
                  <a:pt x="11176" y="1738"/>
                </a:lnTo>
                <a:lnTo>
                  <a:pt x="11195" y="1735"/>
                </a:lnTo>
                <a:lnTo>
                  <a:pt x="11217" y="1728"/>
                </a:lnTo>
                <a:lnTo>
                  <a:pt x="11235" y="1720"/>
                </a:lnTo>
                <a:lnTo>
                  <a:pt x="11253" y="1711"/>
                </a:lnTo>
                <a:lnTo>
                  <a:pt x="11270" y="1700"/>
                </a:lnTo>
                <a:lnTo>
                  <a:pt x="11284" y="1690"/>
                </a:lnTo>
                <a:lnTo>
                  <a:pt x="11299" y="1677"/>
                </a:lnTo>
                <a:lnTo>
                  <a:pt x="11310" y="1662"/>
                </a:lnTo>
                <a:lnTo>
                  <a:pt x="11319" y="1648"/>
                </a:lnTo>
                <a:lnTo>
                  <a:pt x="11326" y="1632"/>
                </a:lnTo>
                <a:lnTo>
                  <a:pt x="11329" y="1614"/>
                </a:lnTo>
                <a:lnTo>
                  <a:pt x="11331" y="1596"/>
                </a:lnTo>
                <a:lnTo>
                  <a:pt x="11331" y="1596"/>
                </a:lnTo>
                <a:lnTo>
                  <a:pt x="11329" y="1583"/>
                </a:lnTo>
                <a:lnTo>
                  <a:pt x="11329" y="1570"/>
                </a:lnTo>
                <a:lnTo>
                  <a:pt x="11326" y="1559"/>
                </a:lnTo>
                <a:lnTo>
                  <a:pt x="11322" y="1548"/>
                </a:lnTo>
                <a:lnTo>
                  <a:pt x="11313" y="1530"/>
                </a:lnTo>
                <a:lnTo>
                  <a:pt x="11300" y="1512"/>
                </a:lnTo>
                <a:lnTo>
                  <a:pt x="11284" y="1496"/>
                </a:lnTo>
                <a:lnTo>
                  <a:pt x="11266" y="1483"/>
                </a:lnTo>
                <a:lnTo>
                  <a:pt x="11246" y="1471"/>
                </a:lnTo>
                <a:lnTo>
                  <a:pt x="11224" y="1462"/>
                </a:lnTo>
                <a:lnTo>
                  <a:pt x="11201" y="1451"/>
                </a:lnTo>
                <a:lnTo>
                  <a:pt x="11177" y="1444"/>
                </a:lnTo>
                <a:lnTo>
                  <a:pt x="11128" y="1431"/>
                </a:lnTo>
                <a:lnTo>
                  <a:pt x="11042" y="1411"/>
                </a:lnTo>
                <a:lnTo>
                  <a:pt x="11042" y="1411"/>
                </a:lnTo>
                <a:lnTo>
                  <a:pt x="10971" y="1391"/>
                </a:lnTo>
                <a:lnTo>
                  <a:pt x="10937" y="1380"/>
                </a:lnTo>
                <a:lnTo>
                  <a:pt x="10902" y="1369"/>
                </a:lnTo>
                <a:lnTo>
                  <a:pt x="10871" y="1357"/>
                </a:lnTo>
                <a:lnTo>
                  <a:pt x="10841" y="1342"/>
                </a:lnTo>
                <a:lnTo>
                  <a:pt x="10812" y="1326"/>
                </a:lnTo>
                <a:lnTo>
                  <a:pt x="10786" y="1308"/>
                </a:lnTo>
                <a:lnTo>
                  <a:pt x="10763" y="1288"/>
                </a:lnTo>
                <a:lnTo>
                  <a:pt x="10741" y="1264"/>
                </a:lnTo>
                <a:lnTo>
                  <a:pt x="10721" y="1239"/>
                </a:lnTo>
                <a:lnTo>
                  <a:pt x="10707" y="1212"/>
                </a:lnTo>
                <a:lnTo>
                  <a:pt x="10694" y="1181"/>
                </a:lnTo>
                <a:lnTo>
                  <a:pt x="10685" y="1147"/>
                </a:lnTo>
                <a:lnTo>
                  <a:pt x="10678" y="1109"/>
                </a:lnTo>
                <a:lnTo>
                  <a:pt x="10676" y="1069"/>
                </a:lnTo>
                <a:lnTo>
                  <a:pt x="10676" y="1069"/>
                </a:lnTo>
                <a:lnTo>
                  <a:pt x="10678" y="1046"/>
                </a:lnTo>
                <a:lnTo>
                  <a:pt x="10679" y="1022"/>
                </a:lnTo>
                <a:lnTo>
                  <a:pt x="10683" y="1000"/>
                </a:lnTo>
                <a:lnTo>
                  <a:pt x="10687" y="980"/>
                </a:lnTo>
                <a:lnTo>
                  <a:pt x="10692" y="961"/>
                </a:lnTo>
                <a:lnTo>
                  <a:pt x="10699" y="941"/>
                </a:lnTo>
                <a:lnTo>
                  <a:pt x="10707" y="923"/>
                </a:lnTo>
                <a:lnTo>
                  <a:pt x="10716" y="904"/>
                </a:lnTo>
                <a:lnTo>
                  <a:pt x="10726" y="888"/>
                </a:lnTo>
                <a:lnTo>
                  <a:pt x="10737" y="872"/>
                </a:lnTo>
                <a:lnTo>
                  <a:pt x="10748" y="856"/>
                </a:lnTo>
                <a:lnTo>
                  <a:pt x="10761" y="841"/>
                </a:lnTo>
                <a:lnTo>
                  <a:pt x="10774" y="827"/>
                </a:lnTo>
                <a:lnTo>
                  <a:pt x="10788" y="814"/>
                </a:lnTo>
                <a:lnTo>
                  <a:pt x="10819" y="789"/>
                </a:lnTo>
                <a:lnTo>
                  <a:pt x="10853" y="767"/>
                </a:lnTo>
                <a:lnTo>
                  <a:pt x="10888" y="749"/>
                </a:lnTo>
                <a:lnTo>
                  <a:pt x="10926" y="733"/>
                </a:lnTo>
                <a:lnTo>
                  <a:pt x="10965" y="720"/>
                </a:lnTo>
                <a:lnTo>
                  <a:pt x="11005" y="711"/>
                </a:lnTo>
                <a:lnTo>
                  <a:pt x="11047" y="704"/>
                </a:lnTo>
                <a:lnTo>
                  <a:pt x="11089" y="698"/>
                </a:lnTo>
                <a:lnTo>
                  <a:pt x="11132" y="698"/>
                </a:lnTo>
                <a:lnTo>
                  <a:pt x="11132" y="698"/>
                </a:lnTo>
                <a:lnTo>
                  <a:pt x="11161" y="698"/>
                </a:lnTo>
                <a:lnTo>
                  <a:pt x="11192" y="700"/>
                </a:lnTo>
                <a:lnTo>
                  <a:pt x="11221" y="704"/>
                </a:lnTo>
                <a:lnTo>
                  <a:pt x="11252" y="709"/>
                </a:lnTo>
                <a:lnTo>
                  <a:pt x="11281" y="715"/>
                </a:lnTo>
                <a:lnTo>
                  <a:pt x="11310" y="724"/>
                </a:lnTo>
                <a:lnTo>
                  <a:pt x="11337" y="733"/>
                </a:lnTo>
                <a:lnTo>
                  <a:pt x="11366" y="743"/>
                </a:lnTo>
                <a:lnTo>
                  <a:pt x="11391" y="756"/>
                </a:lnTo>
                <a:lnTo>
                  <a:pt x="11416" y="771"/>
                </a:lnTo>
                <a:lnTo>
                  <a:pt x="11442" y="787"/>
                </a:lnTo>
                <a:lnTo>
                  <a:pt x="11465" y="805"/>
                </a:lnTo>
                <a:lnTo>
                  <a:pt x="11487" y="825"/>
                </a:lnTo>
                <a:lnTo>
                  <a:pt x="11507" y="847"/>
                </a:lnTo>
                <a:lnTo>
                  <a:pt x="11525" y="872"/>
                </a:lnTo>
                <a:lnTo>
                  <a:pt x="11543" y="897"/>
                </a:lnTo>
                <a:lnTo>
                  <a:pt x="11364" y="1029"/>
                </a:lnTo>
                <a:lnTo>
                  <a:pt x="11364" y="1029"/>
                </a:lnTo>
                <a:lnTo>
                  <a:pt x="11344" y="1006"/>
                </a:lnTo>
                <a:lnTo>
                  <a:pt x="11320" y="984"/>
                </a:lnTo>
                <a:lnTo>
                  <a:pt x="11295" y="964"/>
                </a:lnTo>
                <a:lnTo>
                  <a:pt x="11266" y="946"/>
                </a:lnTo>
                <a:lnTo>
                  <a:pt x="11250" y="939"/>
                </a:lnTo>
                <a:lnTo>
                  <a:pt x="11233" y="932"/>
                </a:lnTo>
                <a:lnTo>
                  <a:pt x="11215" y="926"/>
                </a:lnTo>
                <a:lnTo>
                  <a:pt x="11199" y="921"/>
                </a:lnTo>
                <a:lnTo>
                  <a:pt x="11179" y="917"/>
                </a:lnTo>
                <a:lnTo>
                  <a:pt x="11159" y="915"/>
                </a:lnTo>
                <a:lnTo>
                  <a:pt x="11139" y="914"/>
                </a:lnTo>
                <a:lnTo>
                  <a:pt x="11119" y="912"/>
                </a:lnTo>
                <a:lnTo>
                  <a:pt x="11119" y="912"/>
                </a:lnTo>
                <a:lnTo>
                  <a:pt x="11099" y="914"/>
                </a:lnTo>
                <a:lnTo>
                  <a:pt x="11080" y="915"/>
                </a:lnTo>
                <a:lnTo>
                  <a:pt x="11061" y="917"/>
                </a:lnTo>
                <a:lnTo>
                  <a:pt x="11043" y="921"/>
                </a:lnTo>
                <a:lnTo>
                  <a:pt x="11025" y="926"/>
                </a:lnTo>
                <a:lnTo>
                  <a:pt x="11009" y="932"/>
                </a:lnTo>
                <a:lnTo>
                  <a:pt x="10994" y="939"/>
                </a:lnTo>
                <a:lnTo>
                  <a:pt x="10980" y="946"/>
                </a:lnTo>
                <a:lnTo>
                  <a:pt x="10967" y="955"/>
                </a:lnTo>
                <a:lnTo>
                  <a:pt x="10955" y="964"/>
                </a:lnTo>
                <a:lnTo>
                  <a:pt x="10944" y="975"/>
                </a:lnTo>
                <a:lnTo>
                  <a:pt x="10935" y="988"/>
                </a:lnTo>
                <a:lnTo>
                  <a:pt x="10929" y="1000"/>
                </a:lnTo>
                <a:lnTo>
                  <a:pt x="10924" y="1015"/>
                </a:lnTo>
                <a:lnTo>
                  <a:pt x="10920" y="1029"/>
                </a:lnTo>
                <a:lnTo>
                  <a:pt x="10918" y="1046"/>
                </a:lnTo>
                <a:lnTo>
                  <a:pt x="10918" y="1046"/>
                </a:lnTo>
                <a:lnTo>
                  <a:pt x="10920" y="1058"/>
                </a:lnTo>
                <a:lnTo>
                  <a:pt x="10922" y="1071"/>
                </a:lnTo>
                <a:lnTo>
                  <a:pt x="10924" y="1084"/>
                </a:lnTo>
                <a:lnTo>
                  <a:pt x="10927" y="1094"/>
                </a:lnTo>
                <a:lnTo>
                  <a:pt x="10933" y="1105"/>
                </a:lnTo>
                <a:lnTo>
                  <a:pt x="10938" y="1114"/>
                </a:lnTo>
                <a:lnTo>
                  <a:pt x="10953" y="1132"/>
                </a:lnTo>
                <a:lnTo>
                  <a:pt x="10969" y="1149"/>
                </a:lnTo>
                <a:lnTo>
                  <a:pt x="10989" y="1163"/>
                </a:lnTo>
                <a:lnTo>
                  <a:pt x="11011" y="1176"/>
                </a:lnTo>
                <a:lnTo>
                  <a:pt x="11034" y="1185"/>
                </a:lnTo>
                <a:lnTo>
                  <a:pt x="11058" y="1194"/>
                </a:lnTo>
                <a:lnTo>
                  <a:pt x="11083" y="1203"/>
                </a:lnTo>
                <a:lnTo>
                  <a:pt x="11136" y="1214"/>
                </a:lnTo>
                <a:lnTo>
                  <a:pt x="11226" y="1232"/>
                </a:lnTo>
                <a:lnTo>
                  <a:pt x="11226" y="1232"/>
                </a:lnTo>
                <a:lnTo>
                  <a:pt x="11262" y="1241"/>
                </a:lnTo>
                <a:lnTo>
                  <a:pt x="11297" y="1252"/>
                </a:lnTo>
                <a:lnTo>
                  <a:pt x="11331" y="1263"/>
                </a:lnTo>
                <a:lnTo>
                  <a:pt x="11364" y="1275"/>
                </a:lnTo>
                <a:lnTo>
                  <a:pt x="11395" y="1290"/>
                </a:lnTo>
                <a:lnTo>
                  <a:pt x="11424" y="1304"/>
                </a:lnTo>
                <a:lnTo>
                  <a:pt x="11451" y="1322"/>
                </a:lnTo>
                <a:lnTo>
                  <a:pt x="11474" y="1340"/>
                </a:lnTo>
                <a:lnTo>
                  <a:pt x="11498" y="1362"/>
                </a:lnTo>
                <a:lnTo>
                  <a:pt x="11518" y="1386"/>
                </a:lnTo>
                <a:lnTo>
                  <a:pt x="11534" y="1411"/>
                </a:lnTo>
                <a:lnTo>
                  <a:pt x="11549" y="1440"/>
                </a:lnTo>
                <a:lnTo>
                  <a:pt x="11561" y="1471"/>
                </a:lnTo>
                <a:lnTo>
                  <a:pt x="11568" y="1505"/>
                </a:lnTo>
                <a:lnTo>
                  <a:pt x="11574" y="1541"/>
                </a:lnTo>
                <a:lnTo>
                  <a:pt x="11576" y="1583"/>
                </a:lnTo>
                <a:lnTo>
                  <a:pt x="11576" y="1583"/>
                </a:lnTo>
                <a:close/>
                <a:moveTo>
                  <a:pt x="2169" y="1100"/>
                </a:moveTo>
                <a:lnTo>
                  <a:pt x="2169" y="1930"/>
                </a:lnTo>
                <a:lnTo>
                  <a:pt x="1956" y="1930"/>
                </a:lnTo>
                <a:lnTo>
                  <a:pt x="1956" y="1351"/>
                </a:lnTo>
                <a:lnTo>
                  <a:pt x="1834" y="1351"/>
                </a:lnTo>
                <a:lnTo>
                  <a:pt x="1834" y="1351"/>
                </a:lnTo>
                <a:lnTo>
                  <a:pt x="1793" y="1353"/>
                </a:lnTo>
                <a:lnTo>
                  <a:pt x="1751" y="1355"/>
                </a:lnTo>
                <a:lnTo>
                  <a:pt x="1709" y="1357"/>
                </a:lnTo>
                <a:lnTo>
                  <a:pt x="1668" y="1360"/>
                </a:lnTo>
                <a:lnTo>
                  <a:pt x="1628" y="1368"/>
                </a:lnTo>
                <a:lnTo>
                  <a:pt x="1588" y="1375"/>
                </a:lnTo>
                <a:lnTo>
                  <a:pt x="1550" y="1384"/>
                </a:lnTo>
                <a:lnTo>
                  <a:pt x="1514" y="1395"/>
                </a:lnTo>
                <a:lnTo>
                  <a:pt x="1481" y="1409"/>
                </a:lnTo>
                <a:lnTo>
                  <a:pt x="1450" y="1425"/>
                </a:lnTo>
                <a:lnTo>
                  <a:pt x="1436" y="1435"/>
                </a:lnTo>
                <a:lnTo>
                  <a:pt x="1423" y="1444"/>
                </a:lnTo>
                <a:lnTo>
                  <a:pt x="1411" y="1454"/>
                </a:lnTo>
                <a:lnTo>
                  <a:pt x="1400" y="1465"/>
                </a:lnTo>
                <a:lnTo>
                  <a:pt x="1391" y="1478"/>
                </a:lnTo>
                <a:lnTo>
                  <a:pt x="1382" y="1491"/>
                </a:lnTo>
                <a:lnTo>
                  <a:pt x="1374" y="1503"/>
                </a:lnTo>
                <a:lnTo>
                  <a:pt x="1367" y="1518"/>
                </a:lnTo>
                <a:lnTo>
                  <a:pt x="1362" y="1532"/>
                </a:lnTo>
                <a:lnTo>
                  <a:pt x="1358" y="1548"/>
                </a:lnTo>
                <a:lnTo>
                  <a:pt x="1356" y="1565"/>
                </a:lnTo>
                <a:lnTo>
                  <a:pt x="1356" y="1583"/>
                </a:lnTo>
                <a:lnTo>
                  <a:pt x="1356" y="1583"/>
                </a:lnTo>
                <a:lnTo>
                  <a:pt x="1356" y="1606"/>
                </a:lnTo>
                <a:lnTo>
                  <a:pt x="1360" y="1630"/>
                </a:lnTo>
                <a:lnTo>
                  <a:pt x="1365" y="1652"/>
                </a:lnTo>
                <a:lnTo>
                  <a:pt x="1374" y="1672"/>
                </a:lnTo>
                <a:lnTo>
                  <a:pt x="1383" y="1690"/>
                </a:lnTo>
                <a:lnTo>
                  <a:pt x="1396" y="1706"/>
                </a:lnTo>
                <a:lnTo>
                  <a:pt x="1409" y="1720"/>
                </a:lnTo>
                <a:lnTo>
                  <a:pt x="1425" y="1733"/>
                </a:lnTo>
                <a:lnTo>
                  <a:pt x="1443" y="1744"/>
                </a:lnTo>
                <a:lnTo>
                  <a:pt x="1463" y="1753"/>
                </a:lnTo>
                <a:lnTo>
                  <a:pt x="1483" y="1762"/>
                </a:lnTo>
                <a:lnTo>
                  <a:pt x="1506" y="1767"/>
                </a:lnTo>
                <a:lnTo>
                  <a:pt x="1532" y="1773"/>
                </a:lnTo>
                <a:lnTo>
                  <a:pt x="1557" y="1776"/>
                </a:lnTo>
                <a:lnTo>
                  <a:pt x="1584" y="1778"/>
                </a:lnTo>
                <a:lnTo>
                  <a:pt x="1613" y="1778"/>
                </a:lnTo>
                <a:lnTo>
                  <a:pt x="1613" y="1778"/>
                </a:lnTo>
                <a:lnTo>
                  <a:pt x="1640" y="1778"/>
                </a:lnTo>
                <a:lnTo>
                  <a:pt x="1664" y="1776"/>
                </a:lnTo>
                <a:lnTo>
                  <a:pt x="1688" y="1773"/>
                </a:lnTo>
                <a:lnTo>
                  <a:pt x="1711" y="1767"/>
                </a:lnTo>
                <a:lnTo>
                  <a:pt x="1731" y="1762"/>
                </a:lnTo>
                <a:lnTo>
                  <a:pt x="1753" y="1755"/>
                </a:lnTo>
                <a:lnTo>
                  <a:pt x="1771" y="1747"/>
                </a:lnTo>
                <a:lnTo>
                  <a:pt x="1791" y="1738"/>
                </a:lnTo>
                <a:lnTo>
                  <a:pt x="1791" y="1910"/>
                </a:lnTo>
                <a:lnTo>
                  <a:pt x="1791" y="1910"/>
                </a:lnTo>
                <a:lnTo>
                  <a:pt x="1764" y="1921"/>
                </a:lnTo>
                <a:lnTo>
                  <a:pt x="1735" y="1932"/>
                </a:lnTo>
                <a:lnTo>
                  <a:pt x="1706" y="1941"/>
                </a:lnTo>
                <a:lnTo>
                  <a:pt x="1675" y="1948"/>
                </a:lnTo>
                <a:lnTo>
                  <a:pt x="1644" y="1954"/>
                </a:lnTo>
                <a:lnTo>
                  <a:pt x="1612" y="1957"/>
                </a:lnTo>
                <a:lnTo>
                  <a:pt x="1577" y="1959"/>
                </a:lnTo>
                <a:lnTo>
                  <a:pt x="1543" y="1961"/>
                </a:lnTo>
                <a:lnTo>
                  <a:pt x="1543" y="1961"/>
                </a:lnTo>
                <a:lnTo>
                  <a:pt x="1501" y="1959"/>
                </a:lnTo>
                <a:lnTo>
                  <a:pt x="1461" y="1956"/>
                </a:lnTo>
                <a:lnTo>
                  <a:pt x="1421" y="1946"/>
                </a:lnTo>
                <a:lnTo>
                  <a:pt x="1383" y="1937"/>
                </a:lnTo>
                <a:lnTo>
                  <a:pt x="1347" y="1925"/>
                </a:lnTo>
                <a:lnTo>
                  <a:pt x="1313" y="1908"/>
                </a:lnTo>
                <a:lnTo>
                  <a:pt x="1280" y="1889"/>
                </a:lnTo>
                <a:lnTo>
                  <a:pt x="1251" y="1867"/>
                </a:lnTo>
                <a:lnTo>
                  <a:pt x="1224" y="1843"/>
                </a:lnTo>
                <a:lnTo>
                  <a:pt x="1199" y="1816"/>
                </a:lnTo>
                <a:lnTo>
                  <a:pt x="1177" y="1787"/>
                </a:lnTo>
                <a:lnTo>
                  <a:pt x="1159" y="1755"/>
                </a:lnTo>
                <a:lnTo>
                  <a:pt x="1152" y="1737"/>
                </a:lnTo>
                <a:lnTo>
                  <a:pt x="1144" y="1720"/>
                </a:lnTo>
                <a:lnTo>
                  <a:pt x="1139" y="1702"/>
                </a:lnTo>
                <a:lnTo>
                  <a:pt x="1133" y="1682"/>
                </a:lnTo>
                <a:lnTo>
                  <a:pt x="1130" y="1662"/>
                </a:lnTo>
                <a:lnTo>
                  <a:pt x="1128" y="1643"/>
                </a:lnTo>
                <a:lnTo>
                  <a:pt x="1126" y="1621"/>
                </a:lnTo>
                <a:lnTo>
                  <a:pt x="1126" y="1601"/>
                </a:lnTo>
                <a:lnTo>
                  <a:pt x="1126" y="1601"/>
                </a:lnTo>
                <a:lnTo>
                  <a:pt x="1126" y="1572"/>
                </a:lnTo>
                <a:lnTo>
                  <a:pt x="1128" y="1545"/>
                </a:lnTo>
                <a:lnTo>
                  <a:pt x="1133" y="1518"/>
                </a:lnTo>
                <a:lnTo>
                  <a:pt x="1139" y="1494"/>
                </a:lnTo>
                <a:lnTo>
                  <a:pt x="1146" y="1469"/>
                </a:lnTo>
                <a:lnTo>
                  <a:pt x="1155" y="1447"/>
                </a:lnTo>
                <a:lnTo>
                  <a:pt x="1166" y="1425"/>
                </a:lnTo>
                <a:lnTo>
                  <a:pt x="1177" y="1406"/>
                </a:lnTo>
                <a:lnTo>
                  <a:pt x="1191" y="1386"/>
                </a:lnTo>
                <a:lnTo>
                  <a:pt x="1206" y="1368"/>
                </a:lnTo>
                <a:lnTo>
                  <a:pt x="1222" y="1350"/>
                </a:lnTo>
                <a:lnTo>
                  <a:pt x="1239" y="1333"/>
                </a:lnTo>
                <a:lnTo>
                  <a:pt x="1257" y="1317"/>
                </a:lnTo>
                <a:lnTo>
                  <a:pt x="1277" y="1302"/>
                </a:lnTo>
                <a:lnTo>
                  <a:pt x="1298" y="1290"/>
                </a:lnTo>
                <a:lnTo>
                  <a:pt x="1320" y="1277"/>
                </a:lnTo>
                <a:lnTo>
                  <a:pt x="1342" y="1264"/>
                </a:lnTo>
                <a:lnTo>
                  <a:pt x="1367" y="1254"/>
                </a:lnTo>
                <a:lnTo>
                  <a:pt x="1392" y="1245"/>
                </a:lnTo>
                <a:lnTo>
                  <a:pt x="1418" y="1236"/>
                </a:lnTo>
                <a:lnTo>
                  <a:pt x="1472" y="1219"/>
                </a:lnTo>
                <a:lnTo>
                  <a:pt x="1530" y="1207"/>
                </a:lnTo>
                <a:lnTo>
                  <a:pt x="1592" y="1198"/>
                </a:lnTo>
                <a:lnTo>
                  <a:pt x="1655" y="1190"/>
                </a:lnTo>
                <a:lnTo>
                  <a:pt x="1720" y="1187"/>
                </a:lnTo>
                <a:lnTo>
                  <a:pt x="1787" y="1187"/>
                </a:lnTo>
                <a:lnTo>
                  <a:pt x="1956" y="1187"/>
                </a:lnTo>
                <a:lnTo>
                  <a:pt x="1956" y="1134"/>
                </a:lnTo>
                <a:lnTo>
                  <a:pt x="1956" y="1134"/>
                </a:lnTo>
                <a:lnTo>
                  <a:pt x="1956" y="1111"/>
                </a:lnTo>
                <a:lnTo>
                  <a:pt x="1952" y="1087"/>
                </a:lnTo>
                <a:lnTo>
                  <a:pt x="1946" y="1065"/>
                </a:lnTo>
                <a:lnTo>
                  <a:pt x="1939" y="1042"/>
                </a:lnTo>
                <a:lnTo>
                  <a:pt x="1928" y="1020"/>
                </a:lnTo>
                <a:lnTo>
                  <a:pt x="1918" y="1000"/>
                </a:lnTo>
                <a:lnTo>
                  <a:pt x="1903" y="980"/>
                </a:lnTo>
                <a:lnTo>
                  <a:pt x="1887" y="961"/>
                </a:lnTo>
                <a:lnTo>
                  <a:pt x="1867" y="944"/>
                </a:lnTo>
                <a:lnTo>
                  <a:pt x="1847" y="928"/>
                </a:lnTo>
                <a:lnTo>
                  <a:pt x="1823" y="915"/>
                </a:lnTo>
                <a:lnTo>
                  <a:pt x="1796" y="903"/>
                </a:lnTo>
                <a:lnTo>
                  <a:pt x="1769" y="894"/>
                </a:lnTo>
                <a:lnTo>
                  <a:pt x="1738" y="888"/>
                </a:lnTo>
                <a:lnTo>
                  <a:pt x="1706" y="883"/>
                </a:lnTo>
                <a:lnTo>
                  <a:pt x="1669" y="881"/>
                </a:lnTo>
                <a:lnTo>
                  <a:pt x="1669" y="881"/>
                </a:lnTo>
                <a:lnTo>
                  <a:pt x="1639" y="883"/>
                </a:lnTo>
                <a:lnTo>
                  <a:pt x="1608" y="885"/>
                </a:lnTo>
                <a:lnTo>
                  <a:pt x="1581" y="888"/>
                </a:lnTo>
                <a:lnTo>
                  <a:pt x="1554" y="894"/>
                </a:lnTo>
                <a:lnTo>
                  <a:pt x="1528" y="901"/>
                </a:lnTo>
                <a:lnTo>
                  <a:pt x="1506" y="908"/>
                </a:lnTo>
                <a:lnTo>
                  <a:pt x="1485" y="915"/>
                </a:lnTo>
                <a:lnTo>
                  <a:pt x="1463" y="926"/>
                </a:lnTo>
                <a:lnTo>
                  <a:pt x="1425" y="946"/>
                </a:lnTo>
                <a:lnTo>
                  <a:pt x="1391" y="970"/>
                </a:lnTo>
                <a:lnTo>
                  <a:pt x="1358" y="993"/>
                </a:lnTo>
                <a:lnTo>
                  <a:pt x="1327" y="1017"/>
                </a:lnTo>
                <a:lnTo>
                  <a:pt x="1190" y="877"/>
                </a:lnTo>
                <a:lnTo>
                  <a:pt x="1190" y="877"/>
                </a:lnTo>
                <a:lnTo>
                  <a:pt x="1213" y="854"/>
                </a:lnTo>
                <a:lnTo>
                  <a:pt x="1240" y="834"/>
                </a:lnTo>
                <a:lnTo>
                  <a:pt x="1266" y="816"/>
                </a:lnTo>
                <a:lnTo>
                  <a:pt x="1295" y="798"/>
                </a:lnTo>
                <a:lnTo>
                  <a:pt x="1324" y="781"/>
                </a:lnTo>
                <a:lnTo>
                  <a:pt x="1353" y="767"/>
                </a:lnTo>
                <a:lnTo>
                  <a:pt x="1382" y="754"/>
                </a:lnTo>
                <a:lnTo>
                  <a:pt x="1412" y="742"/>
                </a:lnTo>
                <a:lnTo>
                  <a:pt x="1443" y="731"/>
                </a:lnTo>
                <a:lnTo>
                  <a:pt x="1476" y="722"/>
                </a:lnTo>
                <a:lnTo>
                  <a:pt x="1506" y="715"/>
                </a:lnTo>
                <a:lnTo>
                  <a:pt x="1539" y="709"/>
                </a:lnTo>
                <a:lnTo>
                  <a:pt x="1570" y="704"/>
                </a:lnTo>
                <a:lnTo>
                  <a:pt x="1602" y="700"/>
                </a:lnTo>
                <a:lnTo>
                  <a:pt x="1633" y="698"/>
                </a:lnTo>
                <a:lnTo>
                  <a:pt x="1664" y="698"/>
                </a:lnTo>
                <a:lnTo>
                  <a:pt x="1664" y="698"/>
                </a:lnTo>
                <a:lnTo>
                  <a:pt x="1698" y="698"/>
                </a:lnTo>
                <a:lnTo>
                  <a:pt x="1729" y="700"/>
                </a:lnTo>
                <a:lnTo>
                  <a:pt x="1760" y="702"/>
                </a:lnTo>
                <a:lnTo>
                  <a:pt x="1789" y="706"/>
                </a:lnTo>
                <a:lnTo>
                  <a:pt x="1816" y="711"/>
                </a:lnTo>
                <a:lnTo>
                  <a:pt x="1843" y="716"/>
                </a:lnTo>
                <a:lnTo>
                  <a:pt x="1869" y="724"/>
                </a:lnTo>
                <a:lnTo>
                  <a:pt x="1894" y="731"/>
                </a:lnTo>
                <a:lnTo>
                  <a:pt x="1918" y="740"/>
                </a:lnTo>
                <a:lnTo>
                  <a:pt x="1939" y="749"/>
                </a:lnTo>
                <a:lnTo>
                  <a:pt x="1961" y="760"/>
                </a:lnTo>
                <a:lnTo>
                  <a:pt x="1981" y="771"/>
                </a:lnTo>
                <a:lnTo>
                  <a:pt x="1999" y="781"/>
                </a:lnTo>
                <a:lnTo>
                  <a:pt x="2017" y="794"/>
                </a:lnTo>
                <a:lnTo>
                  <a:pt x="2033" y="807"/>
                </a:lnTo>
                <a:lnTo>
                  <a:pt x="2050" y="821"/>
                </a:lnTo>
                <a:lnTo>
                  <a:pt x="2064" y="836"/>
                </a:lnTo>
                <a:lnTo>
                  <a:pt x="2079" y="850"/>
                </a:lnTo>
                <a:lnTo>
                  <a:pt x="2091" y="865"/>
                </a:lnTo>
                <a:lnTo>
                  <a:pt x="2102" y="881"/>
                </a:lnTo>
                <a:lnTo>
                  <a:pt x="2124" y="914"/>
                </a:lnTo>
                <a:lnTo>
                  <a:pt x="2140" y="950"/>
                </a:lnTo>
                <a:lnTo>
                  <a:pt x="2153" y="986"/>
                </a:lnTo>
                <a:lnTo>
                  <a:pt x="2162" y="1022"/>
                </a:lnTo>
                <a:lnTo>
                  <a:pt x="2167" y="1060"/>
                </a:lnTo>
                <a:lnTo>
                  <a:pt x="2169" y="1100"/>
                </a:lnTo>
                <a:lnTo>
                  <a:pt x="2169" y="110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9" descr="Campus Management logo">
            <a:extLst>
              <a:ext uri="{FF2B5EF4-FFF2-40B4-BE49-F238E27FC236}">
                <a16:creationId xmlns:a16="http://schemas.microsoft.com/office/drawing/2014/main" id="{E6460F78-D4B6-43BD-8438-520850759994}"/>
              </a:ext>
            </a:extLst>
          </p:cNvPr>
          <p:cNvSpPr>
            <a:spLocks noChangeAspect="1" noEditPoints="1"/>
          </p:cNvSpPr>
          <p:nvPr/>
        </p:nvSpPr>
        <p:spPr bwMode="auto">
          <a:xfrm>
            <a:off x="6626519" y="5097305"/>
            <a:ext cx="1811814" cy="457200"/>
          </a:xfrm>
          <a:custGeom>
            <a:avLst/>
            <a:gdLst>
              <a:gd name="T0" fmla="*/ 28 w 15360"/>
              <a:gd name="T1" fmla="*/ 1053 h 3876"/>
              <a:gd name="T2" fmla="*/ 1121 w 15360"/>
              <a:gd name="T3" fmla="*/ 22 h 3876"/>
              <a:gd name="T4" fmla="*/ 2334 w 15360"/>
              <a:gd name="T5" fmla="*/ 192 h 3876"/>
              <a:gd name="T6" fmla="*/ 2205 w 15360"/>
              <a:gd name="T7" fmla="*/ 459 h 3876"/>
              <a:gd name="T8" fmla="*/ 846 w 15360"/>
              <a:gd name="T9" fmla="*/ 231 h 3876"/>
              <a:gd name="T10" fmla="*/ 323 w 15360"/>
              <a:gd name="T11" fmla="*/ 1468 h 3876"/>
              <a:gd name="T12" fmla="*/ 1785 w 15360"/>
              <a:gd name="T13" fmla="*/ 2539 h 3876"/>
              <a:gd name="T14" fmla="*/ 2337 w 15360"/>
              <a:gd name="T15" fmla="*/ 2045 h 3876"/>
              <a:gd name="T16" fmla="*/ 1558 w 15360"/>
              <a:gd name="T17" fmla="*/ 2708 h 3876"/>
              <a:gd name="T18" fmla="*/ 3791 w 15360"/>
              <a:gd name="T19" fmla="*/ 861 h 3876"/>
              <a:gd name="T20" fmla="*/ 2750 w 15360"/>
              <a:gd name="T21" fmla="*/ 2609 h 3876"/>
              <a:gd name="T22" fmla="*/ 3363 w 15360"/>
              <a:gd name="T23" fmla="*/ 2638 h 3876"/>
              <a:gd name="T24" fmla="*/ 3432 w 15360"/>
              <a:gd name="T25" fmla="*/ 1848 h 3876"/>
              <a:gd name="T26" fmla="*/ 4513 w 15360"/>
              <a:gd name="T27" fmla="*/ 2653 h 3876"/>
              <a:gd name="T28" fmla="*/ 4756 w 15360"/>
              <a:gd name="T29" fmla="*/ 2485 h 3876"/>
              <a:gd name="T30" fmla="*/ 8087 w 15360"/>
              <a:gd name="T31" fmla="*/ 2280 h 3876"/>
              <a:gd name="T32" fmla="*/ 5893 w 15360"/>
              <a:gd name="T33" fmla="*/ 418 h 3876"/>
              <a:gd name="T34" fmla="*/ 5448 w 15360"/>
              <a:gd name="T35" fmla="*/ 2656 h 3876"/>
              <a:gd name="T36" fmla="*/ 5877 w 15360"/>
              <a:gd name="T37" fmla="*/ 2567 h 3876"/>
              <a:gd name="T38" fmla="*/ 6880 w 15360"/>
              <a:gd name="T39" fmla="*/ 2624 h 3876"/>
              <a:gd name="T40" fmla="*/ 8307 w 15360"/>
              <a:gd name="T41" fmla="*/ 2658 h 3876"/>
              <a:gd name="T42" fmla="*/ 8115 w 15360"/>
              <a:gd name="T43" fmla="*/ 2433 h 3876"/>
              <a:gd name="T44" fmla="*/ 8953 w 15360"/>
              <a:gd name="T45" fmla="*/ 2611 h 3876"/>
              <a:gd name="T46" fmla="*/ 9706 w 15360"/>
              <a:gd name="T47" fmla="*/ 2638 h 3876"/>
              <a:gd name="T48" fmla="*/ 9414 w 15360"/>
              <a:gd name="T49" fmla="*/ 1808 h 3876"/>
              <a:gd name="T50" fmla="*/ 10093 w 15360"/>
              <a:gd name="T51" fmla="*/ 769 h 3876"/>
              <a:gd name="T52" fmla="*/ 9901 w 15360"/>
              <a:gd name="T53" fmla="*/ 1539 h 3876"/>
              <a:gd name="T54" fmla="*/ 9708 w 15360"/>
              <a:gd name="T55" fmla="*/ 1658 h 3876"/>
              <a:gd name="T56" fmla="*/ 10446 w 15360"/>
              <a:gd name="T57" fmla="*/ 897 h 3876"/>
              <a:gd name="T58" fmla="*/ 9284 w 15360"/>
              <a:gd name="T59" fmla="*/ 445 h 3876"/>
              <a:gd name="T60" fmla="*/ 9125 w 15360"/>
              <a:gd name="T61" fmla="*/ 577 h 3876"/>
              <a:gd name="T62" fmla="*/ 11411 w 15360"/>
              <a:gd name="T63" fmla="*/ 2544 h 3876"/>
              <a:gd name="T64" fmla="*/ 12681 w 15360"/>
              <a:gd name="T65" fmla="*/ 2421 h 3876"/>
              <a:gd name="T66" fmla="*/ 12962 w 15360"/>
              <a:gd name="T67" fmla="*/ 513 h 3876"/>
              <a:gd name="T68" fmla="*/ 12443 w 15360"/>
              <a:gd name="T69" fmla="*/ 443 h 3876"/>
              <a:gd name="T70" fmla="*/ 12687 w 15360"/>
              <a:gd name="T71" fmla="*/ 1660 h 3876"/>
              <a:gd name="T72" fmla="*/ 12042 w 15360"/>
              <a:gd name="T73" fmla="*/ 2577 h 3876"/>
              <a:gd name="T74" fmla="*/ 11367 w 15360"/>
              <a:gd name="T75" fmla="*/ 1290 h 3876"/>
              <a:gd name="T76" fmla="*/ 11567 w 15360"/>
              <a:gd name="T77" fmla="*/ 443 h 3876"/>
              <a:gd name="T78" fmla="*/ 11011 w 15360"/>
              <a:gd name="T79" fmla="*/ 512 h 3876"/>
              <a:gd name="T80" fmla="*/ 14148 w 15360"/>
              <a:gd name="T81" fmla="*/ 2687 h 3876"/>
              <a:gd name="T82" fmla="*/ 14664 w 15360"/>
              <a:gd name="T83" fmla="*/ 1826 h 3876"/>
              <a:gd name="T84" fmla="*/ 13758 w 15360"/>
              <a:gd name="T85" fmla="*/ 739 h 3876"/>
              <a:gd name="T86" fmla="*/ 14543 w 15360"/>
              <a:gd name="T87" fmla="*/ 657 h 3876"/>
              <a:gd name="T88" fmla="*/ 14650 w 15360"/>
              <a:gd name="T89" fmla="*/ 445 h 3876"/>
              <a:gd name="T90" fmla="*/ 13694 w 15360"/>
              <a:gd name="T91" fmla="*/ 558 h 3876"/>
              <a:gd name="T92" fmla="*/ 14101 w 15360"/>
              <a:gd name="T93" fmla="*/ 1678 h 3876"/>
              <a:gd name="T94" fmla="*/ 14323 w 15360"/>
              <a:gd name="T95" fmla="*/ 2503 h 3876"/>
              <a:gd name="T96" fmla="*/ 13560 w 15360"/>
              <a:gd name="T97" fmla="*/ 2329 h 3876"/>
              <a:gd name="T98" fmla="*/ 13475 w 15360"/>
              <a:gd name="T99" fmla="*/ 2586 h 3876"/>
              <a:gd name="T100" fmla="*/ 4506 w 15360"/>
              <a:gd name="T101" fmla="*/ 3862 h 3876"/>
              <a:gd name="T102" fmla="*/ 6555 w 15360"/>
              <a:gd name="T103" fmla="*/ 3862 h 3876"/>
              <a:gd name="T104" fmla="*/ 7089 w 15360"/>
              <a:gd name="T105" fmla="*/ 3368 h 3876"/>
              <a:gd name="T106" fmla="*/ 7573 w 15360"/>
              <a:gd name="T107" fmla="*/ 3519 h 3876"/>
              <a:gd name="T108" fmla="*/ 7151 w 15360"/>
              <a:gd name="T109" fmla="*/ 3483 h 3876"/>
              <a:gd name="T110" fmla="*/ 8554 w 15360"/>
              <a:gd name="T111" fmla="*/ 3862 h 3876"/>
              <a:gd name="T112" fmla="*/ 10619 w 15360"/>
              <a:gd name="T113" fmla="*/ 3782 h 3876"/>
              <a:gd name="T114" fmla="*/ 12470 w 15360"/>
              <a:gd name="T115" fmla="*/ 3286 h 3876"/>
              <a:gd name="T116" fmla="*/ 14812 w 15360"/>
              <a:gd name="T117" fmla="*/ 549 h 3876"/>
              <a:gd name="T118" fmla="*/ 14865 w 15360"/>
              <a:gd name="T119" fmla="*/ 700 h 3876"/>
              <a:gd name="T120" fmla="*/ 15029 w 15360"/>
              <a:gd name="T121" fmla="*/ 683 h 3876"/>
              <a:gd name="T122" fmla="*/ 14942 w 15360"/>
              <a:gd name="T123" fmla="*/ 479 h 3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360" h="3876">
                <a:moveTo>
                  <a:pt x="418" y="2335"/>
                </a:moveTo>
                <a:lnTo>
                  <a:pt x="418" y="2335"/>
                </a:lnTo>
                <a:lnTo>
                  <a:pt x="418" y="2335"/>
                </a:lnTo>
                <a:lnTo>
                  <a:pt x="387" y="2307"/>
                </a:lnTo>
                <a:lnTo>
                  <a:pt x="358" y="2277"/>
                </a:lnTo>
                <a:lnTo>
                  <a:pt x="331" y="2249"/>
                </a:lnTo>
                <a:lnTo>
                  <a:pt x="304" y="2218"/>
                </a:lnTo>
                <a:lnTo>
                  <a:pt x="278" y="2188"/>
                </a:lnTo>
                <a:lnTo>
                  <a:pt x="255" y="2157"/>
                </a:lnTo>
                <a:lnTo>
                  <a:pt x="233" y="2126"/>
                </a:lnTo>
                <a:lnTo>
                  <a:pt x="211" y="2095"/>
                </a:lnTo>
                <a:lnTo>
                  <a:pt x="190" y="2064"/>
                </a:lnTo>
                <a:lnTo>
                  <a:pt x="172" y="2031"/>
                </a:lnTo>
                <a:lnTo>
                  <a:pt x="155" y="2000"/>
                </a:lnTo>
                <a:lnTo>
                  <a:pt x="137" y="1967"/>
                </a:lnTo>
                <a:lnTo>
                  <a:pt x="122" y="1934"/>
                </a:lnTo>
                <a:lnTo>
                  <a:pt x="108" y="1901"/>
                </a:lnTo>
                <a:lnTo>
                  <a:pt x="95" y="1867"/>
                </a:lnTo>
                <a:lnTo>
                  <a:pt x="83" y="1834"/>
                </a:lnTo>
                <a:lnTo>
                  <a:pt x="72" y="1802"/>
                </a:lnTo>
                <a:lnTo>
                  <a:pt x="61" y="1767"/>
                </a:lnTo>
                <a:lnTo>
                  <a:pt x="44" y="1702"/>
                </a:lnTo>
                <a:lnTo>
                  <a:pt x="30" y="1635"/>
                </a:lnTo>
                <a:lnTo>
                  <a:pt x="19" y="1569"/>
                </a:lnTo>
                <a:lnTo>
                  <a:pt x="9" y="1502"/>
                </a:lnTo>
                <a:lnTo>
                  <a:pt x="5" y="1438"/>
                </a:lnTo>
                <a:lnTo>
                  <a:pt x="2" y="1374"/>
                </a:lnTo>
                <a:lnTo>
                  <a:pt x="0" y="1312"/>
                </a:lnTo>
                <a:lnTo>
                  <a:pt x="0" y="1312"/>
                </a:lnTo>
                <a:lnTo>
                  <a:pt x="2" y="1267"/>
                </a:lnTo>
                <a:lnTo>
                  <a:pt x="5" y="1218"/>
                </a:lnTo>
                <a:lnTo>
                  <a:pt x="9" y="1165"/>
                </a:lnTo>
                <a:lnTo>
                  <a:pt x="17" y="1111"/>
                </a:lnTo>
                <a:lnTo>
                  <a:pt x="28" y="1053"/>
                </a:lnTo>
                <a:lnTo>
                  <a:pt x="41" y="994"/>
                </a:lnTo>
                <a:lnTo>
                  <a:pt x="58" y="931"/>
                </a:lnTo>
                <a:lnTo>
                  <a:pt x="78" y="869"/>
                </a:lnTo>
                <a:lnTo>
                  <a:pt x="101" y="805"/>
                </a:lnTo>
                <a:lnTo>
                  <a:pt x="128" y="741"/>
                </a:lnTo>
                <a:lnTo>
                  <a:pt x="144" y="710"/>
                </a:lnTo>
                <a:lnTo>
                  <a:pt x="161" y="677"/>
                </a:lnTo>
                <a:lnTo>
                  <a:pt x="178" y="646"/>
                </a:lnTo>
                <a:lnTo>
                  <a:pt x="195" y="613"/>
                </a:lnTo>
                <a:lnTo>
                  <a:pt x="215" y="582"/>
                </a:lnTo>
                <a:lnTo>
                  <a:pt x="236" y="551"/>
                </a:lnTo>
                <a:lnTo>
                  <a:pt x="258" y="519"/>
                </a:lnTo>
                <a:lnTo>
                  <a:pt x="281" y="488"/>
                </a:lnTo>
                <a:lnTo>
                  <a:pt x="306" y="459"/>
                </a:lnTo>
                <a:lnTo>
                  <a:pt x="331" y="429"/>
                </a:lnTo>
                <a:lnTo>
                  <a:pt x="358" y="399"/>
                </a:lnTo>
                <a:lnTo>
                  <a:pt x="387" y="370"/>
                </a:lnTo>
                <a:lnTo>
                  <a:pt x="387" y="370"/>
                </a:lnTo>
                <a:lnTo>
                  <a:pt x="426" y="331"/>
                </a:lnTo>
                <a:lnTo>
                  <a:pt x="468" y="295"/>
                </a:lnTo>
                <a:lnTo>
                  <a:pt x="515" y="259"/>
                </a:lnTo>
                <a:lnTo>
                  <a:pt x="564" y="225"/>
                </a:lnTo>
                <a:lnTo>
                  <a:pt x="615" y="192"/>
                </a:lnTo>
                <a:lnTo>
                  <a:pt x="670" y="161"/>
                </a:lnTo>
                <a:lnTo>
                  <a:pt x="729" y="133"/>
                </a:lnTo>
                <a:lnTo>
                  <a:pt x="792" y="106"/>
                </a:lnTo>
                <a:lnTo>
                  <a:pt x="857" y="83"/>
                </a:lnTo>
                <a:lnTo>
                  <a:pt x="892" y="72"/>
                </a:lnTo>
                <a:lnTo>
                  <a:pt x="928" y="62"/>
                </a:lnTo>
                <a:lnTo>
                  <a:pt x="965" y="53"/>
                </a:lnTo>
                <a:lnTo>
                  <a:pt x="1002" y="44"/>
                </a:lnTo>
                <a:lnTo>
                  <a:pt x="1041" y="36"/>
                </a:lnTo>
                <a:lnTo>
                  <a:pt x="1081" y="28"/>
                </a:lnTo>
                <a:lnTo>
                  <a:pt x="1121" y="22"/>
                </a:lnTo>
                <a:lnTo>
                  <a:pt x="1163" y="16"/>
                </a:lnTo>
                <a:lnTo>
                  <a:pt x="1207" y="11"/>
                </a:lnTo>
                <a:lnTo>
                  <a:pt x="1252" y="8"/>
                </a:lnTo>
                <a:lnTo>
                  <a:pt x="1298" y="5"/>
                </a:lnTo>
                <a:lnTo>
                  <a:pt x="1344" y="2"/>
                </a:lnTo>
                <a:lnTo>
                  <a:pt x="1393" y="0"/>
                </a:lnTo>
                <a:lnTo>
                  <a:pt x="1443" y="0"/>
                </a:lnTo>
                <a:lnTo>
                  <a:pt x="1443" y="0"/>
                </a:lnTo>
                <a:lnTo>
                  <a:pt x="1496" y="0"/>
                </a:lnTo>
                <a:lnTo>
                  <a:pt x="1555" y="2"/>
                </a:lnTo>
                <a:lnTo>
                  <a:pt x="1616" y="5"/>
                </a:lnTo>
                <a:lnTo>
                  <a:pt x="1680" y="9"/>
                </a:lnTo>
                <a:lnTo>
                  <a:pt x="1746" y="14"/>
                </a:lnTo>
                <a:lnTo>
                  <a:pt x="1811" y="22"/>
                </a:lnTo>
                <a:lnTo>
                  <a:pt x="1877" y="31"/>
                </a:lnTo>
                <a:lnTo>
                  <a:pt x="1941" y="42"/>
                </a:lnTo>
                <a:lnTo>
                  <a:pt x="1941" y="42"/>
                </a:lnTo>
                <a:lnTo>
                  <a:pt x="2036" y="59"/>
                </a:lnTo>
                <a:lnTo>
                  <a:pt x="2127" y="73"/>
                </a:lnTo>
                <a:lnTo>
                  <a:pt x="2213" y="86"/>
                </a:lnTo>
                <a:lnTo>
                  <a:pt x="2253" y="90"/>
                </a:lnTo>
                <a:lnTo>
                  <a:pt x="2295" y="94"/>
                </a:lnTo>
                <a:lnTo>
                  <a:pt x="2295" y="94"/>
                </a:lnTo>
                <a:lnTo>
                  <a:pt x="2308" y="95"/>
                </a:lnTo>
                <a:lnTo>
                  <a:pt x="2319" y="98"/>
                </a:lnTo>
                <a:lnTo>
                  <a:pt x="2327" y="101"/>
                </a:lnTo>
                <a:lnTo>
                  <a:pt x="2331" y="106"/>
                </a:lnTo>
                <a:lnTo>
                  <a:pt x="2336" y="111"/>
                </a:lnTo>
                <a:lnTo>
                  <a:pt x="2339" y="117"/>
                </a:lnTo>
                <a:lnTo>
                  <a:pt x="2339" y="125"/>
                </a:lnTo>
                <a:lnTo>
                  <a:pt x="2341" y="133"/>
                </a:lnTo>
                <a:lnTo>
                  <a:pt x="2341" y="133"/>
                </a:lnTo>
                <a:lnTo>
                  <a:pt x="2339" y="156"/>
                </a:lnTo>
                <a:lnTo>
                  <a:pt x="2334" y="192"/>
                </a:lnTo>
                <a:lnTo>
                  <a:pt x="2330" y="245"/>
                </a:lnTo>
                <a:lnTo>
                  <a:pt x="2323" y="324"/>
                </a:lnTo>
                <a:lnTo>
                  <a:pt x="2323" y="324"/>
                </a:lnTo>
                <a:lnTo>
                  <a:pt x="2320" y="421"/>
                </a:lnTo>
                <a:lnTo>
                  <a:pt x="2317" y="524"/>
                </a:lnTo>
                <a:lnTo>
                  <a:pt x="2314" y="618"/>
                </a:lnTo>
                <a:lnTo>
                  <a:pt x="2313" y="654"/>
                </a:lnTo>
                <a:lnTo>
                  <a:pt x="2311" y="678"/>
                </a:lnTo>
                <a:lnTo>
                  <a:pt x="2311" y="678"/>
                </a:lnTo>
                <a:lnTo>
                  <a:pt x="2308" y="713"/>
                </a:lnTo>
                <a:lnTo>
                  <a:pt x="2305" y="727"/>
                </a:lnTo>
                <a:lnTo>
                  <a:pt x="2303" y="736"/>
                </a:lnTo>
                <a:lnTo>
                  <a:pt x="2298" y="744"/>
                </a:lnTo>
                <a:lnTo>
                  <a:pt x="2294" y="749"/>
                </a:lnTo>
                <a:lnTo>
                  <a:pt x="2289" y="752"/>
                </a:lnTo>
                <a:lnTo>
                  <a:pt x="2281" y="753"/>
                </a:lnTo>
                <a:lnTo>
                  <a:pt x="2281" y="753"/>
                </a:lnTo>
                <a:lnTo>
                  <a:pt x="2273" y="752"/>
                </a:lnTo>
                <a:lnTo>
                  <a:pt x="2267" y="749"/>
                </a:lnTo>
                <a:lnTo>
                  <a:pt x="2261" y="742"/>
                </a:lnTo>
                <a:lnTo>
                  <a:pt x="2258" y="733"/>
                </a:lnTo>
                <a:lnTo>
                  <a:pt x="2255" y="724"/>
                </a:lnTo>
                <a:lnTo>
                  <a:pt x="2253" y="711"/>
                </a:lnTo>
                <a:lnTo>
                  <a:pt x="2253" y="678"/>
                </a:lnTo>
                <a:lnTo>
                  <a:pt x="2253" y="678"/>
                </a:lnTo>
                <a:lnTo>
                  <a:pt x="2253" y="654"/>
                </a:lnTo>
                <a:lnTo>
                  <a:pt x="2250" y="629"/>
                </a:lnTo>
                <a:lnTo>
                  <a:pt x="2247" y="604"/>
                </a:lnTo>
                <a:lnTo>
                  <a:pt x="2244" y="579"/>
                </a:lnTo>
                <a:lnTo>
                  <a:pt x="2238" y="554"/>
                </a:lnTo>
                <a:lnTo>
                  <a:pt x="2231" y="529"/>
                </a:lnTo>
                <a:lnTo>
                  <a:pt x="2224" y="505"/>
                </a:lnTo>
                <a:lnTo>
                  <a:pt x="2214" y="482"/>
                </a:lnTo>
                <a:lnTo>
                  <a:pt x="2205" y="459"/>
                </a:lnTo>
                <a:lnTo>
                  <a:pt x="2194" y="437"/>
                </a:lnTo>
                <a:lnTo>
                  <a:pt x="2181" y="416"/>
                </a:lnTo>
                <a:lnTo>
                  <a:pt x="2169" y="396"/>
                </a:lnTo>
                <a:lnTo>
                  <a:pt x="2155" y="377"/>
                </a:lnTo>
                <a:lnTo>
                  <a:pt x="2141" y="359"/>
                </a:lnTo>
                <a:lnTo>
                  <a:pt x="2125" y="343"/>
                </a:lnTo>
                <a:lnTo>
                  <a:pt x="2108" y="328"/>
                </a:lnTo>
                <a:lnTo>
                  <a:pt x="2108" y="328"/>
                </a:lnTo>
                <a:lnTo>
                  <a:pt x="2083" y="309"/>
                </a:lnTo>
                <a:lnTo>
                  <a:pt x="2056" y="290"/>
                </a:lnTo>
                <a:lnTo>
                  <a:pt x="2025" y="271"/>
                </a:lnTo>
                <a:lnTo>
                  <a:pt x="1991" y="254"/>
                </a:lnTo>
                <a:lnTo>
                  <a:pt x="1955" y="237"/>
                </a:lnTo>
                <a:lnTo>
                  <a:pt x="1916" y="221"/>
                </a:lnTo>
                <a:lnTo>
                  <a:pt x="1875" y="206"/>
                </a:lnTo>
                <a:lnTo>
                  <a:pt x="1832" y="192"/>
                </a:lnTo>
                <a:lnTo>
                  <a:pt x="1785" y="178"/>
                </a:lnTo>
                <a:lnTo>
                  <a:pt x="1738" y="167"/>
                </a:lnTo>
                <a:lnTo>
                  <a:pt x="1688" y="158"/>
                </a:lnTo>
                <a:lnTo>
                  <a:pt x="1636" y="148"/>
                </a:lnTo>
                <a:lnTo>
                  <a:pt x="1583" y="142"/>
                </a:lnTo>
                <a:lnTo>
                  <a:pt x="1529" y="136"/>
                </a:lnTo>
                <a:lnTo>
                  <a:pt x="1472" y="133"/>
                </a:lnTo>
                <a:lnTo>
                  <a:pt x="1416" y="133"/>
                </a:lnTo>
                <a:lnTo>
                  <a:pt x="1416" y="133"/>
                </a:lnTo>
                <a:lnTo>
                  <a:pt x="1333" y="134"/>
                </a:lnTo>
                <a:lnTo>
                  <a:pt x="1255" y="137"/>
                </a:lnTo>
                <a:lnTo>
                  <a:pt x="1182" y="145"/>
                </a:lnTo>
                <a:lnTo>
                  <a:pt x="1115" y="154"/>
                </a:lnTo>
                <a:lnTo>
                  <a:pt x="1052" y="167"/>
                </a:lnTo>
                <a:lnTo>
                  <a:pt x="995" y="179"/>
                </a:lnTo>
                <a:lnTo>
                  <a:pt x="942" y="195"/>
                </a:lnTo>
                <a:lnTo>
                  <a:pt x="892" y="212"/>
                </a:lnTo>
                <a:lnTo>
                  <a:pt x="846" y="231"/>
                </a:lnTo>
                <a:lnTo>
                  <a:pt x="806" y="251"/>
                </a:lnTo>
                <a:lnTo>
                  <a:pt x="767" y="271"/>
                </a:lnTo>
                <a:lnTo>
                  <a:pt x="732" y="293"/>
                </a:lnTo>
                <a:lnTo>
                  <a:pt x="701" y="315"/>
                </a:lnTo>
                <a:lnTo>
                  <a:pt x="671" y="338"/>
                </a:lnTo>
                <a:lnTo>
                  <a:pt x="645" y="360"/>
                </a:lnTo>
                <a:lnTo>
                  <a:pt x="621" y="382"/>
                </a:lnTo>
                <a:lnTo>
                  <a:pt x="621" y="382"/>
                </a:lnTo>
                <a:lnTo>
                  <a:pt x="598" y="406"/>
                </a:lnTo>
                <a:lnTo>
                  <a:pt x="576" y="429"/>
                </a:lnTo>
                <a:lnTo>
                  <a:pt x="554" y="452"/>
                </a:lnTo>
                <a:lnTo>
                  <a:pt x="536" y="476"/>
                </a:lnTo>
                <a:lnTo>
                  <a:pt x="517" y="501"/>
                </a:lnTo>
                <a:lnTo>
                  <a:pt x="498" y="526"/>
                </a:lnTo>
                <a:lnTo>
                  <a:pt x="481" y="551"/>
                </a:lnTo>
                <a:lnTo>
                  <a:pt x="465" y="576"/>
                </a:lnTo>
                <a:lnTo>
                  <a:pt x="450" y="602"/>
                </a:lnTo>
                <a:lnTo>
                  <a:pt x="436" y="629"/>
                </a:lnTo>
                <a:lnTo>
                  <a:pt x="423" y="655"/>
                </a:lnTo>
                <a:lnTo>
                  <a:pt x="411" y="682"/>
                </a:lnTo>
                <a:lnTo>
                  <a:pt x="389" y="736"/>
                </a:lnTo>
                <a:lnTo>
                  <a:pt x="370" y="792"/>
                </a:lnTo>
                <a:lnTo>
                  <a:pt x="354" y="850"/>
                </a:lnTo>
                <a:lnTo>
                  <a:pt x="340" y="908"/>
                </a:lnTo>
                <a:lnTo>
                  <a:pt x="331" y="967"/>
                </a:lnTo>
                <a:lnTo>
                  <a:pt x="322" y="1028"/>
                </a:lnTo>
                <a:lnTo>
                  <a:pt x="317" y="1090"/>
                </a:lnTo>
                <a:lnTo>
                  <a:pt x="312" y="1154"/>
                </a:lnTo>
                <a:lnTo>
                  <a:pt x="311" y="1218"/>
                </a:lnTo>
                <a:lnTo>
                  <a:pt x="309" y="1284"/>
                </a:lnTo>
                <a:lnTo>
                  <a:pt x="309" y="1284"/>
                </a:lnTo>
                <a:lnTo>
                  <a:pt x="311" y="1345"/>
                </a:lnTo>
                <a:lnTo>
                  <a:pt x="315" y="1407"/>
                </a:lnTo>
                <a:lnTo>
                  <a:pt x="323" y="1468"/>
                </a:lnTo>
                <a:lnTo>
                  <a:pt x="333" y="1529"/>
                </a:lnTo>
                <a:lnTo>
                  <a:pt x="345" y="1588"/>
                </a:lnTo>
                <a:lnTo>
                  <a:pt x="361" y="1646"/>
                </a:lnTo>
                <a:lnTo>
                  <a:pt x="379" y="1703"/>
                </a:lnTo>
                <a:lnTo>
                  <a:pt x="400" y="1761"/>
                </a:lnTo>
                <a:lnTo>
                  <a:pt x="423" y="1817"/>
                </a:lnTo>
                <a:lnTo>
                  <a:pt x="450" y="1870"/>
                </a:lnTo>
                <a:lnTo>
                  <a:pt x="478" y="1923"/>
                </a:lnTo>
                <a:lnTo>
                  <a:pt x="509" y="1975"/>
                </a:lnTo>
                <a:lnTo>
                  <a:pt x="542" y="2026"/>
                </a:lnTo>
                <a:lnTo>
                  <a:pt x="578" y="2074"/>
                </a:lnTo>
                <a:lnTo>
                  <a:pt x="615" y="2120"/>
                </a:lnTo>
                <a:lnTo>
                  <a:pt x="656" y="2165"/>
                </a:lnTo>
                <a:lnTo>
                  <a:pt x="698" y="2209"/>
                </a:lnTo>
                <a:lnTo>
                  <a:pt x="743" y="2249"/>
                </a:lnTo>
                <a:lnTo>
                  <a:pt x="789" y="2288"/>
                </a:lnTo>
                <a:lnTo>
                  <a:pt x="837" y="2324"/>
                </a:lnTo>
                <a:lnTo>
                  <a:pt x="888" y="2358"/>
                </a:lnTo>
                <a:lnTo>
                  <a:pt x="940" y="2390"/>
                </a:lnTo>
                <a:lnTo>
                  <a:pt x="995" y="2419"/>
                </a:lnTo>
                <a:lnTo>
                  <a:pt x="1051" y="2446"/>
                </a:lnTo>
                <a:lnTo>
                  <a:pt x="1109" y="2469"/>
                </a:lnTo>
                <a:lnTo>
                  <a:pt x="1168" y="2491"/>
                </a:lnTo>
                <a:lnTo>
                  <a:pt x="1229" y="2508"/>
                </a:lnTo>
                <a:lnTo>
                  <a:pt x="1291" y="2524"/>
                </a:lnTo>
                <a:lnTo>
                  <a:pt x="1355" y="2535"/>
                </a:lnTo>
                <a:lnTo>
                  <a:pt x="1422" y="2544"/>
                </a:lnTo>
                <a:lnTo>
                  <a:pt x="1490" y="2549"/>
                </a:lnTo>
                <a:lnTo>
                  <a:pt x="1558" y="2550"/>
                </a:lnTo>
                <a:lnTo>
                  <a:pt x="1558" y="2550"/>
                </a:lnTo>
                <a:lnTo>
                  <a:pt x="1654" y="2549"/>
                </a:lnTo>
                <a:lnTo>
                  <a:pt x="1699" y="2547"/>
                </a:lnTo>
                <a:lnTo>
                  <a:pt x="1743" y="2542"/>
                </a:lnTo>
                <a:lnTo>
                  <a:pt x="1785" y="2539"/>
                </a:lnTo>
                <a:lnTo>
                  <a:pt x="1827" y="2533"/>
                </a:lnTo>
                <a:lnTo>
                  <a:pt x="1866" y="2525"/>
                </a:lnTo>
                <a:lnTo>
                  <a:pt x="1905" y="2516"/>
                </a:lnTo>
                <a:lnTo>
                  <a:pt x="1942" y="2507"/>
                </a:lnTo>
                <a:lnTo>
                  <a:pt x="1977" y="2494"/>
                </a:lnTo>
                <a:lnTo>
                  <a:pt x="2011" y="2480"/>
                </a:lnTo>
                <a:lnTo>
                  <a:pt x="2044" y="2463"/>
                </a:lnTo>
                <a:lnTo>
                  <a:pt x="2075" y="2446"/>
                </a:lnTo>
                <a:lnTo>
                  <a:pt x="2105" y="2425"/>
                </a:lnTo>
                <a:lnTo>
                  <a:pt x="2133" y="2402"/>
                </a:lnTo>
                <a:lnTo>
                  <a:pt x="2159" y="2377"/>
                </a:lnTo>
                <a:lnTo>
                  <a:pt x="2159" y="2377"/>
                </a:lnTo>
                <a:lnTo>
                  <a:pt x="2174" y="2361"/>
                </a:lnTo>
                <a:lnTo>
                  <a:pt x="2186" y="2344"/>
                </a:lnTo>
                <a:lnTo>
                  <a:pt x="2199" y="2327"/>
                </a:lnTo>
                <a:lnTo>
                  <a:pt x="2209" y="2307"/>
                </a:lnTo>
                <a:lnTo>
                  <a:pt x="2230" y="2268"/>
                </a:lnTo>
                <a:lnTo>
                  <a:pt x="2248" y="2226"/>
                </a:lnTo>
                <a:lnTo>
                  <a:pt x="2263" y="2185"/>
                </a:lnTo>
                <a:lnTo>
                  <a:pt x="2275" y="2148"/>
                </a:lnTo>
                <a:lnTo>
                  <a:pt x="2283" y="2113"/>
                </a:lnTo>
                <a:lnTo>
                  <a:pt x="2289" y="2087"/>
                </a:lnTo>
                <a:lnTo>
                  <a:pt x="2289" y="2087"/>
                </a:lnTo>
                <a:lnTo>
                  <a:pt x="2294" y="2064"/>
                </a:lnTo>
                <a:lnTo>
                  <a:pt x="2297" y="2054"/>
                </a:lnTo>
                <a:lnTo>
                  <a:pt x="2300" y="2046"/>
                </a:lnTo>
                <a:lnTo>
                  <a:pt x="2305" y="2042"/>
                </a:lnTo>
                <a:lnTo>
                  <a:pt x="2309" y="2039"/>
                </a:lnTo>
                <a:lnTo>
                  <a:pt x="2316" y="2037"/>
                </a:lnTo>
                <a:lnTo>
                  <a:pt x="2323" y="2035"/>
                </a:lnTo>
                <a:lnTo>
                  <a:pt x="2323" y="2035"/>
                </a:lnTo>
                <a:lnTo>
                  <a:pt x="2330" y="2037"/>
                </a:lnTo>
                <a:lnTo>
                  <a:pt x="2334" y="2040"/>
                </a:lnTo>
                <a:lnTo>
                  <a:pt x="2337" y="2045"/>
                </a:lnTo>
                <a:lnTo>
                  <a:pt x="2341" y="2051"/>
                </a:lnTo>
                <a:lnTo>
                  <a:pt x="2344" y="2059"/>
                </a:lnTo>
                <a:lnTo>
                  <a:pt x="2345" y="2067"/>
                </a:lnTo>
                <a:lnTo>
                  <a:pt x="2347" y="2087"/>
                </a:lnTo>
                <a:lnTo>
                  <a:pt x="2347" y="2087"/>
                </a:lnTo>
                <a:lnTo>
                  <a:pt x="2344" y="2107"/>
                </a:lnTo>
                <a:lnTo>
                  <a:pt x="2339" y="2149"/>
                </a:lnTo>
                <a:lnTo>
                  <a:pt x="2322" y="2273"/>
                </a:lnTo>
                <a:lnTo>
                  <a:pt x="2309" y="2343"/>
                </a:lnTo>
                <a:lnTo>
                  <a:pt x="2297" y="2413"/>
                </a:lnTo>
                <a:lnTo>
                  <a:pt x="2284" y="2477"/>
                </a:lnTo>
                <a:lnTo>
                  <a:pt x="2272" y="2528"/>
                </a:lnTo>
                <a:lnTo>
                  <a:pt x="2272" y="2528"/>
                </a:lnTo>
                <a:lnTo>
                  <a:pt x="2264" y="2550"/>
                </a:lnTo>
                <a:lnTo>
                  <a:pt x="2258" y="2569"/>
                </a:lnTo>
                <a:lnTo>
                  <a:pt x="2250" y="2583"/>
                </a:lnTo>
                <a:lnTo>
                  <a:pt x="2242" y="2594"/>
                </a:lnTo>
                <a:lnTo>
                  <a:pt x="2231" y="2603"/>
                </a:lnTo>
                <a:lnTo>
                  <a:pt x="2219" y="2611"/>
                </a:lnTo>
                <a:lnTo>
                  <a:pt x="2203" y="2619"/>
                </a:lnTo>
                <a:lnTo>
                  <a:pt x="2183" y="2628"/>
                </a:lnTo>
                <a:lnTo>
                  <a:pt x="2183" y="2628"/>
                </a:lnTo>
                <a:lnTo>
                  <a:pt x="2155" y="2638"/>
                </a:lnTo>
                <a:lnTo>
                  <a:pt x="2125" y="2647"/>
                </a:lnTo>
                <a:lnTo>
                  <a:pt x="2092" y="2656"/>
                </a:lnTo>
                <a:lnTo>
                  <a:pt x="2058" y="2664"/>
                </a:lnTo>
                <a:lnTo>
                  <a:pt x="2021" y="2672"/>
                </a:lnTo>
                <a:lnTo>
                  <a:pt x="1983" y="2678"/>
                </a:lnTo>
                <a:lnTo>
                  <a:pt x="1902" y="2689"/>
                </a:lnTo>
                <a:lnTo>
                  <a:pt x="1816" y="2698"/>
                </a:lnTo>
                <a:lnTo>
                  <a:pt x="1730" y="2703"/>
                </a:lnTo>
                <a:lnTo>
                  <a:pt x="1643" y="2706"/>
                </a:lnTo>
                <a:lnTo>
                  <a:pt x="1558" y="2708"/>
                </a:lnTo>
                <a:lnTo>
                  <a:pt x="1558" y="2708"/>
                </a:lnTo>
                <a:lnTo>
                  <a:pt x="1463" y="2706"/>
                </a:lnTo>
                <a:lnTo>
                  <a:pt x="1371" y="2702"/>
                </a:lnTo>
                <a:lnTo>
                  <a:pt x="1284" y="2695"/>
                </a:lnTo>
                <a:lnTo>
                  <a:pt x="1199" y="2684"/>
                </a:lnTo>
                <a:lnTo>
                  <a:pt x="1118" y="2670"/>
                </a:lnTo>
                <a:lnTo>
                  <a:pt x="1041" y="2655"/>
                </a:lnTo>
                <a:lnTo>
                  <a:pt x="967" y="2634"/>
                </a:lnTo>
                <a:lnTo>
                  <a:pt x="895" y="2613"/>
                </a:lnTo>
                <a:lnTo>
                  <a:pt x="828" y="2588"/>
                </a:lnTo>
                <a:lnTo>
                  <a:pt x="762" y="2561"/>
                </a:lnTo>
                <a:lnTo>
                  <a:pt x="698" y="2530"/>
                </a:lnTo>
                <a:lnTo>
                  <a:pt x="639" y="2496"/>
                </a:lnTo>
                <a:lnTo>
                  <a:pt x="579" y="2460"/>
                </a:lnTo>
                <a:lnTo>
                  <a:pt x="525" y="2421"/>
                </a:lnTo>
                <a:lnTo>
                  <a:pt x="470" y="2379"/>
                </a:lnTo>
                <a:lnTo>
                  <a:pt x="418" y="2335"/>
                </a:lnTo>
                <a:lnTo>
                  <a:pt x="418" y="2335"/>
                </a:lnTo>
                <a:close/>
                <a:moveTo>
                  <a:pt x="4107" y="1720"/>
                </a:moveTo>
                <a:lnTo>
                  <a:pt x="4107" y="1720"/>
                </a:lnTo>
                <a:lnTo>
                  <a:pt x="4107" y="1720"/>
                </a:lnTo>
                <a:lnTo>
                  <a:pt x="3491" y="1720"/>
                </a:lnTo>
                <a:lnTo>
                  <a:pt x="3491" y="1720"/>
                </a:lnTo>
                <a:lnTo>
                  <a:pt x="3487" y="1719"/>
                </a:lnTo>
                <a:lnTo>
                  <a:pt x="3484" y="1717"/>
                </a:lnTo>
                <a:lnTo>
                  <a:pt x="3482" y="1716"/>
                </a:lnTo>
                <a:lnTo>
                  <a:pt x="3480" y="1708"/>
                </a:lnTo>
                <a:lnTo>
                  <a:pt x="3482" y="1699"/>
                </a:lnTo>
                <a:lnTo>
                  <a:pt x="3766" y="894"/>
                </a:lnTo>
                <a:lnTo>
                  <a:pt x="3766" y="894"/>
                </a:lnTo>
                <a:lnTo>
                  <a:pt x="3772" y="880"/>
                </a:lnTo>
                <a:lnTo>
                  <a:pt x="3779" y="869"/>
                </a:lnTo>
                <a:lnTo>
                  <a:pt x="3785" y="863"/>
                </a:lnTo>
                <a:lnTo>
                  <a:pt x="3788" y="861"/>
                </a:lnTo>
                <a:lnTo>
                  <a:pt x="3791" y="861"/>
                </a:lnTo>
                <a:lnTo>
                  <a:pt x="3794" y="861"/>
                </a:lnTo>
                <a:lnTo>
                  <a:pt x="3797" y="863"/>
                </a:lnTo>
                <a:lnTo>
                  <a:pt x="3804" y="869"/>
                </a:lnTo>
                <a:lnTo>
                  <a:pt x="3812" y="880"/>
                </a:lnTo>
                <a:lnTo>
                  <a:pt x="3818" y="894"/>
                </a:lnTo>
                <a:lnTo>
                  <a:pt x="4116" y="1699"/>
                </a:lnTo>
                <a:lnTo>
                  <a:pt x="4116" y="1699"/>
                </a:lnTo>
                <a:lnTo>
                  <a:pt x="4118" y="1708"/>
                </a:lnTo>
                <a:lnTo>
                  <a:pt x="4118" y="1716"/>
                </a:lnTo>
                <a:lnTo>
                  <a:pt x="4116" y="1717"/>
                </a:lnTo>
                <a:lnTo>
                  <a:pt x="4114" y="1719"/>
                </a:lnTo>
                <a:lnTo>
                  <a:pt x="4107" y="1720"/>
                </a:lnTo>
                <a:lnTo>
                  <a:pt x="4107" y="1720"/>
                </a:lnTo>
                <a:lnTo>
                  <a:pt x="4107" y="1720"/>
                </a:lnTo>
                <a:close/>
                <a:moveTo>
                  <a:pt x="3769" y="496"/>
                </a:moveTo>
                <a:lnTo>
                  <a:pt x="3769" y="496"/>
                </a:lnTo>
                <a:lnTo>
                  <a:pt x="3051" y="2335"/>
                </a:lnTo>
                <a:lnTo>
                  <a:pt x="3051" y="2335"/>
                </a:lnTo>
                <a:lnTo>
                  <a:pt x="3029" y="2388"/>
                </a:lnTo>
                <a:lnTo>
                  <a:pt x="3006" y="2438"/>
                </a:lnTo>
                <a:lnTo>
                  <a:pt x="2995" y="2460"/>
                </a:lnTo>
                <a:lnTo>
                  <a:pt x="2982" y="2482"/>
                </a:lnTo>
                <a:lnTo>
                  <a:pt x="2968" y="2500"/>
                </a:lnTo>
                <a:lnTo>
                  <a:pt x="2954" y="2519"/>
                </a:lnTo>
                <a:lnTo>
                  <a:pt x="2939" y="2536"/>
                </a:lnTo>
                <a:lnTo>
                  <a:pt x="2923" y="2552"/>
                </a:lnTo>
                <a:lnTo>
                  <a:pt x="2906" y="2566"/>
                </a:lnTo>
                <a:lnTo>
                  <a:pt x="2887" y="2577"/>
                </a:lnTo>
                <a:lnTo>
                  <a:pt x="2867" y="2586"/>
                </a:lnTo>
                <a:lnTo>
                  <a:pt x="2845" y="2595"/>
                </a:lnTo>
                <a:lnTo>
                  <a:pt x="2822" y="2602"/>
                </a:lnTo>
                <a:lnTo>
                  <a:pt x="2797" y="2605"/>
                </a:lnTo>
                <a:lnTo>
                  <a:pt x="2797" y="2605"/>
                </a:lnTo>
                <a:lnTo>
                  <a:pt x="2750" y="2609"/>
                </a:lnTo>
                <a:lnTo>
                  <a:pt x="2708" y="2611"/>
                </a:lnTo>
                <a:lnTo>
                  <a:pt x="2708" y="2611"/>
                </a:lnTo>
                <a:lnTo>
                  <a:pt x="2697" y="2613"/>
                </a:lnTo>
                <a:lnTo>
                  <a:pt x="2687" y="2619"/>
                </a:lnTo>
                <a:lnTo>
                  <a:pt x="2684" y="2622"/>
                </a:lnTo>
                <a:lnTo>
                  <a:pt x="2681" y="2627"/>
                </a:lnTo>
                <a:lnTo>
                  <a:pt x="2678" y="2631"/>
                </a:lnTo>
                <a:lnTo>
                  <a:pt x="2678" y="2638"/>
                </a:lnTo>
                <a:lnTo>
                  <a:pt x="2678" y="2638"/>
                </a:lnTo>
                <a:lnTo>
                  <a:pt x="2679" y="2642"/>
                </a:lnTo>
                <a:lnTo>
                  <a:pt x="2683" y="2647"/>
                </a:lnTo>
                <a:lnTo>
                  <a:pt x="2687" y="2652"/>
                </a:lnTo>
                <a:lnTo>
                  <a:pt x="2694" y="2655"/>
                </a:lnTo>
                <a:lnTo>
                  <a:pt x="2703" y="2656"/>
                </a:lnTo>
                <a:lnTo>
                  <a:pt x="2714" y="2658"/>
                </a:lnTo>
                <a:lnTo>
                  <a:pt x="2739" y="2659"/>
                </a:lnTo>
                <a:lnTo>
                  <a:pt x="2739" y="2659"/>
                </a:lnTo>
                <a:lnTo>
                  <a:pt x="2834" y="2658"/>
                </a:lnTo>
                <a:lnTo>
                  <a:pt x="2926" y="2655"/>
                </a:lnTo>
                <a:lnTo>
                  <a:pt x="3045" y="2650"/>
                </a:lnTo>
                <a:lnTo>
                  <a:pt x="3045" y="2650"/>
                </a:lnTo>
                <a:lnTo>
                  <a:pt x="3092" y="2652"/>
                </a:lnTo>
                <a:lnTo>
                  <a:pt x="3168" y="2655"/>
                </a:lnTo>
                <a:lnTo>
                  <a:pt x="3251" y="2658"/>
                </a:lnTo>
                <a:lnTo>
                  <a:pt x="3318" y="2659"/>
                </a:lnTo>
                <a:lnTo>
                  <a:pt x="3318" y="2659"/>
                </a:lnTo>
                <a:lnTo>
                  <a:pt x="3337" y="2658"/>
                </a:lnTo>
                <a:lnTo>
                  <a:pt x="3345" y="2656"/>
                </a:lnTo>
                <a:lnTo>
                  <a:pt x="3351" y="2655"/>
                </a:lnTo>
                <a:lnTo>
                  <a:pt x="3357" y="2652"/>
                </a:lnTo>
                <a:lnTo>
                  <a:pt x="3360" y="2647"/>
                </a:lnTo>
                <a:lnTo>
                  <a:pt x="3362" y="2642"/>
                </a:lnTo>
                <a:lnTo>
                  <a:pt x="3363" y="2638"/>
                </a:lnTo>
                <a:lnTo>
                  <a:pt x="3363" y="2638"/>
                </a:lnTo>
                <a:lnTo>
                  <a:pt x="3362" y="2627"/>
                </a:lnTo>
                <a:lnTo>
                  <a:pt x="3360" y="2622"/>
                </a:lnTo>
                <a:lnTo>
                  <a:pt x="3357" y="2619"/>
                </a:lnTo>
                <a:lnTo>
                  <a:pt x="3352" y="2616"/>
                </a:lnTo>
                <a:lnTo>
                  <a:pt x="3348" y="2613"/>
                </a:lnTo>
                <a:lnTo>
                  <a:pt x="3340" y="2613"/>
                </a:lnTo>
                <a:lnTo>
                  <a:pt x="3331" y="2611"/>
                </a:lnTo>
                <a:lnTo>
                  <a:pt x="3306" y="2611"/>
                </a:lnTo>
                <a:lnTo>
                  <a:pt x="3306" y="2611"/>
                </a:lnTo>
                <a:lnTo>
                  <a:pt x="3287" y="2611"/>
                </a:lnTo>
                <a:lnTo>
                  <a:pt x="3268" y="2608"/>
                </a:lnTo>
                <a:lnTo>
                  <a:pt x="3249" y="2602"/>
                </a:lnTo>
                <a:lnTo>
                  <a:pt x="3235" y="2594"/>
                </a:lnTo>
                <a:lnTo>
                  <a:pt x="3228" y="2589"/>
                </a:lnTo>
                <a:lnTo>
                  <a:pt x="3221" y="2583"/>
                </a:lnTo>
                <a:lnTo>
                  <a:pt x="3217" y="2577"/>
                </a:lnTo>
                <a:lnTo>
                  <a:pt x="3212" y="2569"/>
                </a:lnTo>
                <a:lnTo>
                  <a:pt x="3207" y="2561"/>
                </a:lnTo>
                <a:lnTo>
                  <a:pt x="3204" y="2552"/>
                </a:lnTo>
                <a:lnTo>
                  <a:pt x="3203" y="2542"/>
                </a:lnTo>
                <a:lnTo>
                  <a:pt x="3203" y="2531"/>
                </a:lnTo>
                <a:lnTo>
                  <a:pt x="3203" y="2531"/>
                </a:lnTo>
                <a:lnTo>
                  <a:pt x="3203" y="2511"/>
                </a:lnTo>
                <a:lnTo>
                  <a:pt x="3206" y="2489"/>
                </a:lnTo>
                <a:lnTo>
                  <a:pt x="3209" y="2466"/>
                </a:lnTo>
                <a:lnTo>
                  <a:pt x="3213" y="2441"/>
                </a:lnTo>
                <a:lnTo>
                  <a:pt x="3220" y="2416"/>
                </a:lnTo>
                <a:lnTo>
                  <a:pt x="3228" y="2390"/>
                </a:lnTo>
                <a:lnTo>
                  <a:pt x="3237" y="2363"/>
                </a:lnTo>
                <a:lnTo>
                  <a:pt x="3248" y="2335"/>
                </a:lnTo>
                <a:lnTo>
                  <a:pt x="3418" y="1865"/>
                </a:lnTo>
                <a:lnTo>
                  <a:pt x="3418" y="1865"/>
                </a:lnTo>
                <a:lnTo>
                  <a:pt x="3424" y="1855"/>
                </a:lnTo>
                <a:lnTo>
                  <a:pt x="3432" y="1848"/>
                </a:lnTo>
                <a:lnTo>
                  <a:pt x="3440" y="1844"/>
                </a:lnTo>
                <a:lnTo>
                  <a:pt x="3451" y="1844"/>
                </a:lnTo>
                <a:lnTo>
                  <a:pt x="4152" y="1844"/>
                </a:lnTo>
                <a:lnTo>
                  <a:pt x="4152" y="1844"/>
                </a:lnTo>
                <a:lnTo>
                  <a:pt x="4163" y="1844"/>
                </a:lnTo>
                <a:lnTo>
                  <a:pt x="4171" y="1847"/>
                </a:lnTo>
                <a:lnTo>
                  <a:pt x="4177" y="1851"/>
                </a:lnTo>
                <a:lnTo>
                  <a:pt x="4180" y="1859"/>
                </a:lnTo>
                <a:lnTo>
                  <a:pt x="4455" y="2531"/>
                </a:lnTo>
                <a:lnTo>
                  <a:pt x="4455" y="2531"/>
                </a:lnTo>
                <a:lnTo>
                  <a:pt x="4458" y="2539"/>
                </a:lnTo>
                <a:lnTo>
                  <a:pt x="4460" y="2549"/>
                </a:lnTo>
                <a:lnTo>
                  <a:pt x="4460" y="2563"/>
                </a:lnTo>
                <a:lnTo>
                  <a:pt x="4458" y="2577"/>
                </a:lnTo>
                <a:lnTo>
                  <a:pt x="4453" y="2588"/>
                </a:lnTo>
                <a:lnTo>
                  <a:pt x="4447" y="2595"/>
                </a:lnTo>
                <a:lnTo>
                  <a:pt x="4439" y="2603"/>
                </a:lnTo>
                <a:lnTo>
                  <a:pt x="4431" y="2608"/>
                </a:lnTo>
                <a:lnTo>
                  <a:pt x="4425" y="2611"/>
                </a:lnTo>
                <a:lnTo>
                  <a:pt x="4425" y="2611"/>
                </a:lnTo>
                <a:lnTo>
                  <a:pt x="4417" y="2616"/>
                </a:lnTo>
                <a:lnTo>
                  <a:pt x="4411" y="2619"/>
                </a:lnTo>
                <a:lnTo>
                  <a:pt x="4408" y="2622"/>
                </a:lnTo>
                <a:lnTo>
                  <a:pt x="4406" y="2625"/>
                </a:lnTo>
                <a:lnTo>
                  <a:pt x="4406" y="2634"/>
                </a:lnTo>
                <a:lnTo>
                  <a:pt x="4406" y="2634"/>
                </a:lnTo>
                <a:lnTo>
                  <a:pt x="4406" y="2638"/>
                </a:lnTo>
                <a:lnTo>
                  <a:pt x="4408" y="2639"/>
                </a:lnTo>
                <a:lnTo>
                  <a:pt x="4414" y="2644"/>
                </a:lnTo>
                <a:lnTo>
                  <a:pt x="4424" y="2647"/>
                </a:lnTo>
                <a:lnTo>
                  <a:pt x="4438" y="2648"/>
                </a:lnTo>
                <a:lnTo>
                  <a:pt x="4470" y="2652"/>
                </a:lnTo>
                <a:lnTo>
                  <a:pt x="4513" y="2653"/>
                </a:lnTo>
                <a:lnTo>
                  <a:pt x="4513" y="2653"/>
                </a:lnTo>
                <a:lnTo>
                  <a:pt x="4669" y="2656"/>
                </a:lnTo>
                <a:lnTo>
                  <a:pt x="4814" y="2659"/>
                </a:lnTo>
                <a:lnTo>
                  <a:pt x="4992" y="2659"/>
                </a:lnTo>
                <a:lnTo>
                  <a:pt x="4992" y="2659"/>
                </a:lnTo>
                <a:lnTo>
                  <a:pt x="5017" y="2658"/>
                </a:lnTo>
                <a:lnTo>
                  <a:pt x="5029" y="2656"/>
                </a:lnTo>
                <a:lnTo>
                  <a:pt x="5040" y="2655"/>
                </a:lnTo>
                <a:lnTo>
                  <a:pt x="5050" y="2652"/>
                </a:lnTo>
                <a:lnTo>
                  <a:pt x="5056" y="2647"/>
                </a:lnTo>
                <a:lnTo>
                  <a:pt x="5061" y="2642"/>
                </a:lnTo>
                <a:lnTo>
                  <a:pt x="5062" y="2638"/>
                </a:lnTo>
                <a:lnTo>
                  <a:pt x="5062" y="2638"/>
                </a:lnTo>
                <a:lnTo>
                  <a:pt x="5062" y="2631"/>
                </a:lnTo>
                <a:lnTo>
                  <a:pt x="5059" y="2625"/>
                </a:lnTo>
                <a:lnTo>
                  <a:pt x="5054" y="2620"/>
                </a:lnTo>
                <a:lnTo>
                  <a:pt x="5050" y="2617"/>
                </a:lnTo>
                <a:lnTo>
                  <a:pt x="5043" y="2614"/>
                </a:lnTo>
                <a:lnTo>
                  <a:pt x="5037" y="2613"/>
                </a:lnTo>
                <a:lnTo>
                  <a:pt x="5023" y="2611"/>
                </a:lnTo>
                <a:lnTo>
                  <a:pt x="5023" y="2611"/>
                </a:lnTo>
                <a:lnTo>
                  <a:pt x="4998" y="2611"/>
                </a:lnTo>
                <a:lnTo>
                  <a:pt x="4967" y="2608"/>
                </a:lnTo>
                <a:lnTo>
                  <a:pt x="4936" y="2603"/>
                </a:lnTo>
                <a:lnTo>
                  <a:pt x="4901" y="2595"/>
                </a:lnTo>
                <a:lnTo>
                  <a:pt x="4901" y="2595"/>
                </a:lnTo>
                <a:lnTo>
                  <a:pt x="4876" y="2586"/>
                </a:lnTo>
                <a:lnTo>
                  <a:pt x="4864" y="2580"/>
                </a:lnTo>
                <a:lnTo>
                  <a:pt x="4850" y="2572"/>
                </a:lnTo>
                <a:lnTo>
                  <a:pt x="4836" y="2563"/>
                </a:lnTo>
                <a:lnTo>
                  <a:pt x="4820" y="2552"/>
                </a:lnTo>
                <a:lnTo>
                  <a:pt x="4806" y="2539"/>
                </a:lnTo>
                <a:lnTo>
                  <a:pt x="4789" y="2524"/>
                </a:lnTo>
                <a:lnTo>
                  <a:pt x="4773" y="2505"/>
                </a:lnTo>
                <a:lnTo>
                  <a:pt x="4756" y="2485"/>
                </a:lnTo>
                <a:lnTo>
                  <a:pt x="4739" y="2460"/>
                </a:lnTo>
                <a:lnTo>
                  <a:pt x="4722" y="2430"/>
                </a:lnTo>
                <a:lnTo>
                  <a:pt x="4703" y="2399"/>
                </a:lnTo>
                <a:lnTo>
                  <a:pt x="4684" y="2361"/>
                </a:lnTo>
                <a:lnTo>
                  <a:pt x="4664" y="2319"/>
                </a:lnTo>
                <a:lnTo>
                  <a:pt x="4644" y="2274"/>
                </a:lnTo>
                <a:lnTo>
                  <a:pt x="4644" y="2274"/>
                </a:lnTo>
                <a:lnTo>
                  <a:pt x="4460" y="1823"/>
                </a:lnTo>
                <a:lnTo>
                  <a:pt x="4230" y="1260"/>
                </a:lnTo>
                <a:lnTo>
                  <a:pt x="4024" y="758"/>
                </a:lnTo>
                <a:lnTo>
                  <a:pt x="3954" y="583"/>
                </a:lnTo>
                <a:lnTo>
                  <a:pt x="3913" y="488"/>
                </a:lnTo>
                <a:lnTo>
                  <a:pt x="3913" y="488"/>
                </a:lnTo>
                <a:lnTo>
                  <a:pt x="3893" y="445"/>
                </a:lnTo>
                <a:lnTo>
                  <a:pt x="3885" y="427"/>
                </a:lnTo>
                <a:lnTo>
                  <a:pt x="3877" y="412"/>
                </a:lnTo>
                <a:lnTo>
                  <a:pt x="3869" y="399"/>
                </a:lnTo>
                <a:lnTo>
                  <a:pt x="3860" y="390"/>
                </a:lnTo>
                <a:lnTo>
                  <a:pt x="3855" y="387"/>
                </a:lnTo>
                <a:lnTo>
                  <a:pt x="3851" y="385"/>
                </a:lnTo>
                <a:lnTo>
                  <a:pt x="3846" y="384"/>
                </a:lnTo>
                <a:lnTo>
                  <a:pt x="3840" y="382"/>
                </a:lnTo>
                <a:lnTo>
                  <a:pt x="3840" y="382"/>
                </a:lnTo>
                <a:lnTo>
                  <a:pt x="3832" y="384"/>
                </a:lnTo>
                <a:lnTo>
                  <a:pt x="3826" y="387"/>
                </a:lnTo>
                <a:lnTo>
                  <a:pt x="3819" y="393"/>
                </a:lnTo>
                <a:lnTo>
                  <a:pt x="3812" y="402"/>
                </a:lnTo>
                <a:lnTo>
                  <a:pt x="3804" y="418"/>
                </a:lnTo>
                <a:lnTo>
                  <a:pt x="3793" y="437"/>
                </a:lnTo>
                <a:lnTo>
                  <a:pt x="3769" y="496"/>
                </a:lnTo>
                <a:lnTo>
                  <a:pt x="3769" y="496"/>
                </a:lnTo>
                <a:lnTo>
                  <a:pt x="3769" y="496"/>
                </a:lnTo>
                <a:close/>
                <a:moveTo>
                  <a:pt x="8087" y="2280"/>
                </a:moveTo>
                <a:lnTo>
                  <a:pt x="8087" y="2280"/>
                </a:lnTo>
                <a:lnTo>
                  <a:pt x="7882" y="476"/>
                </a:lnTo>
                <a:lnTo>
                  <a:pt x="7882" y="476"/>
                </a:lnTo>
                <a:lnTo>
                  <a:pt x="7878" y="457"/>
                </a:lnTo>
                <a:lnTo>
                  <a:pt x="7873" y="440"/>
                </a:lnTo>
                <a:lnTo>
                  <a:pt x="7868" y="427"/>
                </a:lnTo>
                <a:lnTo>
                  <a:pt x="7862" y="415"/>
                </a:lnTo>
                <a:lnTo>
                  <a:pt x="7857" y="407"/>
                </a:lnTo>
                <a:lnTo>
                  <a:pt x="7851" y="401"/>
                </a:lnTo>
                <a:lnTo>
                  <a:pt x="7843" y="396"/>
                </a:lnTo>
                <a:lnTo>
                  <a:pt x="7837" y="396"/>
                </a:lnTo>
                <a:lnTo>
                  <a:pt x="7837" y="396"/>
                </a:lnTo>
                <a:lnTo>
                  <a:pt x="7829" y="396"/>
                </a:lnTo>
                <a:lnTo>
                  <a:pt x="7821" y="399"/>
                </a:lnTo>
                <a:lnTo>
                  <a:pt x="7815" y="404"/>
                </a:lnTo>
                <a:lnTo>
                  <a:pt x="7809" y="410"/>
                </a:lnTo>
                <a:lnTo>
                  <a:pt x="7798" y="426"/>
                </a:lnTo>
                <a:lnTo>
                  <a:pt x="7789" y="445"/>
                </a:lnTo>
                <a:lnTo>
                  <a:pt x="6900" y="2268"/>
                </a:lnTo>
                <a:lnTo>
                  <a:pt x="5983" y="441"/>
                </a:lnTo>
                <a:lnTo>
                  <a:pt x="5983" y="441"/>
                </a:lnTo>
                <a:lnTo>
                  <a:pt x="5976" y="429"/>
                </a:lnTo>
                <a:lnTo>
                  <a:pt x="5968" y="420"/>
                </a:lnTo>
                <a:lnTo>
                  <a:pt x="5960" y="412"/>
                </a:lnTo>
                <a:lnTo>
                  <a:pt x="5952" y="406"/>
                </a:lnTo>
                <a:lnTo>
                  <a:pt x="5943" y="401"/>
                </a:lnTo>
                <a:lnTo>
                  <a:pt x="5935" y="398"/>
                </a:lnTo>
                <a:lnTo>
                  <a:pt x="5927" y="396"/>
                </a:lnTo>
                <a:lnTo>
                  <a:pt x="5918" y="396"/>
                </a:lnTo>
                <a:lnTo>
                  <a:pt x="5918" y="396"/>
                </a:lnTo>
                <a:lnTo>
                  <a:pt x="5913" y="396"/>
                </a:lnTo>
                <a:lnTo>
                  <a:pt x="5907" y="399"/>
                </a:lnTo>
                <a:lnTo>
                  <a:pt x="5902" y="404"/>
                </a:lnTo>
                <a:lnTo>
                  <a:pt x="5898" y="410"/>
                </a:lnTo>
                <a:lnTo>
                  <a:pt x="5893" y="418"/>
                </a:lnTo>
                <a:lnTo>
                  <a:pt x="5890" y="427"/>
                </a:lnTo>
                <a:lnTo>
                  <a:pt x="5888" y="437"/>
                </a:lnTo>
                <a:lnTo>
                  <a:pt x="5887" y="448"/>
                </a:lnTo>
                <a:lnTo>
                  <a:pt x="5665" y="2368"/>
                </a:lnTo>
                <a:lnTo>
                  <a:pt x="5665" y="2368"/>
                </a:lnTo>
                <a:lnTo>
                  <a:pt x="5652" y="2447"/>
                </a:lnTo>
                <a:lnTo>
                  <a:pt x="5646" y="2485"/>
                </a:lnTo>
                <a:lnTo>
                  <a:pt x="5642" y="2503"/>
                </a:lnTo>
                <a:lnTo>
                  <a:pt x="5637" y="2519"/>
                </a:lnTo>
                <a:lnTo>
                  <a:pt x="5631" y="2535"/>
                </a:lnTo>
                <a:lnTo>
                  <a:pt x="5623" y="2549"/>
                </a:lnTo>
                <a:lnTo>
                  <a:pt x="5613" y="2563"/>
                </a:lnTo>
                <a:lnTo>
                  <a:pt x="5604" y="2574"/>
                </a:lnTo>
                <a:lnTo>
                  <a:pt x="5592" y="2583"/>
                </a:lnTo>
                <a:lnTo>
                  <a:pt x="5578" y="2592"/>
                </a:lnTo>
                <a:lnTo>
                  <a:pt x="5563" y="2597"/>
                </a:lnTo>
                <a:lnTo>
                  <a:pt x="5545" y="2602"/>
                </a:lnTo>
                <a:lnTo>
                  <a:pt x="5545" y="2602"/>
                </a:lnTo>
                <a:lnTo>
                  <a:pt x="5493" y="2609"/>
                </a:lnTo>
                <a:lnTo>
                  <a:pt x="5473" y="2611"/>
                </a:lnTo>
                <a:lnTo>
                  <a:pt x="5456" y="2611"/>
                </a:lnTo>
                <a:lnTo>
                  <a:pt x="5456" y="2611"/>
                </a:lnTo>
                <a:lnTo>
                  <a:pt x="5443" y="2613"/>
                </a:lnTo>
                <a:lnTo>
                  <a:pt x="5434" y="2617"/>
                </a:lnTo>
                <a:lnTo>
                  <a:pt x="5431" y="2622"/>
                </a:lnTo>
                <a:lnTo>
                  <a:pt x="5428" y="2625"/>
                </a:lnTo>
                <a:lnTo>
                  <a:pt x="5426" y="2630"/>
                </a:lnTo>
                <a:lnTo>
                  <a:pt x="5426" y="2634"/>
                </a:lnTo>
                <a:lnTo>
                  <a:pt x="5426" y="2634"/>
                </a:lnTo>
                <a:lnTo>
                  <a:pt x="5428" y="2641"/>
                </a:lnTo>
                <a:lnTo>
                  <a:pt x="5429" y="2647"/>
                </a:lnTo>
                <a:lnTo>
                  <a:pt x="5434" y="2650"/>
                </a:lnTo>
                <a:lnTo>
                  <a:pt x="5440" y="2655"/>
                </a:lnTo>
                <a:lnTo>
                  <a:pt x="5448" y="2656"/>
                </a:lnTo>
                <a:lnTo>
                  <a:pt x="5456" y="2658"/>
                </a:lnTo>
                <a:lnTo>
                  <a:pt x="5478" y="2659"/>
                </a:lnTo>
                <a:lnTo>
                  <a:pt x="5478" y="2659"/>
                </a:lnTo>
                <a:lnTo>
                  <a:pt x="5549" y="2658"/>
                </a:lnTo>
                <a:lnTo>
                  <a:pt x="5626" y="2655"/>
                </a:lnTo>
                <a:lnTo>
                  <a:pt x="5732" y="2650"/>
                </a:lnTo>
                <a:lnTo>
                  <a:pt x="5732" y="2650"/>
                </a:lnTo>
                <a:lnTo>
                  <a:pt x="5841" y="2655"/>
                </a:lnTo>
                <a:lnTo>
                  <a:pt x="5927" y="2658"/>
                </a:lnTo>
                <a:lnTo>
                  <a:pt x="6015" y="2659"/>
                </a:lnTo>
                <a:lnTo>
                  <a:pt x="6015" y="2659"/>
                </a:lnTo>
                <a:lnTo>
                  <a:pt x="6040" y="2658"/>
                </a:lnTo>
                <a:lnTo>
                  <a:pt x="6049" y="2656"/>
                </a:lnTo>
                <a:lnTo>
                  <a:pt x="6057" y="2655"/>
                </a:lnTo>
                <a:lnTo>
                  <a:pt x="6065" y="2650"/>
                </a:lnTo>
                <a:lnTo>
                  <a:pt x="6069" y="2647"/>
                </a:lnTo>
                <a:lnTo>
                  <a:pt x="6072" y="2641"/>
                </a:lnTo>
                <a:lnTo>
                  <a:pt x="6072" y="2634"/>
                </a:lnTo>
                <a:lnTo>
                  <a:pt x="6072" y="2634"/>
                </a:lnTo>
                <a:lnTo>
                  <a:pt x="6072" y="2630"/>
                </a:lnTo>
                <a:lnTo>
                  <a:pt x="6071" y="2625"/>
                </a:lnTo>
                <a:lnTo>
                  <a:pt x="6063" y="2617"/>
                </a:lnTo>
                <a:lnTo>
                  <a:pt x="6055" y="2613"/>
                </a:lnTo>
                <a:lnTo>
                  <a:pt x="6048" y="2611"/>
                </a:lnTo>
                <a:lnTo>
                  <a:pt x="6048" y="2611"/>
                </a:lnTo>
                <a:lnTo>
                  <a:pt x="6029" y="2611"/>
                </a:lnTo>
                <a:lnTo>
                  <a:pt x="6001" y="2608"/>
                </a:lnTo>
                <a:lnTo>
                  <a:pt x="5968" y="2603"/>
                </a:lnTo>
                <a:lnTo>
                  <a:pt x="5932" y="2595"/>
                </a:lnTo>
                <a:lnTo>
                  <a:pt x="5932" y="2595"/>
                </a:lnTo>
                <a:lnTo>
                  <a:pt x="5915" y="2591"/>
                </a:lnTo>
                <a:lnTo>
                  <a:pt x="5901" y="2585"/>
                </a:lnTo>
                <a:lnTo>
                  <a:pt x="5888" y="2577"/>
                </a:lnTo>
                <a:lnTo>
                  <a:pt x="5877" y="2567"/>
                </a:lnTo>
                <a:lnTo>
                  <a:pt x="5869" y="2555"/>
                </a:lnTo>
                <a:lnTo>
                  <a:pt x="5863" y="2542"/>
                </a:lnTo>
                <a:lnTo>
                  <a:pt x="5859" y="2528"/>
                </a:lnTo>
                <a:lnTo>
                  <a:pt x="5857" y="2511"/>
                </a:lnTo>
                <a:lnTo>
                  <a:pt x="5857" y="2511"/>
                </a:lnTo>
                <a:lnTo>
                  <a:pt x="5857" y="2436"/>
                </a:lnTo>
                <a:lnTo>
                  <a:pt x="5859" y="2399"/>
                </a:lnTo>
                <a:lnTo>
                  <a:pt x="5860" y="2365"/>
                </a:lnTo>
                <a:lnTo>
                  <a:pt x="5980" y="1036"/>
                </a:lnTo>
                <a:lnTo>
                  <a:pt x="5993" y="1036"/>
                </a:lnTo>
                <a:lnTo>
                  <a:pt x="5993" y="1036"/>
                </a:lnTo>
                <a:lnTo>
                  <a:pt x="6019" y="1098"/>
                </a:lnTo>
                <a:lnTo>
                  <a:pt x="6062" y="1185"/>
                </a:lnTo>
                <a:lnTo>
                  <a:pt x="6171" y="1412"/>
                </a:lnTo>
                <a:lnTo>
                  <a:pt x="6379" y="1836"/>
                </a:lnTo>
                <a:lnTo>
                  <a:pt x="6379" y="1836"/>
                </a:lnTo>
                <a:lnTo>
                  <a:pt x="6413" y="1906"/>
                </a:lnTo>
                <a:lnTo>
                  <a:pt x="6455" y="1990"/>
                </a:lnTo>
                <a:lnTo>
                  <a:pt x="6557" y="2184"/>
                </a:lnTo>
                <a:lnTo>
                  <a:pt x="6656" y="2374"/>
                </a:lnTo>
                <a:lnTo>
                  <a:pt x="6736" y="2519"/>
                </a:lnTo>
                <a:lnTo>
                  <a:pt x="6736" y="2519"/>
                </a:lnTo>
                <a:lnTo>
                  <a:pt x="6772" y="2585"/>
                </a:lnTo>
                <a:lnTo>
                  <a:pt x="6786" y="2608"/>
                </a:lnTo>
                <a:lnTo>
                  <a:pt x="6799" y="2625"/>
                </a:lnTo>
                <a:lnTo>
                  <a:pt x="6809" y="2639"/>
                </a:lnTo>
                <a:lnTo>
                  <a:pt x="6819" y="2647"/>
                </a:lnTo>
                <a:lnTo>
                  <a:pt x="6828" y="2652"/>
                </a:lnTo>
                <a:lnTo>
                  <a:pt x="6839" y="2653"/>
                </a:lnTo>
                <a:lnTo>
                  <a:pt x="6839" y="2653"/>
                </a:lnTo>
                <a:lnTo>
                  <a:pt x="6849" y="2652"/>
                </a:lnTo>
                <a:lnTo>
                  <a:pt x="6859" y="2647"/>
                </a:lnTo>
                <a:lnTo>
                  <a:pt x="6869" y="2638"/>
                </a:lnTo>
                <a:lnTo>
                  <a:pt x="6880" y="2624"/>
                </a:lnTo>
                <a:lnTo>
                  <a:pt x="6892" y="2603"/>
                </a:lnTo>
                <a:lnTo>
                  <a:pt x="6906" y="2577"/>
                </a:lnTo>
                <a:lnTo>
                  <a:pt x="6945" y="2499"/>
                </a:lnTo>
                <a:lnTo>
                  <a:pt x="7679" y="997"/>
                </a:lnTo>
                <a:lnTo>
                  <a:pt x="7685" y="997"/>
                </a:lnTo>
                <a:lnTo>
                  <a:pt x="7834" y="2483"/>
                </a:lnTo>
                <a:lnTo>
                  <a:pt x="7834" y="2483"/>
                </a:lnTo>
                <a:lnTo>
                  <a:pt x="7837" y="2524"/>
                </a:lnTo>
                <a:lnTo>
                  <a:pt x="7835" y="2541"/>
                </a:lnTo>
                <a:lnTo>
                  <a:pt x="7835" y="2556"/>
                </a:lnTo>
                <a:lnTo>
                  <a:pt x="7832" y="2569"/>
                </a:lnTo>
                <a:lnTo>
                  <a:pt x="7829" y="2580"/>
                </a:lnTo>
                <a:lnTo>
                  <a:pt x="7823" y="2586"/>
                </a:lnTo>
                <a:lnTo>
                  <a:pt x="7821" y="2588"/>
                </a:lnTo>
                <a:lnTo>
                  <a:pt x="7817" y="2589"/>
                </a:lnTo>
                <a:lnTo>
                  <a:pt x="7817" y="2589"/>
                </a:lnTo>
                <a:lnTo>
                  <a:pt x="7809" y="2592"/>
                </a:lnTo>
                <a:lnTo>
                  <a:pt x="7803" y="2599"/>
                </a:lnTo>
                <a:lnTo>
                  <a:pt x="7799" y="2605"/>
                </a:lnTo>
                <a:lnTo>
                  <a:pt x="7798" y="2611"/>
                </a:lnTo>
                <a:lnTo>
                  <a:pt x="7798" y="2611"/>
                </a:lnTo>
                <a:lnTo>
                  <a:pt x="7798" y="2616"/>
                </a:lnTo>
                <a:lnTo>
                  <a:pt x="7801" y="2620"/>
                </a:lnTo>
                <a:lnTo>
                  <a:pt x="7806" y="2625"/>
                </a:lnTo>
                <a:lnTo>
                  <a:pt x="7814" y="2630"/>
                </a:lnTo>
                <a:lnTo>
                  <a:pt x="7824" y="2634"/>
                </a:lnTo>
                <a:lnTo>
                  <a:pt x="7840" y="2638"/>
                </a:lnTo>
                <a:lnTo>
                  <a:pt x="7860" y="2641"/>
                </a:lnTo>
                <a:lnTo>
                  <a:pt x="7885" y="2644"/>
                </a:lnTo>
                <a:lnTo>
                  <a:pt x="7885" y="2644"/>
                </a:lnTo>
                <a:lnTo>
                  <a:pt x="7935" y="2647"/>
                </a:lnTo>
                <a:lnTo>
                  <a:pt x="8002" y="2650"/>
                </a:lnTo>
                <a:lnTo>
                  <a:pt x="8159" y="2655"/>
                </a:lnTo>
                <a:lnTo>
                  <a:pt x="8307" y="2658"/>
                </a:lnTo>
                <a:lnTo>
                  <a:pt x="8402" y="2659"/>
                </a:lnTo>
                <a:lnTo>
                  <a:pt x="8402" y="2659"/>
                </a:lnTo>
                <a:lnTo>
                  <a:pt x="8416" y="2659"/>
                </a:lnTo>
                <a:lnTo>
                  <a:pt x="8427" y="2658"/>
                </a:lnTo>
                <a:lnTo>
                  <a:pt x="8438" y="2656"/>
                </a:lnTo>
                <a:lnTo>
                  <a:pt x="8447" y="2653"/>
                </a:lnTo>
                <a:lnTo>
                  <a:pt x="8454" y="2648"/>
                </a:lnTo>
                <a:lnTo>
                  <a:pt x="8460" y="2645"/>
                </a:lnTo>
                <a:lnTo>
                  <a:pt x="8463" y="2639"/>
                </a:lnTo>
                <a:lnTo>
                  <a:pt x="8465" y="2634"/>
                </a:lnTo>
                <a:lnTo>
                  <a:pt x="8465" y="2634"/>
                </a:lnTo>
                <a:lnTo>
                  <a:pt x="8463" y="2628"/>
                </a:lnTo>
                <a:lnTo>
                  <a:pt x="8462" y="2624"/>
                </a:lnTo>
                <a:lnTo>
                  <a:pt x="8460" y="2620"/>
                </a:lnTo>
                <a:lnTo>
                  <a:pt x="8457" y="2617"/>
                </a:lnTo>
                <a:lnTo>
                  <a:pt x="8451" y="2613"/>
                </a:lnTo>
                <a:lnTo>
                  <a:pt x="8441" y="2611"/>
                </a:lnTo>
                <a:lnTo>
                  <a:pt x="8441" y="2611"/>
                </a:lnTo>
                <a:lnTo>
                  <a:pt x="8408" y="2611"/>
                </a:lnTo>
                <a:lnTo>
                  <a:pt x="8362" y="2608"/>
                </a:lnTo>
                <a:lnTo>
                  <a:pt x="8335" y="2605"/>
                </a:lnTo>
                <a:lnTo>
                  <a:pt x="8305" y="2600"/>
                </a:lnTo>
                <a:lnTo>
                  <a:pt x="8274" y="2594"/>
                </a:lnTo>
                <a:lnTo>
                  <a:pt x="8241" y="2586"/>
                </a:lnTo>
                <a:lnTo>
                  <a:pt x="8241" y="2586"/>
                </a:lnTo>
                <a:lnTo>
                  <a:pt x="8219" y="2577"/>
                </a:lnTo>
                <a:lnTo>
                  <a:pt x="8201" y="2564"/>
                </a:lnTo>
                <a:lnTo>
                  <a:pt x="8184" y="2550"/>
                </a:lnTo>
                <a:lnTo>
                  <a:pt x="8168" y="2535"/>
                </a:lnTo>
                <a:lnTo>
                  <a:pt x="8154" y="2517"/>
                </a:lnTo>
                <a:lnTo>
                  <a:pt x="8141" y="2497"/>
                </a:lnTo>
                <a:lnTo>
                  <a:pt x="8132" y="2477"/>
                </a:lnTo>
                <a:lnTo>
                  <a:pt x="8123" y="2457"/>
                </a:lnTo>
                <a:lnTo>
                  <a:pt x="8115" y="2433"/>
                </a:lnTo>
                <a:lnTo>
                  <a:pt x="8109" y="2411"/>
                </a:lnTo>
                <a:lnTo>
                  <a:pt x="8102" y="2388"/>
                </a:lnTo>
                <a:lnTo>
                  <a:pt x="8099" y="2366"/>
                </a:lnTo>
                <a:lnTo>
                  <a:pt x="8091" y="2321"/>
                </a:lnTo>
                <a:lnTo>
                  <a:pt x="8087" y="2280"/>
                </a:lnTo>
                <a:lnTo>
                  <a:pt x="8087" y="2280"/>
                </a:lnTo>
                <a:lnTo>
                  <a:pt x="8087" y="2280"/>
                </a:lnTo>
                <a:close/>
                <a:moveTo>
                  <a:pt x="9142" y="1290"/>
                </a:moveTo>
                <a:lnTo>
                  <a:pt x="9142" y="1290"/>
                </a:lnTo>
                <a:lnTo>
                  <a:pt x="9142" y="1808"/>
                </a:lnTo>
                <a:lnTo>
                  <a:pt x="9142" y="1808"/>
                </a:lnTo>
                <a:lnTo>
                  <a:pt x="9142" y="2009"/>
                </a:lnTo>
                <a:lnTo>
                  <a:pt x="9141" y="2185"/>
                </a:lnTo>
                <a:lnTo>
                  <a:pt x="9138" y="2263"/>
                </a:lnTo>
                <a:lnTo>
                  <a:pt x="9134" y="2332"/>
                </a:lnTo>
                <a:lnTo>
                  <a:pt x="9130" y="2391"/>
                </a:lnTo>
                <a:lnTo>
                  <a:pt x="9124" y="2441"/>
                </a:lnTo>
                <a:lnTo>
                  <a:pt x="9124" y="2441"/>
                </a:lnTo>
                <a:lnTo>
                  <a:pt x="9114" y="2500"/>
                </a:lnTo>
                <a:lnTo>
                  <a:pt x="9110" y="2525"/>
                </a:lnTo>
                <a:lnTo>
                  <a:pt x="9102" y="2547"/>
                </a:lnTo>
                <a:lnTo>
                  <a:pt x="9097" y="2558"/>
                </a:lnTo>
                <a:lnTo>
                  <a:pt x="9092" y="2566"/>
                </a:lnTo>
                <a:lnTo>
                  <a:pt x="9088" y="2574"/>
                </a:lnTo>
                <a:lnTo>
                  <a:pt x="9081" y="2581"/>
                </a:lnTo>
                <a:lnTo>
                  <a:pt x="9074" y="2586"/>
                </a:lnTo>
                <a:lnTo>
                  <a:pt x="9066" y="2592"/>
                </a:lnTo>
                <a:lnTo>
                  <a:pt x="9056" y="2595"/>
                </a:lnTo>
                <a:lnTo>
                  <a:pt x="9047" y="2599"/>
                </a:lnTo>
                <a:lnTo>
                  <a:pt x="9047" y="2599"/>
                </a:lnTo>
                <a:lnTo>
                  <a:pt x="9024" y="2603"/>
                </a:lnTo>
                <a:lnTo>
                  <a:pt x="8999" y="2608"/>
                </a:lnTo>
                <a:lnTo>
                  <a:pt x="8975" y="2611"/>
                </a:lnTo>
                <a:lnTo>
                  <a:pt x="8953" y="2611"/>
                </a:lnTo>
                <a:lnTo>
                  <a:pt x="8953" y="2611"/>
                </a:lnTo>
                <a:lnTo>
                  <a:pt x="8947" y="2613"/>
                </a:lnTo>
                <a:lnTo>
                  <a:pt x="8941" y="2614"/>
                </a:lnTo>
                <a:lnTo>
                  <a:pt x="8936" y="2616"/>
                </a:lnTo>
                <a:lnTo>
                  <a:pt x="8933" y="2619"/>
                </a:lnTo>
                <a:lnTo>
                  <a:pt x="8930" y="2624"/>
                </a:lnTo>
                <a:lnTo>
                  <a:pt x="8928" y="2628"/>
                </a:lnTo>
                <a:lnTo>
                  <a:pt x="8927" y="2638"/>
                </a:lnTo>
                <a:lnTo>
                  <a:pt x="8927" y="2638"/>
                </a:lnTo>
                <a:lnTo>
                  <a:pt x="8928" y="2642"/>
                </a:lnTo>
                <a:lnTo>
                  <a:pt x="8932" y="2647"/>
                </a:lnTo>
                <a:lnTo>
                  <a:pt x="8935" y="2652"/>
                </a:lnTo>
                <a:lnTo>
                  <a:pt x="8941" y="2655"/>
                </a:lnTo>
                <a:lnTo>
                  <a:pt x="8947" y="2656"/>
                </a:lnTo>
                <a:lnTo>
                  <a:pt x="8956" y="2658"/>
                </a:lnTo>
                <a:lnTo>
                  <a:pt x="8975" y="2659"/>
                </a:lnTo>
                <a:lnTo>
                  <a:pt x="8975" y="2659"/>
                </a:lnTo>
                <a:lnTo>
                  <a:pt x="9061" y="2658"/>
                </a:lnTo>
                <a:lnTo>
                  <a:pt x="9156" y="2655"/>
                </a:lnTo>
                <a:lnTo>
                  <a:pt x="9278" y="2650"/>
                </a:lnTo>
                <a:lnTo>
                  <a:pt x="9278" y="2650"/>
                </a:lnTo>
                <a:lnTo>
                  <a:pt x="9411" y="2655"/>
                </a:lnTo>
                <a:lnTo>
                  <a:pt x="9530" y="2658"/>
                </a:lnTo>
                <a:lnTo>
                  <a:pt x="9658" y="2659"/>
                </a:lnTo>
                <a:lnTo>
                  <a:pt x="9658" y="2659"/>
                </a:lnTo>
                <a:lnTo>
                  <a:pt x="9670" y="2659"/>
                </a:lnTo>
                <a:lnTo>
                  <a:pt x="9681" y="2658"/>
                </a:lnTo>
                <a:lnTo>
                  <a:pt x="9689" y="2656"/>
                </a:lnTo>
                <a:lnTo>
                  <a:pt x="9695" y="2653"/>
                </a:lnTo>
                <a:lnTo>
                  <a:pt x="9700" y="2650"/>
                </a:lnTo>
                <a:lnTo>
                  <a:pt x="9703" y="2647"/>
                </a:lnTo>
                <a:lnTo>
                  <a:pt x="9706" y="2642"/>
                </a:lnTo>
                <a:lnTo>
                  <a:pt x="9706" y="2638"/>
                </a:lnTo>
                <a:lnTo>
                  <a:pt x="9706" y="2638"/>
                </a:lnTo>
                <a:lnTo>
                  <a:pt x="9704" y="2628"/>
                </a:lnTo>
                <a:lnTo>
                  <a:pt x="9703" y="2624"/>
                </a:lnTo>
                <a:lnTo>
                  <a:pt x="9701" y="2619"/>
                </a:lnTo>
                <a:lnTo>
                  <a:pt x="9697" y="2616"/>
                </a:lnTo>
                <a:lnTo>
                  <a:pt x="9692" y="2614"/>
                </a:lnTo>
                <a:lnTo>
                  <a:pt x="9687" y="2613"/>
                </a:lnTo>
                <a:lnTo>
                  <a:pt x="9681" y="2611"/>
                </a:lnTo>
                <a:lnTo>
                  <a:pt x="9681" y="2611"/>
                </a:lnTo>
                <a:lnTo>
                  <a:pt x="9654" y="2611"/>
                </a:lnTo>
                <a:lnTo>
                  <a:pt x="9619" y="2608"/>
                </a:lnTo>
                <a:lnTo>
                  <a:pt x="9581" y="2603"/>
                </a:lnTo>
                <a:lnTo>
                  <a:pt x="9548" y="2599"/>
                </a:lnTo>
                <a:lnTo>
                  <a:pt x="9548" y="2599"/>
                </a:lnTo>
                <a:lnTo>
                  <a:pt x="9531" y="2595"/>
                </a:lnTo>
                <a:lnTo>
                  <a:pt x="9517" y="2592"/>
                </a:lnTo>
                <a:lnTo>
                  <a:pt x="9503" y="2586"/>
                </a:lnTo>
                <a:lnTo>
                  <a:pt x="9492" y="2581"/>
                </a:lnTo>
                <a:lnTo>
                  <a:pt x="9481" y="2574"/>
                </a:lnTo>
                <a:lnTo>
                  <a:pt x="9472" y="2566"/>
                </a:lnTo>
                <a:lnTo>
                  <a:pt x="9462" y="2558"/>
                </a:lnTo>
                <a:lnTo>
                  <a:pt x="9456" y="2547"/>
                </a:lnTo>
                <a:lnTo>
                  <a:pt x="9450" y="2538"/>
                </a:lnTo>
                <a:lnTo>
                  <a:pt x="9445" y="2525"/>
                </a:lnTo>
                <a:lnTo>
                  <a:pt x="9441" y="2513"/>
                </a:lnTo>
                <a:lnTo>
                  <a:pt x="9436" y="2500"/>
                </a:lnTo>
                <a:lnTo>
                  <a:pt x="9431" y="2472"/>
                </a:lnTo>
                <a:lnTo>
                  <a:pt x="9426" y="2441"/>
                </a:lnTo>
                <a:lnTo>
                  <a:pt x="9426" y="2441"/>
                </a:lnTo>
                <a:lnTo>
                  <a:pt x="9422" y="2391"/>
                </a:lnTo>
                <a:lnTo>
                  <a:pt x="9419" y="2332"/>
                </a:lnTo>
                <a:lnTo>
                  <a:pt x="9417" y="2263"/>
                </a:lnTo>
                <a:lnTo>
                  <a:pt x="9416" y="2185"/>
                </a:lnTo>
                <a:lnTo>
                  <a:pt x="9414" y="2009"/>
                </a:lnTo>
                <a:lnTo>
                  <a:pt x="9414" y="1808"/>
                </a:lnTo>
                <a:lnTo>
                  <a:pt x="9414" y="611"/>
                </a:lnTo>
                <a:lnTo>
                  <a:pt x="9414" y="611"/>
                </a:lnTo>
                <a:lnTo>
                  <a:pt x="9414" y="590"/>
                </a:lnTo>
                <a:lnTo>
                  <a:pt x="9416" y="580"/>
                </a:lnTo>
                <a:lnTo>
                  <a:pt x="9419" y="572"/>
                </a:lnTo>
                <a:lnTo>
                  <a:pt x="9422" y="566"/>
                </a:lnTo>
                <a:lnTo>
                  <a:pt x="9425" y="562"/>
                </a:lnTo>
                <a:lnTo>
                  <a:pt x="9430" y="558"/>
                </a:lnTo>
                <a:lnTo>
                  <a:pt x="9436" y="557"/>
                </a:lnTo>
                <a:lnTo>
                  <a:pt x="9436" y="557"/>
                </a:lnTo>
                <a:lnTo>
                  <a:pt x="9469" y="551"/>
                </a:lnTo>
                <a:lnTo>
                  <a:pt x="9514" y="543"/>
                </a:lnTo>
                <a:lnTo>
                  <a:pt x="9562" y="537"/>
                </a:lnTo>
                <a:lnTo>
                  <a:pt x="9586" y="535"/>
                </a:lnTo>
                <a:lnTo>
                  <a:pt x="9606" y="533"/>
                </a:lnTo>
                <a:lnTo>
                  <a:pt x="9606" y="533"/>
                </a:lnTo>
                <a:lnTo>
                  <a:pt x="9637" y="533"/>
                </a:lnTo>
                <a:lnTo>
                  <a:pt x="9676" y="533"/>
                </a:lnTo>
                <a:lnTo>
                  <a:pt x="9700" y="535"/>
                </a:lnTo>
                <a:lnTo>
                  <a:pt x="9725" y="537"/>
                </a:lnTo>
                <a:lnTo>
                  <a:pt x="9750" y="541"/>
                </a:lnTo>
                <a:lnTo>
                  <a:pt x="9778" y="546"/>
                </a:lnTo>
                <a:lnTo>
                  <a:pt x="9806" y="552"/>
                </a:lnTo>
                <a:lnTo>
                  <a:pt x="9836" y="562"/>
                </a:lnTo>
                <a:lnTo>
                  <a:pt x="9865" y="572"/>
                </a:lnTo>
                <a:lnTo>
                  <a:pt x="9895" y="586"/>
                </a:lnTo>
                <a:lnTo>
                  <a:pt x="9926" y="604"/>
                </a:lnTo>
                <a:lnTo>
                  <a:pt x="9957" y="624"/>
                </a:lnTo>
                <a:lnTo>
                  <a:pt x="9989" y="647"/>
                </a:lnTo>
                <a:lnTo>
                  <a:pt x="10018" y="675"/>
                </a:lnTo>
                <a:lnTo>
                  <a:pt x="10018" y="675"/>
                </a:lnTo>
                <a:lnTo>
                  <a:pt x="10046" y="707"/>
                </a:lnTo>
                <a:lnTo>
                  <a:pt x="10071" y="736"/>
                </a:lnTo>
                <a:lnTo>
                  <a:pt x="10093" y="769"/>
                </a:lnTo>
                <a:lnTo>
                  <a:pt x="10114" y="800"/>
                </a:lnTo>
                <a:lnTo>
                  <a:pt x="10129" y="831"/>
                </a:lnTo>
                <a:lnTo>
                  <a:pt x="10143" y="863"/>
                </a:lnTo>
                <a:lnTo>
                  <a:pt x="10154" y="892"/>
                </a:lnTo>
                <a:lnTo>
                  <a:pt x="10163" y="923"/>
                </a:lnTo>
                <a:lnTo>
                  <a:pt x="10171" y="953"/>
                </a:lnTo>
                <a:lnTo>
                  <a:pt x="10178" y="981"/>
                </a:lnTo>
                <a:lnTo>
                  <a:pt x="10182" y="1009"/>
                </a:lnTo>
                <a:lnTo>
                  <a:pt x="10185" y="1034"/>
                </a:lnTo>
                <a:lnTo>
                  <a:pt x="10188" y="1082"/>
                </a:lnTo>
                <a:lnTo>
                  <a:pt x="10188" y="1123"/>
                </a:lnTo>
                <a:lnTo>
                  <a:pt x="10188" y="1123"/>
                </a:lnTo>
                <a:lnTo>
                  <a:pt x="10188" y="1148"/>
                </a:lnTo>
                <a:lnTo>
                  <a:pt x="10187" y="1171"/>
                </a:lnTo>
                <a:lnTo>
                  <a:pt x="10182" y="1196"/>
                </a:lnTo>
                <a:lnTo>
                  <a:pt x="10178" y="1220"/>
                </a:lnTo>
                <a:lnTo>
                  <a:pt x="10173" y="1243"/>
                </a:lnTo>
                <a:lnTo>
                  <a:pt x="10165" y="1265"/>
                </a:lnTo>
                <a:lnTo>
                  <a:pt x="10157" y="1287"/>
                </a:lnTo>
                <a:lnTo>
                  <a:pt x="10146" y="1309"/>
                </a:lnTo>
                <a:lnTo>
                  <a:pt x="10137" y="1330"/>
                </a:lnTo>
                <a:lnTo>
                  <a:pt x="10124" y="1351"/>
                </a:lnTo>
                <a:lnTo>
                  <a:pt x="10112" y="1369"/>
                </a:lnTo>
                <a:lnTo>
                  <a:pt x="10098" y="1390"/>
                </a:lnTo>
                <a:lnTo>
                  <a:pt x="10082" y="1408"/>
                </a:lnTo>
                <a:lnTo>
                  <a:pt x="10065" y="1426"/>
                </a:lnTo>
                <a:lnTo>
                  <a:pt x="10048" y="1443"/>
                </a:lnTo>
                <a:lnTo>
                  <a:pt x="10031" y="1458"/>
                </a:lnTo>
                <a:lnTo>
                  <a:pt x="10010" y="1474"/>
                </a:lnTo>
                <a:lnTo>
                  <a:pt x="9992" y="1490"/>
                </a:lnTo>
                <a:lnTo>
                  <a:pt x="9970" y="1504"/>
                </a:lnTo>
                <a:lnTo>
                  <a:pt x="9948" y="1516"/>
                </a:lnTo>
                <a:lnTo>
                  <a:pt x="9926" y="1529"/>
                </a:lnTo>
                <a:lnTo>
                  <a:pt x="9901" y="1539"/>
                </a:lnTo>
                <a:lnTo>
                  <a:pt x="9878" y="1550"/>
                </a:lnTo>
                <a:lnTo>
                  <a:pt x="9853" y="1558"/>
                </a:lnTo>
                <a:lnTo>
                  <a:pt x="9826" y="1568"/>
                </a:lnTo>
                <a:lnTo>
                  <a:pt x="9800" y="1574"/>
                </a:lnTo>
                <a:lnTo>
                  <a:pt x="9772" y="1580"/>
                </a:lnTo>
                <a:lnTo>
                  <a:pt x="9743" y="1586"/>
                </a:lnTo>
                <a:lnTo>
                  <a:pt x="9715" y="1589"/>
                </a:lnTo>
                <a:lnTo>
                  <a:pt x="9686" y="1593"/>
                </a:lnTo>
                <a:lnTo>
                  <a:pt x="9656" y="1594"/>
                </a:lnTo>
                <a:lnTo>
                  <a:pt x="9626" y="1596"/>
                </a:lnTo>
                <a:lnTo>
                  <a:pt x="9626" y="1596"/>
                </a:lnTo>
                <a:lnTo>
                  <a:pt x="9604" y="1596"/>
                </a:lnTo>
                <a:lnTo>
                  <a:pt x="9587" y="1597"/>
                </a:lnTo>
                <a:lnTo>
                  <a:pt x="9575" y="1599"/>
                </a:lnTo>
                <a:lnTo>
                  <a:pt x="9564" y="1602"/>
                </a:lnTo>
                <a:lnTo>
                  <a:pt x="9556" y="1607"/>
                </a:lnTo>
                <a:lnTo>
                  <a:pt x="9551" y="1611"/>
                </a:lnTo>
                <a:lnTo>
                  <a:pt x="9550" y="1619"/>
                </a:lnTo>
                <a:lnTo>
                  <a:pt x="9548" y="1627"/>
                </a:lnTo>
                <a:lnTo>
                  <a:pt x="9548" y="1627"/>
                </a:lnTo>
                <a:lnTo>
                  <a:pt x="9550" y="1632"/>
                </a:lnTo>
                <a:lnTo>
                  <a:pt x="9551" y="1636"/>
                </a:lnTo>
                <a:lnTo>
                  <a:pt x="9555" y="1641"/>
                </a:lnTo>
                <a:lnTo>
                  <a:pt x="9558" y="1646"/>
                </a:lnTo>
                <a:lnTo>
                  <a:pt x="9567" y="1650"/>
                </a:lnTo>
                <a:lnTo>
                  <a:pt x="9573" y="1653"/>
                </a:lnTo>
                <a:lnTo>
                  <a:pt x="9578" y="1653"/>
                </a:lnTo>
                <a:lnTo>
                  <a:pt x="9578" y="1653"/>
                </a:lnTo>
                <a:lnTo>
                  <a:pt x="9586" y="1655"/>
                </a:lnTo>
                <a:lnTo>
                  <a:pt x="9597" y="1656"/>
                </a:lnTo>
                <a:lnTo>
                  <a:pt x="9622" y="1658"/>
                </a:lnTo>
                <a:lnTo>
                  <a:pt x="9664" y="1660"/>
                </a:lnTo>
                <a:lnTo>
                  <a:pt x="9664" y="1660"/>
                </a:lnTo>
                <a:lnTo>
                  <a:pt x="9708" y="1658"/>
                </a:lnTo>
                <a:lnTo>
                  <a:pt x="9750" y="1656"/>
                </a:lnTo>
                <a:lnTo>
                  <a:pt x="9792" y="1652"/>
                </a:lnTo>
                <a:lnTo>
                  <a:pt x="9832" y="1647"/>
                </a:lnTo>
                <a:lnTo>
                  <a:pt x="9871" y="1639"/>
                </a:lnTo>
                <a:lnTo>
                  <a:pt x="9911" y="1632"/>
                </a:lnTo>
                <a:lnTo>
                  <a:pt x="9948" y="1621"/>
                </a:lnTo>
                <a:lnTo>
                  <a:pt x="9984" y="1610"/>
                </a:lnTo>
                <a:lnTo>
                  <a:pt x="10020" y="1596"/>
                </a:lnTo>
                <a:lnTo>
                  <a:pt x="10053" y="1582"/>
                </a:lnTo>
                <a:lnTo>
                  <a:pt x="10085" y="1566"/>
                </a:lnTo>
                <a:lnTo>
                  <a:pt x="10118" y="1549"/>
                </a:lnTo>
                <a:lnTo>
                  <a:pt x="10148" y="1530"/>
                </a:lnTo>
                <a:lnTo>
                  <a:pt x="10178" y="1510"/>
                </a:lnTo>
                <a:lnTo>
                  <a:pt x="10206" y="1490"/>
                </a:lnTo>
                <a:lnTo>
                  <a:pt x="10232" y="1466"/>
                </a:lnTo>
                <a:lnTo>
                  <a:pt x="10257" y="1443"/>
                </a:lnTo>
                <a:lnTo>
                  <a:pt x="10281" y="1418"/>
                </a:lnTo>
                <a:lnTo>
                  <a:pt x="10304" y="1391"/>
                </a:lnTo>
                <a:lnTo>
                  <a:pt x="10324" y="1365"/>
                </a:lnTo>
                <a:lnTo>
                  <a:pt x="10343" y="1337"/>
                </a:lnTo>
                <a:lnTo>
                  <a:pt x="10362" y="1307"/>
                </a:lnTo>
                <a:lnTo>
                  <a:pt x="10377" y="1276"/>
                </a:lnTo>
                <a:lnTo>
                  <a:pt x="10393" y="1245"/>
                </a:lnTo>
                <a:lnTo>
                  <a:pt x="10406" y="1212"/>
                </a:lnTo>
                <a:lnTo>
                  <a:pt x="10416" y="1178"/>
                </a:lnTo>
                <a:lnTo>
                  <a:pt x="10427" y="1143"/>
                </a:lnTo>
                <a:lnTo>
                  <a:pt x="10435" y="1107"/>
                </a:lnTo>
                <a:lnTo>
                  <a:pt x="10441" y="1070"/>
                </a:lnTo>
                <a:lnTo>
                  <a:pt x="10446" y="1033"/>
                </a:lnTo>
                <a:lnTo>
                  <a:pt x="10449" y="995"/>
                </a:lnTo>
                <a:lnTo>
                  <a:pt x="10449" y="955"/>
                </a:lnTo>
                <a:lnTo>
                  <a:pt x="10449" y="955"/>
                </a:lnTo>
                <a:lnTo>
                  <a:pt x="10449" y="926"/>
                </a:lnTo>
                <a:lnTo>
                  <a:pt x="10446" y="897"/>
                </a:lnTo>
                <a:lnTo>
                  <a:pt x="10441" y="870"/>
                </a:lnTo>
                <a:lnTo>
                  <a:pt x="10435" y="842"/>
                </a:lnTo>
                <a:lnTo>
                  <a:pt x="10427" y="816"/>
                </a:lnTo>
                <a:lnTo>
                  <a:pt x="10420" y="791"/>
                </a:lnTo>
                <a:lnTo>
                  <a:pt x="10410" y="767"/>
                </a:lnTo>
                <a:lnTo>
                  <a:pt x="10399" y="744"/>
                </a:lnTo>
                <a:lnTo>
                  <a:pt x="10388" y="722"/>
                </a:lnTo>
                <a:lnTo>
                  <a:pt x="10376" y="700"/>
                </a:lnTo>
                <a:lnTo>
                  <a:pt x="10363" y="682"/>
                </a:lnTo>
                <a:lnTo>
                  <a:pt x="10351" y="663"/>
                </a:lnTo>
                <a:lnTo>
                  <a:pt x="10337" y="646"/>
                </a:lnTo>
                <a:lnTo>
                  <a:pt x="10324" y="630"/>
                </a:lnTo>
                <a:lnTo>
                  <a:pt x="10312" y="618"/>
                </a:lnTo>
                <a:lnTo>
                  <a:pt x="10298" y="605"/>
                </a:lnTo>
                <a:lnTo>
                  <a:pt x="10298" y="605"/>
                </a:lnTo>
                <a:lnTo>
                  <a:pt x="10274" y="585"/>
                </a:lnTo>
                <a:lnTo>
                  <a:pt x="10259" y="572"/>
                </a:lnTo>
                <a:lnTo>
                  <a:pt x="10240" y="560"/>
                </a:lnTo>
                <a:lnTo>
                  <a:pt x="10220" y="546"/>
                </a:lnTo>
                <a:lnTo>
                  <a:pt x="10195" y="532"/>
                </a:lnTo>
                <a:lnTo>
                  <a:pt x="10167" y="518"/>
                </a:lnTo>
                <a:lnTo>
                  <a:pt x="10135" y="504"/>
                </a:lnTo>
                <a:lnTo>
                  <a:pt x="10099" y="491"/>
                </a:lnTo>
                <a:lnTo>
                  <a:pt x="10059" y="479"/>
                </a:lnTo>
                <a:lnTo>
                  <a:pt x="10015" y="468"/>
                </a:lnTo>
                <a:lnTo>
                  <a:pt x="9965" y="457"/>
                </a:lnTo>
                <a:lnTo>
                  <a:pt x="9911" y="449"/>
                </a:lnTo>
                <a:lnTo>
                  <a:pt x="9851" y="443"/>
                </a:lnTo>
                <a:lnTo>
                  <a:pt x="9787" y="438"/>
                </a:lnTo>
                <a:lnTo>
                  <a:pt x="9715" y="438"/>
                </a:lnTo>
                <a:lnTo>
                  <a:pt x="9715" y="438"/>
                </a:lnTo>
                <a:lnTo>
                  <a:pt x="9600" y="438"/>
                </a:lnTo>
                <a:lnTo>
                  <a:pt x="9472" y="441"/>
                </a:lnTo>
                <a:lnTo>
                  <a:pt x="9284" y="445"/>
                </a:lnTo>
                <a:lnTo>
                  <a:pt x="9284" y="445"/>
                </a:lnTo>
                <a:lnTo>
                  <a:pt x="9150" y="441"/>
                </a:lnTo>
                <a:lnTo>
                  <a:pt x="9041" y="438"/>
                </a:lnTo>
                <a:lnTo>
                  <a:pt x="8930" y="438"/>
                </a:lnTo>
                <a:lnTo>
                  <a:pt x="8930" y="438"/>
                </a:lnTo>
                <a:lnTo>
                  <a:pt x="8908" y="438"/>
                </a:lnTo>
                <a:lnTo>
                  <a:pt x="8900" y="440"/>
                </a:lnTo>
                <a:lnTo>
                  <a:pt x="8892" y="443"/>
                </a:lnTo>
                <a:lnTo>
                  <a:pt x="8888" y="446"/>
                </a:lnTo>
                <a:lnTo>
                  <a:pt x="8885" y="451"/>
                </a:lnTo>
                <a:lnTo>
                  <a:pt x="8883" y="457"/>
                </a:lnTo>
                <a:lnTo>
                  <a:pt x="8883" y="463"/>
                </a:lnTo>
                <a:lnTo>
                  <a:pt x="8883" y="463"/>
                </a:lnTo>
                <a:lnTo>
                  <a:pt x="8883" y="466"/>
                </a:lnTo>
                <a:lnTo>
                  <a:pt x="8885" y="471"/>
                </a:lnTo>
                <a:lnTo>
                  <a:pt x="8891" y="479"/>
                </a:lnTo>
                <a:lnTo>
                  <a:pt x="8899" y="484"/>
                </a:lnTo>
                <a:lnTo>
                  <a:pt x="8903" y="485"/>
                </a:lnTo>
                <a:lnTo>
                  <a:pt x="8908" y="485"/>
                </a:lnTo>
                <a:lnTo>
                  <a:pt x="8908" y="485"/>
                </a:lnTo>
                <a:lnTo>
                  <a:pt x="8960" y="488"/>
                </a:lnTo>
                <a:lnTo>
                  <a:pt x="9011" y="493"/>
                </a:lnTo>
                <a:lnTo>
                  <a:pt x="9011" y="493"/>
                </a:lnTo>
                <a:lnTo>
                  <a:pt x="9028" y="496"/>
                </a:lnTo>
                <a:lnTo>
                  <a:pt x="9045" y="499"/>
                </a:lnTo>
                <a:lnTo>
                  <a:pt x="9060" y="505"/>
                </a:lnTo>
                <a:lnTo>
                  <a:pt x="9072" y="510"/>
                </a:lnTo>
                <a:lnTo>
                  <a:pt x="9083" y="518"/>
                </a:lnTo>
                <a:lnTo>
                  <a:pt x="9092" y="526"/>
                </a:lnTo>
                <a:lnTo>
                  <a:pt x="9102" y="533"/>
                </a:lnTo>
                <a:lnTo>
                  <a:pt x="9110" y="543"/>
                </a:lnTo>
                <a:lnTo>
                  <a:pt x="9116" y="554"/>
                </a:lnTo>
                <a:lnTo>
                  <a:pt x="9120" y="565"/>
                </a:lnTo>
                <a:lnTo>
                  <a:pt x="9125" y="577"/>
                </a:lnTo>
                <a:lnTo>
                  <a:pt x="9128" y="591"/>
                </a:lnTo>
                <a:lnTo>
                  <a:pt x="9133" y="621"/>
                </a:lnTo>
                <a:lnTo>
                  <a:pt x="9136" y="657"/>
                </a:lnTo>
                <a:lnTo>
                  <a:pt x="9136" y="657"/>
                </a:lnTo>
                <a:lnTo>
                  <a:pt x="9141" y="730"/>
                </a:lnTo>
                <a:lnTo>
                  <a:pt x="9142" y="836"/>
                </a:lnTo>
                <a:lnTo>
                  <a:pt x="9142" y="1011"/>
                </a:lnTo>
                <a:lnTo>
                  <a:pt x="9142" y="1290"/>
                </a:lnTo>
                <a:lnTo>
                  <a:pt x="9142" y="1290"/>
                </a:lnTo>
                <a:lnTo>
                  <a:pt x="9142" y="1290"/>
                </a:lnTo>
                <a:close/>
                <a:moveTo>
                  <a:pt x="11083" y="1290"/>
                </a:moveTo>
                <a:lnTo>
                  <a:pt x="11083" y="1290"/>
                </a:lnTo>
                <a:lnTo>
                  <a:pt x="11083" y="1720"/>
                </a:lnTo>
                <a:lnTo>
                  <a:pt x="11083" y="1720"/>
                </a:lnTo>
                <a:lnTo>
                  <a:pt x="11085" y="1798"/>
                </a:lnTo>
                <a:lnTo>
                  <a:pt x="11089" y="1872"/>
                </a:lnTo>
                <a:lnTo>
                  <a:pt x="11096" y="1939"/>
                </a:lnTo>
                <a:lnTo>
                  <a:pt x="11103" y="2003"/>
                </a:lnTo>
                <a:lnTo>
                  <a:pt x="11114" y="2062"/>
                </a:lnTo>
                <a:lnTo>
                  <a:pt x="11128" y="2117"/>
                </a:lnTo>
                <a:lnTo>
                  <a:pt x="11143" y="2168"/>
                </a:lnTo>
                <a:lnTo>
                  <a:pt x="11160" y="2215"/>
                </a:lnTo>
                <a:lnTo>
                  <a:pt x="11178" y="2259"/>
                </a:lnTo>
                <a:lnTo>
                  <a:pt x="11199" y="2301"/>
                </a:lnTo>
                <a:lnTo>
                  <a:pt x="11221" y="2338"/>
                </a:lnTo>
                <a:lnTo>
                  <a:pt x="11244" y="2374"/>
                </a:lnTo>
                <a:lnTo>
                  <a:pt x="11267" y="2407"/>
                </a:lnTo>
                <a:lnTo>
                  <a:pt x="11294" y="2438"/>
                </a:lnTo>
                <a:lnTo>
                  <a:pt x="11321" y="2466"/>
                </a:lnTo>
                <a:lnTo>
                  <a:pt x="11347" y="2492"/>
                </a:lnTo>
                <a:lnTo>
                  <a:pt x="11347" y="2492"/>
                </a:lnTo>
                <a:lnTo>
                  <a:pt x="11367" y="2511"/>
                </a:lnTo>
                <a:lnTo>
                  <a:pt x="11389" y="2528"/>
                </a:lnTo>
                <a:lnTo>
                  <a:pt x="11411" y="2544"/>
                </a:lnTo>
                <a:lnTo>
                  <a:pt x="11433" y="2558"/>
                </a:lnTo>
                <a:lnTo>
                  <a:pt x="11455" y="2572"/>
                </a:lnTo>
                <a:lnTo>
                  <a:pt x="11477" y="2586"/>
                </a:lnTo>
                <a:lnTo>
                  <a:pt x="11524" y="2609"/>
                </a:lnTo>
                <a:lnTo>
                  <a:pt x="11570" y="2628"/>
                </a:lnTo>
                <a:lnTo>
                  <a:pt x="11617" y="2645"/>
                </a:lnTo>
                <a:lnTo>
                  <a:pt x="11662" y="2659"/>
                </a:lnTo>
                <a:lnTo>
                  <a:pt x="11708" y="2670"/>
                </a:lnTo>
                <a:lnTo>
                  <a:pt x="11751" y="2680"/>
                </a:lnTo>
                <a:lnTo>
                  <a:pt x="11794" y="2686"/>
                </a:lnTo>
                <a:lnTo>
                  <a:pt x="11834" y="2691"/>
                </a:lnTo>
                <a:lnTo>
                  <a:pt x="11870" y="2694"/>
                </a:lnTo>
                <a:lnTo>
                  <a:pt x="11934" y="2698"/>
                </a:lnTo>
                <a:lnTo>
                  <a:pt x="11981" y="2698"/>
                </a:lnTo>
                <a:lnTo>
                  <a:pt x="11981" y="2698"/>
                </a:lnTo>
                <a:lnTo>
                  <a:pt x="12051" y="2697"/>
                </a:lnTo>
                <a:lnTo>
                  <a:pt x="12089" y="2695"/>
                </a:lnTo>
                <a:lnTo>
                  <a:pt x="12126" y="2691"/>
                </a:lnTo>
                <a:lnTo>
                  <a:pt x="12164" y="2686"/>
                </a:lnTo>
                <a:lnTo>
                  <a:pt x="12204" y="2680"/>
                </a:lnTo>
                <a:lnTo>
                  <a:pt x="12243" y="2672"/>
                </a:lnTo>
                <a:lnTo>
                  <a:pt x="12284" y="2663"/>
                </a:lnTo>
                <a:lnTo>
                  <a:pt x="12326" y="2650"/>
                </a:lnTo>
                <a:lnTo>
                  <a:pt x="12367" y="2634"/>
                </a:lnTo>
                <a:lnTo>
                  <a:pt x="12409" y="2617"/>
                </a:lnTo>
                <a:lnTo>
                  <a:pt x="12451" y="2597"/>
                </a:lnTo>
                <a:lnTo>
                  <a:pt x="12493" y="2574"/>
                </a:lnTo>
                <a:lnTo>
                  <a:pt x="12535" y="2547"/>
                </a:lnTo>
                <a:lnTo>
                  <a:pt x="12577" y="2516"/>
                </a:lnTo>
                <a:lnTo>
                  <a:pt x="12618" y="2483"/>
                </a:lnTo>
                <a:lnTo>
                  <a:pt x="12618" y="2483"/>
                </a:lnTo>
                <a:lnTo>
                  <a:pt x="12640" y="2463"/>
                </a:lnTo>
                <a:lnTo>
                  <a:pt x="12662" y="2443"/>
                </a:lnTo>
                <a:lnTo>
                  <a:pt x="12681" y="2421"/>
                </a:lnTo>
                <a:lnTo>
                  <a:pt x="12699" y="2399"/>
                </a:lnTo>
                <a:lnTo>
                  <a:pt x="12718" y="2376"/>
                </a:lnTo>
                <a:lnTo>
                  <a:pt x="12734" y="2352"/>
                </a:lnTo>
                <a:lnTo>
                  <a:pt x="12749" y="2329"/>
                </a:lnTo>
                <a:lnTo>
                  <a:pt x="12765" y="2304"/>
                </a:lnTo>
                <a:lnTo>
                  <a:pt x="12779" y="2277"/>
                </a:lnTo>
                <a:lnTo>
                  <a:pt x="12791" y="2251"/>
                </a:lnTo>
                <a:lnTo>
                  <a:pt x="12804" y="2224"/>
                </a:lnTo>
                <a:lnTo>
                  <a:pt x="12815" y="2198"/>
                </a:lnTo>
                <a:lnTo>
                  <a:pt x="12834" y="2142"/>
                </a:lnTo>
                <a:lnTo>
                  <a:pt x="12851" y="2084"/>
                </a:lnTo>
                <a:lnTo>
                  <a:pt x="12865" y="2026"/>
                </a:lnTo>
                <a:lnTo>
                  <a:pt x="12876" y="1967"/>
                </a:lnTo>
                <a:lnTo>
                  <a:pt x="12885" y="1906"/>
                </a:lnTo>
                <a:lnTo>
                  <a:pt x="12891" y="1845"/>
                </a:lnTo>
                <a:lnTo>
                  <a:pt x="12896" y="1784"/>
                </a:lnTo>
                <a:lnTo>
                  <a:pt x="12899" y="1722"/>
                </a:lnTo>
                <a:lnTo>
                  <a:pt x="12901" y="1661"/>
                </a:lnTo>
                <a:lnTo>
                  <a:pt x="12902" y="1602"/>
                </a:lnTo>
                <a:lnTo>
                  <a:pt x="12902" y="1290"/>
                </a:lnTo>
                <a:lnTo>
                  <a:pt x="12902" y="1290"/>
                </a:lnTo>
                <a:lnTo>
                  <a:pt x="12901" y="836"/>
                </a:lnTo>
                <a:lnTo>
                  <a:pt x="12902" y="730"/>
                </a:lnTo>
                <a:lnTo>
                  <a:pt x="12905" y="657"/>
                </a:lnTo>
                <a:lnTo>
                  <a:pt x="12905" y="657"/>
                </a:lnTo>
                <a:lnTo>
                  <a:pt x="12909" y="622"/>
                </a:lnTo>
                <a:lnTo>
                  <a:pt x="12913" y="593"/>
                </a:lnTo>
                <a:lnTo>
                  <a:pt x="12919" y="568"/>
                </a:lnTo>
                <a:lnTo>
                  <a:pt x="12924" y="555"/>
                </a:lnTo>
                <a:lnTo>
                  <a:pt x="12930" y="546"/>
                </a:lnTo>
                <a:lnTo>
                  <a:pt x="12937" y="535"/>
                </a:lnTo>
                <a:lnTo>
                  <a:pt x="12944" y="527"/>
                </a:lnTo>
                <a:lnTo>
                  <a:pt x="12952" y="519"/>
                </a:lnTo>
                <a:lnTo>
                  <a:pt x="12962" y="513"/>
                </a:lnTo>
                <a:lnTo>
                  <a:pt x="12973" y="507"/>
                </a:lnTo>
                <a:lnTo>
                  <a:pt x="12983" y="501"/>
                </a:lnTo>
                <a:lnTo>
                  <a:pt x="12998" y="496"/>
                </a:lnTo>
                <a:lnTo>
                  <a:pt x="13012" y="493"/>
                </a:lnTo>
                <a:lnTo>
                  <a:pt x="13012" y="493"/>
                </a:lnTo>
                <a:lnTo>
                  <a:pt x="13037" y="488"/>
                </a:lnTo>
                <a:lnTo>
                  <a:pt x="13057" y="487"/>
                </a:lnTo>
                <a:lnTo>
                  <a:pt x="13088" y="485"/>
                </a:lnTo>
                <a:lnTo>
                  <a:pt x="13088" y="485"/>
                </a:lnTo>
                <a:lnTo>
                  <a:pt x="13093" y="485"/>
                </a:lnTo>
                <a:lnTo>
                  <a:pt x="13097" y="484"/>
                </a:lnTo>
                <a:lnTo>
                  <a:pt x="13105" y="479"/>
                </a:lnTo>
                <a:lnTo>
                  <a:pt x="13110" y="471"/>
                </a:lnTo>
                <a:lnTo>
                  <a:pt x="13112" y="463"/>
                </a:lnTo>
                <a:lnTo>
                  <a:pt x="13112" y="463"/>
                </a:lnTo>
                <a:lnTo>
                  <a:pt x="13110" y="457"/>
                </a:lnTo>
                <a:lnTo>
                  <a:pt x="13108" y="451"/>
                </a:lnTo>
                <a:lnTo>
                  <a:pt x="13105" y="446"/>
                </a:lnTo>
                <a:lnTo>
                  <a:pt x="13101" y="443"/>
                </a:lnTo>
                <a:lnTo>
                  <a:pt x="13093" y="440"/>
                </a:lnTo>
                <a:lnTo>
                  <a:pt x="13085" y="438"/>
                </a:lnTo>
                <a:lnTo>
                  <a:pt x="13063" y="438"/>
                </a:lnTo>
                <a:lnTo>
                  <a:pt x="13063" y="438"/>
                </a:lnTo>
                <a:lnTo>
                  <a:pt x="12990" y="438"/>
                </a:lnTo>
                <a:lnTo>
                  <a:pt x="12910" y="441"/>
                </a:lnTo>
                <a:lnTo>
                  <a:pt x="12809" y="445"/>
                </a:lnTo>
                <a:lnTo>
                  <a:pt x="12809" y="445"/>
                </a:lnTo>
                <a:lnTo>
                  <a:pt x="12688" y="441"/>
                </a:lnTo>
                <a:lnTo>
                  <a:pt x="12587" y="438"/>
                </a:lnTo>
                <a:lnTo>
                  <a:pt x="12481" y="438"/>
                </a:lnTo>
                <a:lnTo>
                  <a:pt x="12481" y="438"/>
                </a:lnTo>
                <a:lnTo>
                  <a:pt x="12457" y="438"/>
                </a:lnTo>
                <a:lnTo>
                  <a:pt x="12449" y="440"/>
                </a:lnTo>
                <a:lnTo>
                  <a:pt x="12443" y="443"/>
                </a:lnTo>
                <a:lnTo>
                  <a:pt x="12439" y="446"/>
                </a:lnTo>
                <a:lnTo>
                  <a:pt x="12434" y="451"/>
                </a:lnTo>
                <a:lnTo>
                  <a:pt x="12432" y="457"/>
                </a:lnTo>
                <a:lnTo>
                  <a:pt x="12432" y="463"/>
                </a:lnTo>
                <a:lnTo>
                  <a:pt x="12432" y="463"/>
                </a:lnTo>
                <a:lnTo>
                  <a:pt x="12434" y="471"/>
                </a:lnTo>
                <a:lnTo>
                  <a:pt x="12439" y="479"/>
                </a:lnTo>
                <a:lnTo>
                  <a:pt x="12445" y="484"/>
                </a:lnTo>
                <a:lnTo>
                  <a:pt x="12449" y="485"/>
                </a:lnTo>
                <a:lnTo>
                  <a:pt x="12454" y="485"/>
                </a:lnTo>
                <a:lnTo>
                  <a:pt x="12454" y="485"/>
                </a:lnTo>
                <a:lnTo>
                  <a:pt x="12509" y="488"/>
                </a:lnTo>
                <a:lnTo>
                  <a:pt x="12560" y="493"/>
                </a:lnTo>
                <a:lnTo>
                  <a:pt x="12560" y="493"/>
                </a:lnTo>
                <a:lnTo>
                  <a:pt x="12579" y="496"/>
                </a:lnTo>
                <a:lnTo>
                  <a:pt x="12595" y="501"/>
                </a:lnTo>
                <a:lnTo>
                  <a:pt x="12609" y="505"/>
                </a:lnTo>
                <a:lnTo>
                  <a:pt x="12621" y="512"/>
                </a:lnTo>
                <a:lnTo>
                  <a:pt x="12632" y="518"/>
                </a:lnTo>
                <a:lnTo>
                  <a:pt x="12642" y="527"/>
                </a:lnTo>
                <a:lnTo>
                  <a:pt x="12649" y="535"/>
                </a:lnTo>
                <a:lnTo>
                  <a:pt x="12657" y="546"/>
                </a:lnTo>
                <a:lnTo>
                  <a:pt x="12662" y="555"/>
                </a:lnTo>
                <a:lnTo>
                  <a:pt x="12666" y="568"/>
                </a:lnTo>
                <a:lnTo>
                  <a:pt x="12671" y="580"/>
                </a:lnTo>
                <a:lnTo>
                  <a:pt x="12674" y="594"/>
                </a:lnTo>
                <a:lnTo>
                  <a:pt x="12677" y="622"/>
                </a:lnTo>
                <a:lnTo>
                  <a:pt x="12679" y="657"/>
                </a:lnTo>
                <a:lnTo>
                  <a:pt x="12679" y="657"/>
                </a:lnTo>
                <a:lnTo>
                  <a:pt x="12682" y="730"/>
                </a:lnTo>
                <a:lnTo>
                  <a:pt x="12684" y="836"/>
                </a:lnTo>
                <a:lnTo>
                  <a:pt x="12685" y="1011"/>
                </a:lnTo>
                <a:lnTo>
                  <a:pt x="12687" y="1290"/>
                </a:lnTo>
                <a:lnTo>
                  <a:pt x="12687" y="1660"/>
                </a:lnTo>
                <a:lnTo>
                  <a:pt x="12687" y="1660"/>
                </a:lnTo>
                <a:lnTo>
                  <a:pt x="12685" y="1769"/>
                </a:lnTo>
                <a:lnTo>
                  <a:pt x="12682" y="1822"/>
                </a:lnTo>
                <a:lnTo>
                  <a:pt x="12679" y="1873"/>
                </a:lnTo>
                <a:lnTo>
                  <a:pt x="12676" y="1923"/>
                </a:lnTo>
                <a:lnTo>
                  <a:pt x="12670" y="1972"/>
                </a:lnTo>
                <a:lnTo>
                  <a:pt x="12662" y="2018"/>
                </a:lnTo>
                <a:lnTo>
                  <a:pt x="12654" y="2064"/>
                </a:lnTo>
                <a:lnTo>
                  <a:pt x="12643" y="2107"/>
                </a:lnTo>
                <a:lnTo>
                  <a:pt x="12632" y="2149"/>
                </a:lnTo>
                <a:lnTo>
                  <a:pt x="12618" y="2190"/>
                </a:lnTo>
                <a:lnTo>
                  <a:pt x="12602" y="2229"/>
                </a:lnTo>
                <a:lnTo>
                  <a:pt x="12584" y="2266"/>
                </a:lnTo>
                <a:lnTo>
                  <a:pt x="12563" y="2304"/>
                </a:lnTo>
                <a:lnTo>
                  <a:pt x="12542" y="2338"/>
                </a:lnTo>
                <a:lnTo>
                  <a:pt x="12515" y="2371"/>
                </a:lnTo>
                <a:lnTo>
                  <a:pt x="12515" y="2371"/>
                </a:lnTo>
                <a:lnTo>
                  <a:pt x="12495" y="2393"/>
                </a:lnTo>
                <a:lnTo>
                  <a:pt x="12473" y="2415"/>
                </a:lnTo>
                <a:lnTo>
                  <a:pt x="12448" y="2436"/>
                </a:lnTo>
                <a:lnTo>
                  <a:pt x="12423" y="2455"/>
                </a:lnTo>
                <a:lnTo>
                  <a:pt x="12396" y="2474"/>
                </a:lnTo>
                <a:lnTo>
                  <a:pt x="12368" y="2491"/>
                </a:lnTo>
                <a:lnTo>
                  <a:pt x="12339" y="2507"/>
                </a:lnTo>
                <a:lnTo>
                  <a:pt x="12309" y="2521"/>
                </a:lnTo>
                <a:lnTo>
                  <a:pt x="12278" y="2533"/>
                </a:lnTo>
                <a:lnTo>
                  <a:pt x="12246" y="2544"/>
                </a:lnTo>
                <a:lnTo>
                  <a:pt x="12214" y="2553"/>
                </a:lnTo>
                <a:lnTo>
                  <a:pt x="12181" y="2561"/>
                </a:lnTo>
                <a:lnTo>
                  <a:pt x="12147" y="2567"/>
                </a:lnTo>
                <a:lnTo>
                  <a:pt x="12112" y="2572"/>
                </a:lnTo>
                <a:lnTo>
                  <a:pt x="12078" y="2575"/>
                </a:lnTo>
                <a:lnTo>
                  <a:pt x="12042" y="2577"/>
                </a:lnTo>
                <a:lnTo>
                  <a:pt x="12042" y="2577"/>
                </a:lnTo>
                <a:lnTo>
                  <a:pt x="11981" y="2575"/>
                </a:lnTo>
                <a:lnTo>
                  <a:pt x="11950" y="2574"/>
                </a:lnTo>
                <a:lnTo>
                  <a:pt x="11922" y="2570"/>
                </a:lnTo>
                <a:lnTo>
                  <a:pt x="11892" y="2567"/>
                </a:lnTo>
                <a:lnTo>
                  <a:pt x="11864" y="2561"/>
                </a:lnTo>
                <a:lnTo>
                  <a:pt x="11836" y="2555"/>
                </a:lnTo>
                <a:lnTo>
                  <a:pt x="11809" y="2549"/>
                </a:lnTo>
                <a:lnTo>
                  <a:pt x="11781" y="2539"/>
                </a:lnTo>
                <a:lnTo>
                  <a:pt x="11755" y="2528"/>
                </a:lnTo>
                <a:lnTo>
                  <a:pt x="11728" y="2514"/>
                </a:lnTo>
                <a:lnTo>
                  <a:pt x="11702" y="2500"/>
                </a:lnTo>
                <a:lnTo>
                  <a:pt x="11673" y="2483"/>
                </a:lnTo>
                <a:lnTo>
                  <a:pt x="11647" y="2464"/>
                </a:lnTo>
                <a:lnTo>
                  <a:pt x="11620" y="2443"/>
                </a:lnTo>
                <a:lnTo>
                  <a:pt x="11592" y="2419"/>
                </a:lnTo>
                <a:lnTo>
                  <a:pt x="11592" y="2419"/>
                </a:lnTo>
                <a:lnTo>
                  <a:pt x="11567" y="2396"/>
                </a:lnTo>
                <a:lnTo>
                  <a:pt x="11544" y="2371"/>
                </a:lnTo>
                <a:lnTo>
                  <a:pt x="11522" y="2344"/>
                </a:lnTo>
                <a:lnTo>
                  <a:pt x="11502" y="2316"/>
                </a:lnTo>
                <a:lnTo>
                  <a:pt x="11481" y="2285"/>
                </a:lnTo>
                <a:lnTo>
                  <a:pt x="11463" y="2251"/>
                </a:lnTo>
                <a:lnTo>
                  <a:pt x="11445" y="2215"/>
                </a:lnTo>
                <a:lnTo>
                  <a:pt x="11430" y="2174"/>
                </a:lnTo>
                <a:lnTo>
                  <a:pt x="11416" y="2131"/>
                </a:lnTo>
                <a:lnTo>
                  <a:pt x="11403" y="2082"/>
                </a:lnTo>
                <a:lnTo>
                  <a:pt x="11392" y="2031"/>
                </a:lnTo>
                <a:lnTo>
                  <a:pt x="11383" y="1975"/>
                </a:lnTo>
                <a:lnTo>
                  <a:pt x="11377" y="1914"/>
                </a:lnTo>
                <a:lnTo>
                  <a:pt x="11370" y="1847"/>
                </a:lnTo>
                <a:lnTo>
                  <a:pt x="11367" y="1775"/>
                </a:lnTo>
                <a:lnTo>
                  <a:pt x="11367" y="1699"/>
                </a:lnTo>
                <a:lnTo>
                  <a:pt x="11367" y="1290"/>
                </a:lnTo>
                <a:lnTo>
                  <a:pt x="11367" y="1290"/>
                </a:lnTo>
                <a:lnTo>
                  <a:pt x="11367" y="1011"/>
                </a:lnTo>
                <a:lnTo>
                  <a:pt x="11367" y="836"/>
                </a:lnTo>
                <a:lnTo>
                  <a:pt x="11369" y="730"/>
                </a:lnTo>
                <a:lnTo>
                  <a:pt x="11374" y="657"/>
                </a:lnTo>
                <a:lnTo>
                  <a:pt x="11374" y="657"/>
                </a:lnTo>
                <a:lnTo>
                  <a:pt x="11377" y="622"/>
                </a:lnTo>
                <a:lnTo>
                  <a:pt x="11380" y="593"/>
                </a:lnTo>
                <a:lnTo>
                  <a:pt x="11388" y="566"/>
                </a:lnTo>
                <a:lnTo>
                  <a:pt x="11392" y="555"/>
                </a:lnTo>
                <a:lnTo>
                  <a:pt x="11397" y="544"/>
                </a:lnTo>
                <a:lnTo>
                  <a:pt x="11403" y="535"/>
                </a:lnTo>
                <a:lnTo>
                  <a:pt x="11410" y="526"/>
                </a:lnTo>
                <a:lnTo>
                  <a:pt x="11417" y="518"/>
                </a:lnTo>
                <a:lnTo>
                  <a:pt x="11427" y="512"/>
                </a:lnTo>
                <a:lnTo>
                  <a:pt x="11438" y="505"/>
                </a:lnTo>
                <a:lnTo>
                  <a:pt x="11449" y="499"/>
                </a:lnTo>
                <a:lnTo>
                  <a:pt x="11461" y="496"/>
                </a:lnTo>
                <a:lnTo>
                  <a:pt x="11477" y="493"/>
                </a:lnTo>
                <a:lnTo>
                  <a:pt x="11477" y="493"/>
                </a:lnTo>
                <a:lnTo>
                  <a:pt x="11502" y="488"/>
                </a:lnTo>
                <a:lnTo>
                  <a:pt x="11520" y="487"/>
                </a:lnTo>
                <a:lnTo>
                  <a:pt x="11553" y="485"/>
                </a:lnTo>
                <a:lnTo>
                  <a:pt x="11553" y="485"/>
                </a:lnTo>
                <a:lnTo>
                  <a:pt x="11558" y="485"/>
                </a:lnTo>
                <a:lnTo>
                  <a:pt x="11563" y="484"/>
                </a:lnTo>
                <a:lnTo>
                  <a:pt x="11570" y="479"/>
                </a:lnTo>
                <a:lnTo>
                  <a:pt x="11577" y="471"/>
                </a:lnTo>
                <a:lnTo>
                  <a:pt x="11578" y="466"/>
                </a:lnTo>
                <a:lnTo>
                  <a:pt x="11580" y="463"/>
                </a:lnTo>
                <a:lnTo>
                  <a:pt x="11580" y="463"/>
                </a:lnTo>
                <a:lnTo>
                  <a:pt x="11578" y="457"/>
                </a:lnTo>
                <a:lnTo>
                  <a:pt x="11577" y="451"/>
                </a:lnTo>
                <a:lnTo>
                  <a:pt x="11572" y="446"/>
                </a:lnTo>
                <a:lnTo>
                  <a:pt x="11567" y="443"/>
                </a:lnTo>
                <a:lnTo>
                  <a:pt x="11559" y="440"/>
                </a:lnTo>
                <a:lnTo>
                  <a:pt x="11550" y="438"/>
                </a:lnTo>
                <a:lnTo>
                  <a:pt x="11528" y="438"/>
                </a:lnTo>
                <a:lnTo>
                  <a:pt x="11528" y="438"/>
                </a:lnTo>
                <a:lnTo>
                  <a:pt x="11445" y="438"/>
                </a:lnTo>
                <a:lnTo>
                  <a:pt x="11350" y="441"/>
                </a:lnTo>
                <a:lnTo>
                  <a:pt x="11222" y="445"/>
                </a:lnTo>
                <a:lnTo>
                  <a:pt x="11222" y="445"/>
                </a:lnTo>
                <a:lnTo>
                  <a:pt x="11088" y="441"/>
                </a:lnTo>
                <a:lnTo>
                  <a:pt x="10980" y="438"/>
                </a:lnTo>
                <a:lnTo>
                  <a:pt x="10871" y="438"/>
                </a:lnTo>
                <a:lnTo>
                  <a:pt x="10871" y="438"/>
                </a:lnTo>
                <a:lnTo>
                  <a:pt x="10849" y="438"/>
                </a:lnTo>
                <a:lnTo>
                  <a:pt x="10840" y="440"/>
                </a:lnTo>
                <a:lnTo>
                  <a:pt x="10833" y="443"/>
                </a:lnTo>
                <a:lnTo>
                  <a:pt x="10829" y="446"/>
                </a:lnTo>
                <a:lnTo>
                  <a:pt x="10826" y="451"/>
                </a:lnTo>
                <a:lnTo>
                  <a:pt x="10824" y="457"/>
                </a:lnTo>
                <a:lnTo>
                  <a:pt x="10822" y="463"/>
                </a:lnTo>
                <a:lnTo>
                  <a:pt x="10822" y="463"/>
                </a:lnTo>
                <a:lnTo>
                  <a:pt x="10824" y="466"/>
                </a:lnTo>
                <a:lnTo>
                  <a:pt x="10826" y="471"/>
                </a:lnTo>
                <a:lnTo>
                  <a:pt x="10830" y="479"/>
                </a:lnTo>
                <a:lnTo>
                  <a:pt x="10840" y="484"/>
                </a:lnTo>
                <a:lnTo>
                  <a:pt x="10844" y="485"/>
                </a:lnTo>
                <a:lnTo>
                  <a:pt x="10849" y="485"/>
                </a:lnTo>
                <a:lnTo>
                  <a:pt x="10849" y="485"/>
                </a:lnTo>
                <a:lnTo>
                  <a:pt x="10900" y="488"/>
                </a:lnTo>
                <a:lnTo>
                  <a:pt x="10952" y="493"/>
                </a:lnTo>
                <a:lnTo>
                  <a:pt x="10952" y="493"/>
                </a:lnTo>
                <a:lnTo>
                  <a:pt x="10969" y="496"/>
                </a:lnTo>
                <a:lnTo>
                  <a:pt x="10985" y="501"/>
                </a:lnTo>
                <a:lnTo>
                  <a:pt x="10999" y="505"/>
                </a:lnTo>
                <a:lnTo>
                  <a:pt x="11011" y="512"/>
                </a:lnTo>
                <a:lnTo>
                  <a:pt x="11022" y="518"/>
                </a:lnTo>
                <a:lnTo>
                  <a:pt x="11033" y="527"/>
                </a:lnTo>
                <a:lnTo>
                  <a:pt x="11041" y="535"/>
                </a:lnTo>
                <a:lnTo>
                  <a:pt x="11049" y="546"/>
                </a:lnTo>
                <a:lnTo>
                  <a:pt x="11054" y="555"/>
                </a:lnTo>
                <a:lnTo>
                  <a:pt x="11060" y="568"/>
                </a:lnTo>
                <a:lnTo>
                  <a:pt x="11064" y="580"/>
                </a:lnTo>
                <a:lnTo>
                  <a:pt x="11068" y="594"/>
                </a:lnTo>
                <a:lnTo>
                  <a:pt x="11072" y="622"/>
                </a:lnTo>
                <a:lnTo>
                  <a:pt x="11077" y="657"/>
                </a:lnTo>
                <a:lnTo>
                  <a:pt x="11077" y="657"/>
                </a:lnTo>
                <a:lnTo>
                  <a:pt x="11080" y="730"/>
                </a:lnTo>
                <a:lnTo>
                  <a:pt x="11083" y="836"/>
                </a:lnTo>
                <a:lnTo>
                  <a:pt x="11083" y="1011"/>
                </a:lnTo>
                <a:lnTo>
                  <a:pt x="11083" y="1290"/>
                </a:lnTo>
                <a:lnTo>
                  <a:pt x="11083" y="1290"/>
                </a:lnTo>
                <a:lnTo>
                  <a:pt x="11083" y="1290"/>
                </a:lnTo>
                <a:close/>
                <a:moveTo>
                  <a:pt x="13513" y="2617"/>
                </a:moveTo>
                <a:lnTo>
                  <a:pt x="13513" y="2617"/>
                </a:lnTo>
                <a:lnTo>
                  <a:pt x="13538" y="2628"/>
                </a:lnTo>
                <a:lnTo>
                  <a:pt x="13563" y="2639"/>
                </a:lnTo>
                <a:lnTo>
                  <a:pt x="13589" y="2648"/>
                </a:lnTo>
                <a:lnTo>
                  <a:pt x="13616" y="2656"/>
                </a:lnTo>
                <a:lnTo>
                  <a:pt x="13644" y="2664"/>
                </a:lnTo>
                <a:lnTo>
                  <a:pt x="13672" y="2670"/>
                </a:lnTo>
                <a:lnTo>
                  <a:pt x="13730" y="2681"/>
                </a:lnTo>
                <a:lnTo>
                  <a:pt x="13788" y="2689"/>
                </a:lnTo>
                <a:lnTo>
                  <a:pt x="13845" y="2694"/>
                </a:lnTo>
                <a:lnTo>
                  <a:pt x="13903" y="2697"/>
                </a:lnTo>
                <a:lnTo>
                  <a:pt x="13958" y="2698"/>
                </a:lnTo>
                <a:lnTo>
                  <a:pt x="13958" y="2698"/>
                </a:lnTo>
                <a:lnTo>
                  <a:pt x="14020" y="2697"/>
                </a:lnTo>
                <a:lnTo>
                  <a:pt x="14084" y="2694"/>
                </a:lnTo>
                <a:lnTo>
                  <a:pt x="14148" y="2687"/>
                </a:lnTo>
                <a:lnTo>
                  <a:pt x="14180" y="2683"/>
                </a:lnTo>
                <a:lnTo>
                  <a:pt x="14212" y="2678"/>
                </a:lnTo>
                <a:lnTo>
                  <a:pt x="14244" y="2672"/>
                </a:lnTo>
                <a:lnTo>
                  <a:pt x="14273" y="2664"/>
                </a:lnTo>
                <a:lnTo>
                  <a:pt x="14304" y="2656"/>
                </a:lnTo>
                <a:lnTo>
                  <a:pt x="14334" y="2647"/>
                </a:lnTo>
                <a:lnTo>
                  <a:pt x="14362" y="2636"/>
                </a:lnTo>
                <a:lnTo>
                  <a:pt x="14389" y="2624"/>
                </a:lnTo>
                <a:lnTo>
                  <a:pt x="14415" y="2611"/>
                </a:lnTo>
                <a:lnTo>
                  <a:pt x="14440" y="2595"/>
                </a:lnTo>
                <a:lnTo>
                  <a:pt x="14440" y="2595"/>
                </a:lnTo>
                <a:lnTo>
                  <a:pt x="14479" y="2569"/>
                </a:lnTo>
                <a:lnTo>
                  <a:pt x="14515" y="2541"/>
                </a:lnTo>
                <a:lnTo>
                  <a:pt x="14548" y="2511"/>
                </a:lnTo>
                <a:lnTo>
                  <a:pt x="14576" y="2482"/>
                </a:lnTo>
                <a:lnTo>
                  <a:pt x="14603" y="2452"/>
                </a:lnTo>
                <a:lnTo>
                  <a:pt x="14626" y="2421"/>
                </a:lnTo>
                <a:lnTo>
                  <a:pt x="14646" y="2388"/>
                </a:lnTo>
                <a:lnTo>
                  <a:pt x="14664" y="2357"/>
                </a:lnTo>
                <a:lnTo>
                  <a:pt x="14679" y="2324"/>
                </a:lnTo>
                <a:lnTo>
                  <a:pt x="14692" y="2291"/>
                </a:lnTo>
                <a:lnTo>
                  <a:pt x="14701" y="2259"/>
                </a:lnTo>
                <a:lnTo>
                  <a:pt x="14710" y="2226"/>
                </a:lnTo>
                <a:lnTo>
                  <a:pt x="14715" y="2193"/>
                </a:lnTo>
                <a:lnTo>
                  <a:pt x="14720" y="2159"/>
                </a:lnTo>
                <a:lnTo>
                  <a:pt x="14723" y="2126"/>
                </a:lnTo>
                <a:lnTo>
                  <a:pt x="14723" y="2093"/>
                </a:lnTo>
                <a:lnTo>
                  <a:pt x="14723" y="2093"/>
                </a:lnTo>
                <a:lnTo>
                  <a:pt x="14721" y="2048"/>
                </a:lnTo>
                <a:lnTo>
                  <a:pt x="14717" y="2001"/>
                </a:lnTo>
                <a:lnTo>
                  <a:pt x="14709" y="1957"/>
                </a:lnTo>
                <a:lnTo>
                  <a:pt x="14698" y="1912"/>
                </a:lnTo>
                <a:lnTo>
                  <a:pt x="14682" y="1869"/>
                </a:lnTo>
                <a:lnTo>
                  <a:pt x="14664" y="1826"/>
                </a:lnTo>
                <a:lnTo>
                  <a:pt x="14642" y="1783"/>
                </a:lnTo>
                <a:lnTo>
                  <a:pt x="14614" y="1741"/>
                </a:lnTo>
                <a:lnTo>
                  <a:pt x="14582" y="1697"/>
                </a:lnTo>
                <a:lnTo>
                  <a:pt x="14546" y="1655"/>
                </a:lnTo>
                <a:lnTo>
                  <a:pt x="14506" y="1611"/>
                </a:lnTo>
                <a:lnTo>
                  <a:pt x="14461" y="1568"/>
                </a:lnTo>
                <a:lnTo>
                  <a:pt x="14411" y="1524"/>
                </a:lnTo>
                <a:lnTo>
                  <a:pt x="14354" y="1479"/>
                </a:lnTo>
                <a:lnTo>
                  <a:pt x="14294" y="1433"/>
                </a:lnTo>
                <a:lnTo>
                  <a:pt x="14228" y="1387"/>
                </a:lnTo>
                <a:lnTo>
                  <a:pt x="14141" y="1326"/>
                </a:lnTo>
                <a:lnTo>
                  <a:pt x="14141" y="1326"/>
                </a:lnTo>
                <a:lnTo>
                  <a:pt x="14086" y="1288"/>
                </a:lnTo>
                <a:lnTo>
                  <a:pt x="14037" y="1254"/>
                </a:lnTo>
                <a:lnTo>
                  <a:pt x="13992" y="1220"/>
                </a:lnTo>
                <a:lnTo>
                  <a:pt x="13952" y="1189"/>
                </a:lnTo>
                <a:lnTo>
                  <a:pt x="13914" y="1157"/>
                </a:lnTo>
                <a:lnTo>
                  <a:pt x="13883" y="1129"/>
                </a:lnTo>
                <a:lnTo>
                  <a:pt x="13855" y="1100"/>
                </a:lnTo>
                <a:lnTo>
                  <a:pt x="13830" y="1072"/>
                </a:lnTo>
                <a:lnTo>
                  <a:pt x="13808" y="1043"/>
                </a:lnTo>
                <a:lnTo>
                  <a:pt x="13791" y="1015"/>
                </a:lnTo>
                <a:lnTo>
                  <a:pt x="13775" y="987"/>
                </a:lnTo>
                <a:lnTo>
                  <a:pt x="13764" y="958"/>
                </a:lnTo>
                <a:lnTo>
                  <a:pt x="13755" y="928"/>
                </a:lnTo>
                <a:lnTo>
                  <a:pt x="13750" y="897"/>
                </a:lnTo>
                <a:lnTo>
                  <a:pt x="13745" y="864"/>
                </a:lnTo>
                <a:lnTo>
                  <a:pt x="13745" y="830"/>
                </a:lnTo>
                <a:lnTo>
                  <a:pt x="13745" y="830"/>
                </a:lnTo>
                <a:lnTo>
                  <a:pt x="13745" y="811"/>
                </a:lnTo>
                <a:lnTo>
                  <a:pt x="13747" y="792"/>
                </a:lnTo>
                <a:lnTo>
                  <a:pt x="13750" y="774"/>
                </a:lnTo>
                <a:lnTo>
                  <a:pt x="13753" y="756"/>
                </a:lnTo>
                <a:lnTo>
                  <a:pt x="13758" y="739"/>
                </a:lnTo>
                <a:lnTo>
                  <a:pt x="13763" y="722"/>
                </a:lnTo>
                <a:lnTo>
                  <a:pt x="13770" y="707"/>
                </a:lnTo>
                <a:lnTo>
                  <a:pt x="13777" y="693"/>
                </a:lnTo>
                <a:lnTo>
                  <a:pt x="13784" y="677"/>
                </a:lnTo>
                <a:lnTo>
                  <a:pt x="13794" y="663"/>
                </a:lnTo>
                <a:lnTo>
                  <a:pt x="13805" y="650"/>
                </a:lnTo>
                <a:lnTo>
                  <a:pt x="13814" y="638"/>
                </a:lnTo>
                <a:lnTo>
                  <a:pt x="13827" y="625"/>
                </a:lnTo>
                <a:lnTo>
                  <a:pt x="13838" y="613"/>
                </a:lnTo>
                <a:lnTo>
                  <a:pt x="13864" y="593"/>
                </a:lnTo>
                <a:lnTo>
                  <a:pt x="13894" y="574"/>
                </a:lnTo>
                <a:lnTo>
                  <a:pt x="13925" y="557"/>
                </a:lnTo>
                <a:lnTo>
                  <a:pt x="13958" y="543"/>
                </a:lnTo>
                <a:lnTo>
                  <a:pt x="13994" y="532"/>
                </a:lnTo>
                <a:lnTo>
                  <a:pt x="14031" y="523"/>
                </a:lnTo>
                <a:lnTo>
                  <a:pt x="14069" y="516"/>
                </a:lnTo>
                <a:lnTo>
                  <a:pt x="14109" y="513"/>
                </a:lnTo>
                <a:lnTo>
                  <a:pt x="14150" y="512"/>
                </a:lnTo>
                <a:lnTo>
                  <a:pt x="14150" y="512"/>
                </a:lnTo>
                <a:lnTo>
                  <a:pt x="14200" y="513"/>
                </a:lnTo>
                <a:lnTo>
                  <a:pt x="14245" y="516"/>
                </a:lnTo>
                <a:lnTo>
                  <a:pt x="14287" y="523"/>
                </a:lnTo>
                <a:lnTo>
                  <a:pt x="14325" y="529"/>
                </a:lnTo>
                <a:lnTo>
                  <a:pt x="14359" y="538"/>
                </a:lnTo>
                <a:lnTo>
                  <a:pt x="14390" y="547"/>
                </a:lnTo>
                <a:lnTo>
                  <a:pt x="14417" y="558"/>
                </a:lnTo>
                <a:lnTo>
                  <a:pt x="14442" y="571"/>
                </a:lnTo>
                <a:lnTo>
                  <a:pt x="14464" y="583"/>
                </a:lnTo>
                <a:lnTo>
                  <a:pt x="14482" y="594"/>
                </a:lnTo>
                <a:lnTo>
                  <a:pt x="14498" y="607"/>
                </a:lnTo>
                <a:lnTo>
                  <a:pt x="14512" y="619"/>
                </a:lnTo>
                <a:lnTo>
                  <a:pt x="14523" y="630"/>
                </a:lnTo>
                <a:lnTo>
                  <a:pt x="14532" y="640"/>
                </a:lnTo>
                <a:lnTo>
                  <a:pt x="14543" y="657"/>
                </a:lnTo>
                <a:lnTo>
                  <a:pt x="14543" y="657"/>
                </a:lnTo>
                <a:lnTo>
                  <a:pt x="14550" y="671"/>
                </a:lnTo>
                <a:lnTo>
                  <a:pt x="14557" y="688"/>
                </a:lnTo>
                <a:lnTo>
                  <a:pt x="14571" y="727"/>
                </a:lnTo>
                <a:lnTo>
                  <a:pt x="14582" y="767"/>
                </a:lnTo>
                <a:lnTo>
                  <a:pt x="14586" y="786"/>
                </a:lnTo>
                <a:lnTo>
                  <a:pt x="14589" y="800"/>
                </a:lnTo>
                <a:lnTo>
                  <a:pt x="14589" y="800"/>
                </a:lnTo>
                <a:lnTo>
                  <a:pt x="14592" y="817"/>
                </a:lnTo>
                <a:lnTo>
                  <a:pt x="14593" y="825"/>
                </a:lnTo>
                <a:lnTo>
                  <a:pt x="14596" y="830"/>
                </a:lnTo>
                <a:lnTo>
                  <a:pt x="14600" y="834"/>
                </a:lnTo>
                <a:lnTo>
                  <a:pt x="14604" y="838"/>
                </a:lnTo>
                <a:lnTo>
                  <a:pt x="14611" y="839"/>
                </a:lnTo>
                <a:lnTo>
                  <a:pt x="14617" y="839"/>
                </a:lnTo>
                <a:lnTo>
                  <a:pt x="14617" y="839"/>
                </a:lnTo>
                <a:lnTo>
                  <a:pt x="14623" y="839"/>
                </a:lnTo>
                <a:lnTo>
                  <a:pt x="14629" y="836"/>
                </a:lnTo>
                <a:lnTo>
                  <a:pt x="14634" y="830"/>
                </a:lnTo>
                <a:lnTo>
                  <a:pt x="14637" y="822"/>
                </a:lnTo>
                <a:lnTo>
                  <a:pt x="14640" y="813"/>
                </a:lnTo>
                <a:lnTo>
                  <a:pt x="14642" y="802"/>
                </a:lnTo>
                <a:lnTo>
                  <a:pt x="14643" y="772"/>
                </a:lnTo>
                <a:lnTo>
                  <a:pt x="14643" y="772"/>
                </a:lnTo>
                <a:lnTo>
                  <a:pt x="14643" y="702"/>
                </a:lnTo>
                <a:lnTo>
                  <a:pt x="14645" y="641"/>
                </a:lnTo>
                <a:lnTo>
                  <a:pt x="14650" y="547"/>
                </a:lnTo>
                <a:lnTo>
                  <a:pt x="14654" y="488"/>
                </a:lnTo>
                <a:lnTo>
                  <a:pt x="14656" y="463"/>
                </a:lnTo>
                <a:lnTo>
                  <a:pt x="14656" y="463"/>
                </a:lnTo>
                <a:lnTo>
                  <a:pt x="14656" y="457"/>
                </a:lnTo>
                <a:lnTo>
                  <a:pt x="14654" y="452"/>
                </a:lnTo>
                <a:lnTo>
                  <a:pt x="14653" y="448"/>
                </a:lnTo>
                <a:lnTo>
                  <a:pt x="14650" y="445"/>
                </a:lnTo>
                <a:lnTo>
                  <a:pt x="14645" y="443"/>
                </a:lnTo>
                <a:lnTo>
                  <a:pt x="14639" y="441"/>
                </a:lnTo>
                <a:lnTo>
                  <a:pt x="14623" y="441"/>
                </a:lnTo>
                <a:lnTo>
                  <a:pt x="14623" y="441"/>
                </a:lnTo>
                <a:lnTo>
                  <a:pt x="14606" y="440"/>
                </a:lnTo>
                <a:lnTo>
                  <a:pt x="14584" y="440"/>
                </a:lnTo>
                <a:lnTo>
                  <a:pt x="14556" y="435"/>
                </a:lnTo>
                <a:lnTo>
                  <a:pt x="14517" y="427"/>
                </a:lnTo>
                <a:lnTo>
                  <a:pt x="14517" y="427"/>
                </a:lnTo>
                <a:lnTo>
                  <a:pt x="14454" y="415"/>
                </a:lnTo>
                <a:lnTo>
                  <a:pt x="14417" y="410"/>
                </a:lnTo>
                <a:lnTo>
                  <a:pt x="14378" y="404"/>
                </a:lnTo>
                <a:lnTo>
                  <a:pt x="14336" y="399"/>
                </a:lnTo>
                <a:lnTo>
                  <a:pt x="14292" y="396"/>
                </a:lnTo>
                <a:lnTo>
                  <a:pt x="14248" y="393"/>
                </a:lnTo>
                <a:lnTo>
                  <a:pt x="14201" y="393"/>
                </a:lnTo>
                <a:lnTo>
                  <a:pt x="14201" y="393"/>
                </a:lnTo>
                <a:lnTo>
                  <a:pt x="14164" y="393"/>
                </a:lnTo>
                <a:lnTo>
                  <a:pt x="14128" y="395"/>
                </a:lnTo>
                <a:lnTo>
                  <a:pt x="14092" y="398"/>
                </a:lnTo>
                <a:lnTo>
                  <a:pt x="14058" y="402"/>
                </a:lnTo>
                <a:lnTo>
                  <a:pt x="14023" y="407"/>
                </a:lnTo>
                <a:lnTo>
                  <a:pt x="13991" y="413"/>
                </a:lnTo>
                <a:lnTo>
                  <a:pt x="13958" y="421"/>
                </a:lnTo>
                <a:lnTo>
                  <a:pt x="13927" y="430"/>
                </a:lnTo>
                <a:lnTo>
                  <a:pt x="13897" y="440"/>
                </a:lnTo>
                <a:lnTo>
                  <a:pt x="13867" y="451"/>
                </a:lnTo>
                <a:lnTo>
                  <a:pt x="13839" y="463"/>
                </a:lnTo>
                <a:lnTo>
                  <a:pt x="13813" y="477"/>
                </a:lnTo>
                <a:lnTo>
                  <a:pt x="13786" y="491"/>
                </a:lnTo>
                <a:lnTo>
                  <a:pt x="13761" y="507"/>
                </a:lnTo>
                <a:lnTo>
                  <a:pt x="13738" y="523"/>
                </a:lnTo>
                <a:lnTo>
                  <a:pt x="13714" y="540"/>
                </a:lnTo>
                <a:lnTo>
                  <a:pt x="13694" y="558"/>
                </a:lnTo>
                <a:lnTo>
                  <a:pt x="13674" y="577"/>
                </a:lnTo>
                <a:lnTo>
                  <a:pt x="13653" y="597"/>
                </a:lnTo>
                <a:lnTo>
                  <a:pt x="13636" y="619"/>
                </a:lnTo>
                <a:lnTo>
                  <a:pt x="13619" y="641"/>
                </a:lnTo>
                <a:lnTo>
                  <a:pt x="13605" y="664"/>
                </a:lnTo>
                <a:lnTo>
                  <a:pt x="13591" y="689"/>
                </a:lnTo>
                <a:lnTo>
                  <a:pt x="13578" y="714"/>
                </a:lnTo>
                <a:lnTo>
                  <a:pt x="13566" y="739"/>
                </a:lnTo>
                <a:lnTo>
                  <a:pt x="13557" y="767"/>
                </a:lnTo>
                <a:lnTo>
                  <a:pt x="13549" y="794"/>
                </a:lnTo>
                <a:lnTo>
                  <a:pt x="13541" y="824"/>
                </a:lnTo>
                <a:lnTo>
                  <a:pt x="13536" y="853"/>
                </a:lnTo>
                <a:lnTo>
                  <a:pt x="13533" y="883"/>
                </a:lnTo>
                <a:lnTo>
                  <a:pt x="13530" y="914"/>
                </a:lnTo>
                <a:lnTo>
                  <a:pt x="13530" y="945"/>
                </a:lnTo>
                <a:lnTo>
                  <a:pt x="13530" y="945"/>
                </a:lnTo>
                <a:lnTo>
                  <a:pt x="13530" y="984"/>
                </a:lnTo>
                <a:lnTo>
                  <a:pt x="13535" y="1022"/>
                </a:lnTo>
                <a:lnTo>
                  <a:pt x="13541" y="1059"/>
                </a:lnTo>
                <a:lnTo>
                  <a:pt x="13550" y="1097"/>
                </a:lnTo>
                <a:lnTo>
                  <a:pt x="13564" y="1132"/>
                </a:lnTo>
                <a:lnTo>
                  <a:pt x="13580" y="1170"/>
                </a:lnTo>
                <a:lnTo>
                  <a:pt x="13600" y="1207"/>
                </a:lnTo>
                <a:lnTo>
                  <a:pt x="13624" y="1245"/>
                </a:lnTo>
                <a:lnTo>
                  <a:pt x="13650" y="1284"/>
                </a:lnTo>
                <a:lnTo>
                  <a:pt x="13681" y="1323"/>
                </a:lnTo>
                <a:lnTo>
                  <a:pt x="13717" y="1362"/>
                </a:lnTo>
                <a:lnTo>
                  <a:pt x="13758" y="1402"/>
                </a:lnTo>
                <a:lnTo>
                  <a:pt x="13802" y="1443"/>
                </a:lnTo>
                <a:lnTo>
                  <a:pt x="13850" y="1486"/>
                </a:lnTo>
                <a:lnTo>
                  <a:pt x="13905" y="1530"/>
                </a:lnTo>
                <a:lnTo>
                  <a:pt x="13964" y="1575"/>
                </a:lnTo>
                <a:lnTo>
                  <a:pt x="14101" y="1678"/>
                </a:lnTo>
                <a:lnTo>
                  <a:pt x="14101" y="1678"/>
                </a:lnTo>
                <a:lnTo>
                  <a:pt x="14197" y="1750"/>
                </a:lnTo>
                <a:lnTo>
                  <a:pt x="14237" y="1783"/>
                </a:lnTo>
                <a:lnTo>
                  <a:pt x="14276" y="1814"/>
                </a:lnTo>
                <a:lnTo>
                  <a:pt x="14311" y="1844"/>
                </a:lnTo>
                <a:lnTo>
                  <a:pt x="14342" y="1873"/>
                </a:lnTo>
                <a:lnTo>
                  <a:pt x="14370" y="1903"/>
                </a:lnTo>
                <a:lnTo>
                  <a:pt x="14395" y="1931"/>
                </a:lnTo>
                <a:lnTo>
                  <a:pt x="14417" y="1959"/>
                </a:lnTo>
                <a:lnTo>
                  <a:pt x="14436" y="1989"/>
                </a:lnTo>
                <a:lnTo>
                  <a:pt x="14451" y="2020"/>
                </a:lnTo>
                <a:lnTo>
                  <a:pt x="14464" y="2050"/>
                </a:lnTo>
                <a:lnTo>
                  <a:pt x="14473" y="2082"/>
                </a:lnTo>
                <a:lnTo>
                  <a:pt x="14479" y="2117"/>
                </a:lnTo>
                <a:lnTo>
                  <a:pt x="14484" y="2152"/>
                </a:lnTo>
                <a:lnTo>
                  <a:pt x="14486" y="2190"/>
                </a:lnTo>
                <a:lnTo>
                  <a:pt x="14486" y="2190"/>
                </a:lnTo>
                <a:lnTo>
                  <a:pt x="14484" y="2230"/>
                </a:lnTo>
                <a:lnTo>
                  <a:pt x="14481" y="2251"/>
                </a:lnTo>
                <a:lnTo>
                  <a:pt x="14478" y="2271"/>
                </a:lnTo>
                <a:lnTo>
                  <a:pt x="14473" y="2290"/>
                </a:lnTo>
                <a:lnTo>
                  <a:pt x="14468" y="2308"/>
                </a:lnTo>
                <a:lnTo>
                  <a:pt x="14462" y="2327"/>
                </a:lnTo>
                <a:lnTo>
                  <a:pt x="14456" y="2344"/>
                </a:lnTo>
                <a:lnTo>
                  <a:pt x="14448" y="2361"/>
                </a:lnTo>
                <a:lnTo>
                  <a:pt x="14440" y="2379"/>
                </a:lnTo>
                <a:lnTo>
                  <a:pt x="14431" y="2396"/>
                </a:lnTo>
                <a:lnTo>
                  <a:pt x="14420" y="2411"/>
                </a:lnTo>
                <a:lnTo>
                  <a:pt x="14409" y="2425"/>
                </a:lnTo>
                <a:lnTo>
                  <a:pt x="14397" y="2441"/>
                </a:lnTo>
                <a:lnTo>
                  <a:pt x="14384" y="2455"/>
                </a:lnTo>
                <a:lnTo>
                  <a:pt x="14370" y="2468"/>
                </a:lnTo>
                <a:lnTo>
                  <a:pt x="14356" y="2480"/>
                </a:lnTo>
                <a:lnTo>
                  <a:pt x="14339" y="2492"/>
                </a:lnTo>
                <a:lnTo>
                  <a:pt x="14323" y="2503"/>
                </a:lnTo>
                <a:lnTo>
                  <a:pt x="14306" y="2514"/>
                </a:lnTo>
                <a:lnTo>
                  <a:pt x="14287" y="2525"/>
                </a:lnTo>
                <a:lnTo>
                  <a:pt x="14269" y="2533"/>
                </a:lnTo>
                <a:lnTo>
                  <a:pt x="14248" y="2542"/>
                </a:lnTo>
                <a:lnTo>
                  <a:pt x="14226" y="2550"/>
                </a:lnTo>
                <a:lnTo>
                  <a:pt x="14205" y="2556"/>
                </a:lnTo>
                <a:lnTo>
                  <a:pt x="14183" y="2563"/>
                </a:lnTo>
                <a:lnTo>
                  <a:pt x="14159" y="2567"/>
                </a:lnTo>
                <a:lnTo>
                  <a:pt x="14134" y="2572"/>
                </a:lnTo>
                <a:lnTo>
                  <a:pt x="14109" y="2575"/>
                </a:lnTo>
                <a:lnTo>
                  <a:pt x="14083" y="2577"/>
                </a:lnTo>
                <a:lnTo>
                  <a:pt x="14056" y="2578"/>
                </a:lnTo>
                <a:lnTo>
                  <a:pt x="14028" y="2580"/>
                </a:lnTo>
                <a:lnTo>
                  <a:pt x="14028" y="2580"/>
                </a:lnTo>
                <a:lnTo>
                  <a:pt x="13989" y="2578"/>
                </a:lnTo>
                <a:lnTo>
                  <a:pt x="13952" y="2575"/>
                </a:lnTo>
                <a:lnTo>
                  <a:pt x="13913" y="2570"/>
                </a:lnTo>
                <a:lnTo>
                  <a:pt x="13875" y="2564"/>
                </a:lnTo>
                <a:lnTo>
                  <a:pt x="13836" y="2555"/>
                </a:lnTo>
                <a:lnTo>
                  <a:pt x="13800" y="2544"/>
                </a:lnTo>
                <a:lnTo>
                  <a:pt x="13764" y="2531"/>
                </a:lnTo>
                <a:lnTo>
                  <a:pt x="13730" y="2516"/>
                </a:lnTo>
                <a:lnTo>
                  <a:pt x="13699" y="2497"/>
                </a:lnTo>
                <a:lnTo>
                  <a:pt x="13667" y="2477"/>
                </a:lnTo>
                <a:lnTo>
                  <a:pt x="13653" y="2464"/>
                </a:lnTo>
                <a:lnTo>
                  <a:pt x="13641" y="2452"/>
                </a:lnTo>
                <a:lnTo>
                  <a:pt x="13627" y="2439"/>
                </a:lnTo>
                <a:lnTo>
                  <a:pt x="13616" y="2425"/>
                </a:lnTo>
                <a:lnTo>
                  <a:pt x="13603" y="2411"/>
                </a:lnTo>
                <a:lnTo>
                  <a:pt x="13594" y="2397"/>
                </a:lnTo>
                <a:lnTo>
                  <a:pt x="13583" y="2380"/>
                </a:lnTo>
                <a:lnTo>
                  <a:pt x="13575" y="2365"/>
                </a:lnTo>
                <a:lnTo>
                  <a:pt x="13567" y="2347"/>
                </a:lnTo>
                <a:lnTo>
                  <a:pt x="13560" y="2329"/>
                </a:lnTo>
                <a:lnTo>
                  <a:pt x="13553" y="2310"/>
                </a:lnTo>
                <a:lnTo>
                  <a:pt x="13549" y="2290"/>
                </a:lnTo>
                <a:lnTo>
                  <a:pt x="13549" y="2290"/>
                </a:lnTo>
                <a:lnTo>
                  <a:pt x="13542" y="2259"/>
                </a:lnTo>
                <a:lnTo>
                  <a:pt x="13541" y="2229"/>
                </a:lnTo>
                <a:lnTo>
                  <a:pt x="13539" y="2204"/>
                </a:lnTo>
                <a:lnTo>
                  <a:pt x="13539" y="2184"/>
                </a:lnTo>
                <a:lnTo>
                  <a:pt x="13539" y="2184"/>
                </a:lnTo>
                <a:lnTo>
                  <a:pt x="13538" y="2174"/>
                </a:lnTo>
                <a:lnTo>
                  <a:pt x="13538" y="2168"/>
                </a:lnTo>
                <a:lnTo>
                  <a:pt x="13535" y="2162"/>
                </a:lnTo>
                <a:lnTo>
                  <a:pt x="13532" y="2157"/>
                </a:lnTo>
                <a:lnTo>
                  <a:pt x="13527" y="2152"/>
                </a:lnTo>
                <a:lnTo>
                  <a:pt x="13522" y="2151"/>
                </a:lnTo>
                <a:lnTo>
                  <a:pt x="13517" y="2149"/>
                </a:lnTo>
                <a:lnTo>
                  <a:pt x="13510" y="2148"/>
                </a:lnTo>
                <a:lnTo>
                  <a:pt x="13510" y="2148"/>
                </a:lnTo>
                <a:lnTo>
                  <a:pt x="13505" y="2149"/>
                </a:lnTo>
                <a:lnTo>
                  <a:pt x="13500" y="2151"/>
                </a:lnTo>
                <a:lnTo>
                  <a:pt x="13496" y="2156"/>
                </a:lnTo>
                <a:lnTo>
                  <a:pt x="13493" y="2160"/>
                </a:lnTo>
                <a:lnTo>
                  <a:pt x="13491" y="2167"/>
                </a:lnTo>
                <a:lnTo>
                  <a:pt x="13489" y="2176"/>
                </a:lnTo>
                <a:lnTo>
                  <a:pt x="13488" y="2196"/>
                </a:lnTo>
                <a:lnTo>
                  <a:pt x="13488" y="2196"/>
                </a:lnTo>
                <a:lnTo>
                  <a:pt x="13477" y="2316"/>
                </a:lnTo>
                <a:lnTo>
                  <a:pt x="13471" y="2405"/>
                </a:lnTo>
                <a:lnTo>
                  <a:pt x="13469" y="2455"/>
                </a:lnTo>
                <a:lnTo>
                  <a:pt x="13468" y="2508"/>
                </a:lnTo>
                <a:lnTo>
                  <a:pt x="13468" y="2508"/>
                </a:lnTo>
                <a:lnTo>
                  <a:pt x="13469" y="2536"/>
                </a:lnTo>
                <a:lnTo>
                  <a:pt x="13469" y="2556"/>
                </a:lnTo>
                <a:lnTo>
                  <a:pt x="13471" y="2574"/>
                </a:lnTo>
                <a:lnTo>
                  <a:pt x="13475" y="2586"/>
                </a:lnTo>
                <a:lnTo>
                  <a:pt x="13480" y="2595"/>
                </a:lnTo>
                <a:lnTo>
                  <a:pt x="13488" y="2603"/>
                </a:lnTo>
                <a:lnTo>
                  <a:pt x="13499" y="2611"/>
                </a:lnTo>
                <a:lnTo>
                  <a:pt x="13513" y="2617"/>
                </a:lnTo>
                <a:lnTo>
                  <a:pt x="13513" y="2617"/>
                </a:lnTo>
                <a:lnTo>
                  <a:pt x="13513" y="2617"/>
                </a:lnTo>
                <a:close/>
                <a:moveTo>
                  <a:pt x="3415" y="3862"/>
                </a:moveTo>
                <a:lnTo>
                  <a:pt x="3415" y="3862"/>
                </a:lnTo>
                <a:lnTo>
                  <a:pt x="3502" y="3862"/>
                </a:lnTo>
                <a:lnTo>
                  <a:pt x="3366" y="3207"/>
                </a:lnTo>
                <a:lnTo>
                  <a:pt x="3327" y="3207"/>
                </a:lnTo>
                <a:lnTo>
                  <a:pt x="3184" y="3686"/>
                </a:lnTo>
                <a:lnTo>
                  <a:pt x="3026" y="3207"/>
                </a:lnTo>
                <a:lnTo>
                  <a:pt x="2984" y="3207"/>
                </a:lnTo>
                <a:lnTo>
                  <a:pt x="2861" y="3862"/>
                </a:lnTo>
                <a:lnTo>
                  <a:pt x="2948" y="3862"/>
                </a:lnTo>
                <a:lnTo>
                  <a:pt x="3021" y="3441"/>
                </a:lnTo>
                <a:lnTo>
                  <a:pt x="3170" y="3873"/>
                </a:lnTo>
                <a:lnTo>
                  <a:pt x="3193" y="3873"/>
                </a:lnTo>
                <a:lnTo>
                  <a:pt x="3337" y="3441"/>
                </a:lnTo>
                <a:lnTo>
                  <a:pt x="3415" y="3862"/>
                </a:lnTo>
                <a:lnTo>
                  <a:pt x="3415" y="3862"/>
                </a:lnTo>
                <a:lnTo>
                  <a:pt x="3415" y="3862"/>
                </a:lnTo>
                <a:close/>
                <a:moveTo>
                  <a:pt x="4242" y="3368"/>
                </a:moveTo>
                <a:lnTo>
                  <a:pt x="4242" y="3368"/>
                </a:lnTo>
                <a:lnTo>
                  <a:pt x="4242" y="3368"/>
                </a:lnTo>
                <a:lnTo>
                  <a:pt x="4335" y="3659"/>
                </a:lnTo>
                <a:lnTo>
                  <a:pt x="4143" y="3659"/>
                </a:lnTo>
                <a:lnTo>
                  <a:pt x="4242" y="3368"/>
                </a:lnTo>
                <a:lnTo>
                  <a:pt x="4242" y="3368"/>
                </a:lnTo>
                <a:lnTo>
                  <a:pt x="4242" y="3368"/>
                </a:lnTo>
                <a:close/>
                <a:moveTo>
                  <a:pt x="4406" y="3862"/>
                </a:moveTo>
                <a:lnTo>
                  <a:pt x="4406" y="3862"/>
                </a:lnTo>
                <a:lnTo>
                  <a:pt x="4506" y="3862"/>
                </a:lnTo>
                <a:lnTo>
                  <a:pt x="4258" y="3198"/>
                </a:lnTo>
                <a:lnTo>
                  <a:pt x="4235" y="3198"/>
                </a:lnTo>
                <a:lnTo>
                  <a:pt x="3968" y="3862"/>
                </a:lnTo>
                <a:lnTo>
                  <a:pt x="4068" y="3862"/>
                </a:lnTo>
                <a:lnTo>
                  <a:pt x="4116" y="3725"/>
                </a:lnTo>
                <a:lnTo>
                  <a:pt x="4361" y="3725"/>
                </a:lnTo>
                <a:lnTo>
                  <a:pt x="4406" y="3862"/>
                </a:lnTo>
                <a:lnTo>
                  <a:pt x="4406" y="3862"/>
                </a:lnTo>
                <a:lnTo>
                  <a:pt x="4406" y="3862"/>
                </a:lnTo>
                <a:close/>
                <a:moveTo>
                  <a:pt x="5462" y="3873"/>
                </a:moveTo>
                <a:lnTo>
                  <a:pt x="5462" y="3873"/>
                </a:lnTo>
                <a:lnTo>
                  <a:pt x="5487" y="3873"/>
                </a:lnTo>
                <a:lnTo>
                  <a:pt x="5487" y="3207"/>
                </a:lnTo>
                <a:lnTo>
                  <a:pt x="5404" y="3207"/>
                </a:lnTo>
                <a:lnTo>
                  <a:pt x="5404" y="3659"/>
                </a:lnTo>
                <a:lnTo>
                  <a:pt x="5072" y="3207"/>
                </a:lnTo>
                <a:lnTo>
                  <a:pt x="5037" y="3207"/>
                </a:lnTo>
                <a:lnTo>
                  <a:pt x="5037" y="3862"/>
                </a:lnTo>
                <a:lnTo>
                  <a:pt x="5120" y="3862"/>
                </a:lnTo>
                <a:lnTo>
                  <a:pt x="5120" y="3389"/>
                </a:lnTo>
                <a:lnTo>
                  <a:pt x="5462" y="3873"/>
                </a:lnTo>
                <a:lnTo>
                  <a:pt x="5462" y="3873"/>
                </a:lnTo>
                <a:lnTo>
                  <a:pt x="5462" y="3873"/>
                </a:lnTo>
                <a:close/>
                <a:moveTo>
                  <a:pt x="6291" y="3368"/>
                </a:moveTo>
                <a:lnTo>
                  <a:pt x="6291" y="3368"/>
                </a:lnTo>
                <a:lnTo>
                  <a:pt x="6291" y="3368"/>
                </a:lnTo>
                <a:lnTo>
                  <a:pt x="6385" y="3659"/>
                </a:lnTo>
                <a:lnTo>
                  <a:pt x="6188" y="3659"/>
                </a:lnTo>
                <a:lnTo>
                  <a:pt x="6291" y="3368"/>
                </a:lnTo>
                <a:lnTo>
                  <a:pt x="6291" y="3368"/>
                </a:lnTo>
                <a:lnTo>
                  <a:pt x="6291" y="3368"/>
                </a:lnTo>
                <a:close/>
                <a:moveTo>
                  <a:pt x="6457" y="3862"/>
                </a:moveTo>
                <a:lnTo>
                  <a:pt x="6457" y="3862"/>
                </a:lnTo>
                <a:lnTo>
                  <a:pt x="6555" y="3862"/>
                </a:lnTo>
                <a:lnTo>
                  <a:pt x="6308" y="3198"/>
                </a:lnTo>
                <a:lnTo>
                  <a:pt x="6285" y="3198"/>
                </a:lnTo>
                <a:lnTo>
                  <a:pt x="6018" y="3862"/>
                </a:lnTo>
                <a:lnTo>
                  <a:pt x="6118" y="3862"/>
                </a:lnTo>
                <a:lnTo>
                  <a:pt x="6166" y="3725"/>
                </a:lnTo>
                <a:lnTo>
                  <a:pt x="6411" y="3725"/>
                </a:lnTo>
                <a:lnTo>
                  <a:pt x="6457" y="3862"/>
                </a:lnTo>
                <a:lnTo>
                  <a:pt x="6457" y="3862"/>
                </a:lnTo>
                <a:lnTo>
                  <a:pt x="6457" y="3862"/>
                </a:lnTo>
                <a:close/>
                <a:moveTo>
                  <a:pt x="7540" y="3252"/>
                </a:moveTo>
                <a:lnTo>
                  <a:pt x="7540" y="3252"/>
                </a:lnTo>
                <a:lnTo>
                  <a:pt x="7525" y="3238"/>
                </a:lnTo>
                <a:lnTo>
                  <a:pt x="7506" y="3226"/>
                </a:lnTo>
                <a:lnTo>
                  <a:pt x="7487" y="3216"/>
                </a:lnTo>
                <a:lnTo>
                  <a:pt x="7467" y="3208"/>
                </a:lnTo>
                <a:lnTo>
                  <a:pt x="7445" y="3202"/>
                </a:lnTo>
                <a:lnTo>
                  <a:pt x="7422" y="3198"/>
                </a:lnTo>
                <a:lnTo>
                  <a:pt x="7398" y="3194"/>
                </a:lnTo>
                <a:lnTo>
                  <a:pt x="7373" y="3193"/>
                </a:lnTo>
                <a:lnTo>
                  <a:pt x="7373" y="3193"/>
                </a:lnTo>
                <a:lnTo>
                  <a:pt x="7337" y="3194"/>
                </a:lnTo>
                <a:lnTo>
                  <a:pt x="7304" y="3199"/>
                </a:lnTo>
                <a:lnTo>
                  <a:pt x="7272" y="3207"/>
                </a:lnTo>
                <a:lnTo>
                  <a:pt x="7242" y="3218"/>
                </a:lnTo>
                <a:lnTo>
                  <a:pt x="7214" y="3232"/>
                </a:lnTo>
                <a:lnTo>
                  <a:pt x="7187" y="3247"/>
                </a:lnTo>
                <a:lnTo>
                  <a:pt x="7175" y="3257"/>
                </a:lnTo>
                <a:lnTo>
                  <a:pt x="7162" y="3268"/>
                </a:lnTo>
                <a:lnTo>
                  <a:pt x="7151" y="3279"/>
                </a:lnTo>
                <a:lnTo>
                  <a:pt x="7142" y="3290"/>
                </a:lnTo>
                <a:lnTo>
                  <a:pt x="7142" y="3290"/>
                </a:lnTo>
                <a:lnTo>
                  <a:pt x="7120" y="3314"/>
                </a:lnTo>
                <a:lnTo>
                  <a:pt x="7103" y="3339"/>
                </a:lnTo>
                <a:lnTo>
                  <a:pt x="7089" y="3368"/>
                </a:lnTo>
                <a:lnTo>
                  <a:pt x="7076" y="3399"/>
                </a:lnTo>
                <a:lnTo>
                  <a:pt x="7067" y="3430"/>
                </a:lnTo>
                <a:lnTo>
                  <a:pt x="7059" y="3464"/>
                </a:lnTo>
                <a:lnTo>
                  <a:pt x="7056" y="3500"/>
                </a:lnTo>
                <a:lnTo>
                  <a:pt x="7055" y="3538"/>
                </a:lnTo>
                <a:lnTo>
                  <a:pt x="7055" y="3538"/>
                </a:lnTo>
                <a:lnTo>
                  <a:pt x="7056" y="3575"/>
                </a:lnTo>
                <a:lnTo>
                  <a:pt x="7059" y="3609"/>
                </a:lnTo>
                <a:lnTo>
                  <a:pt x="7066" y="3642"/>
                </a:lnTo>
                <a:lnTo>
                  <a:pt x="7073" y="3675"/>
                </a:lnTo>
                <a:lnTo>
                  <a:pt x="7084" y="3704"/>
                </a:lnTo>
                <a:lnTo>
                  <a:pt x="7098" y="3733"/>
                </a:lnTo>
                <a:lnTo>
                  <a:pt x="7114" y="3757"/>
                </a:lnTo>
                <a:lnTo>
                  <a:pt x="7131" y="3782"/>
                </a:lnTo>
                <a:lnTo>
                  <a:pt x="7131" y="3782"/>
                </a:lnTo>
                <a:lnTo>
                  <a:pt x="7151" y="3804"/>
                </a:lnTo>
                <a:lnTo>
                  <a:pt x="7175" y="3823"/>
                </a:lnTo>
                <a:lnTo>
                  <a:pt x="7198" y="3839"/>
                </a:lnTo>
                <a:lnTo>
                  <a:pt x="7225" y="3851"/>
                </a:lnTo>
                <a:lnTo>
                  <a:pt x="7253" y="3862"/>
                </a:lnTo>
                <a:lnTo>
                  <a:pt x="7283" y="3870"/>
                </a:lnTo>
                <a:lnTo>
                  <a:pt x="7314" y="3874"/>
                </a:lnTo>
                <a:lnTo>
                  <a:pt x="7347" y="3876"/>
                </a:lnTo>
                <a:lnTo>
                  <a:pt x="7347" y="3876"/>
                </a:lnTo>
                <a:lnTo>
                  <a:pt x="7376" y="3874"/>
                </a:lnTo>
                <a:lnTo>
                  <a:pt x="7408" y="3870"/>
                </a:lnTo>
                <a:lnTo>
                  <a:pt x="7440" y="3865"/>
                </a:lnTo>
                <a:lnTo>
                  <a:pt x="7473" y="3856"/>
                </a:lnTo>
                <a:lnTo>
                  <a:pt x="7473" y="3856"/>
                </a:lnTo>
                <a:lnTo>
                  <a:pt x="7503" y="3846"/>
                </a:lnTo>
                <a:lnTo>
                  <a:pt x="7529" y="3834"/>
                </a:lnTo>
                <a:lnTo>
                  <a:pt x="7553" y="3820"/>
                </a:lnTo>
                <a:lnTo>
                  <a:pt x="7573" y="3804"/>
                </a:lnTo>
                <a:lnTo>
                  <a:pt x="7573" y="3519"/>
                </a:lnTo>
                <a:lnTo>
                  <a:pt x="7389" y="3519"/>
                </a:lnTo>
                <a:lnTo>
                  <a:pt x="7389" y="3595"/>
                </a:lnTo>
                <a:lnTo>
                  <a:pt x="7482" y="3595"/>
                </a:lnTo>
                <a:lnTo>
                  <a:pt x="7482" y="3750"/>
                </a:lnTo>
                <a:lnTo>
                  <a:pt x="7482" y="3750"/>
                </a:lnTo>
                <a:lnTo>
                  <a:pt x="7472" y="3761"/>
                </a:lnTo>
                <a:lnTo>
                  <a:pt x="7459" y="3768"/>
                </a:lnTo>
                <a:lnTo>
                  <a:pt x="7445" y="3776"/>
                </a:lnTo>
                <a:lnTo>
                  <a:pt x="7431" y="3782"/>
                </a:lnTo>
                <a:lnTo>
                  <a:pt x="7415" y="3786"/>
                </a:lnTo>
                <a:lnTo>
                  <a:pt x="7400" y="3789"/>
                </a:lnTo>
                <a:lnTo>
                  <a:pt x="7384" y="3792"/>
                </a:lnTo>
                <a:lnTo>
                  <a:pt x="7367" y="3792"/>
                </a:lnTo>
                <a:lnTo>
                  <a:pt x="7367" y="3792"/>
                </a:lnTo>
                <a:lnTo>
                  <a:pt x="7342" y="3790"/>
                </a:lnTo>
                <a:lnTo>
                  <a:pt x="7319" y="3787"/>
                </a:lnTo>
                <a:lnTo>
                  <a:pt x="7297" y="3782"/>
                </a:lnTo>
                <a:lnTo>
                  <a:pt x="7275" y="3775"/>
                </a:lnTo>
                <a:lnTo>
                  <a:pt x="7256" y="3765"/>
                </a:lnTo>
                <a:lnTo>
                  <a:pt x="7237" y="3754"/>
                </a:lnTo>
                <a:lnTo>
                  <a:pt x="7220" y="3740"/>
                </a:lnTo>
                <a:lnTo>
                  <a:pt x="7206" y="3725"/>
                </a:lnTo>
                <a:lnTo>
                  <a:pt x="7206" y="3725"/>
                </a:lnTo>
                <a:lnTo>
                  <a:pt x="7192" y="3706"/>
                </a:lnTo>
                <a:lnTo>
                  <a:pt x="7181" y="3686"/>
                </a:lnTo>
                <a:lnTo>
                  <a:pt x="7170" y="3664"/>
                </a:lnTo>
                <a:lnTo>
                  <a:pt x="7162" y="3642"/>
                </a:lnTo>
                <a:lnTo>
                  <a:pt x="7156" y="3619"/>
                </a:lnTo>
                <a:lnTo>
                  <a:pt x="7151" y="3594"/>
                </a:lnTo>
                <a:lnTo>
                  <a:pt x="7148" y="3569"/>
                </a:lnTo>
                <a:lnTo>
                  <a:pt x="7148" y="3541"/>
                </a:lnTo>
                <a:lnTo>
                  <a:pt x="7148" y="3541"/>
                </a:lnTo>
                <a:lnTo>
                  <a:pt x="7148" y="3511"/>
                </a:lnTo>
                <a:lnTo>
                  <a:pt x="7151" y="3483"/>
                </a:lnTo>
                <a:lnTo>
                  <a:pt x="7156" y="3458"/>
                </a:lnTo>
                <a:lnTo>
                  <a:pt x="7162" y="3433"/>
                </a:lnTo>
                <a:lnTo>
                  <a:pt x="7172" y="3410"/>
                </a:lnTo>
                <a:lnTo>
                  <a:pt x="7181" y="3388"/>
                </a:lnTo>
                <a:lnTo>
                  <a:pt x="7194" y="3368"/>
                </a:lnTo>
                <a:lnTo>
                  <a:pt x="7209" y="3347"/>
                </a:lnTo>
                <a:lnTo>
                  <a:pt x="7209" y="3347"/>
                </a:lnTo>
                <a:lnTo>
                  <a:pt x="7225" y="3332"/>
                </a:lnTo>
                <a:lnTo>
                  <a:pt x="7240" y="3316"/>
                </a:lnTo>
                <a:lnTo>
                  <a:pt x="7259" y="3304"/>
                </a:lnTo>
                <a:lnTo>
                  <a:pt x="7278" y="3293"/>
                </a:lnTo>
                <a:lnTo>
                  <a:pt x="7300" y="3285"/>
                </a:lnTo>
                <a:lnTo>
                  <a:pt x="7322" y="3279"/>
                </a:lnTo>
                <a:lnTo>
                  <a:pt x="7345" y="3275"/>
                </a:lnTo>
                <a:lnTo>
                  <a:pt x="7370" y="3274"/>
                </a:lnTo>
                <a:lnTo>
                  <a:pt x="7370" y="3274"/>
                </a:lnTo>
                <a:lnTo>
                  <a:pt x="7387" y="3275"/>
                </a:lnTo>
                <a:lnTo>
                  <a:pt x="7403" y="3277"/>
                </a:lnTo>
                <a:lnTo>
                  <a:pt x="7420" y="3280"/>
                </a:lnTo>
                <a:lnTo>
                  <a:pt x="7436" y="3286"/>
                </a:lnTo>
                <a:lnTo>
                  <a:pt x="7453" y="3294"/>
                </a:lnTo>
                <a:lnTo>
                  <a:pt x="7468" y="3302"/>
                </a:lnTo>
                <a:lnTo>
                  <a:pt x="7486" y="3313"/>
                </a:lnTo>
                <a:lnTo>
                  <a:pt x="7501" y="3325"/>
                </a:lnTo>
                <a:lnTo>
                  <a:pt x="7540" y="3252"/>
                </a:lnTo>
                <a:lnTo>
                  <a:pt x="7540" y="3252"/>
                </a:lnTo>
                <a:lnTo>
                  <a:pt x="7540" y="3252"/>
                </a:lnTo>
                <a:close/>
                <a:moveTo>
                  <a:pt x="8259" y="3286"/>
                </a:moveTo>
                <a:lnTo>
                  <a:pt x="8259" y="3286"/>
                </a:lnTo>
                <a:lnTo>
                  <a:pt x="8554" y="3286"/>
                </a:lnTo>
                <a:lnTo>
                  <a:pt x="8554" y="3207"/>
                </a:lnTo>
                <a:lnTo>
                  <a:pt x="8168" y="3207"/>
                </a:lnTo>
                <a:lnTo>
                  <a:pt x="8168" y="3862"/>
                </a:lnTo>
                <a:lnTo>
                  <a:pt x="8554" y="3862"/>
                </a:lnTo>
                <a:lnTo>
                  <a:pt x="8554" y="3782"/>
                </a:lnTo>
                <a:lnTo>
                  <a:pt x="8259" y="3782"/>
                </a:lnTo>
                <a:lnTo>
                  <a:pt x="8259" y="3544"/>
                </a:lnTo>
                <a:lnTo>
                  <a:pt x="8468" y="3544"/>
                </a:lnTo>
                <a:lnTo>
                  <a:pt x="8468" y="3470"/>
                </a:lnTo>
                <a:lnTo>
                  <a:pt x="8259" y="3470"/>
                </a:lnTo>
                <a:lnTo>
                  <a:pt x="8259" y="3286"/>
                </a:lnTo>
                <a:lnTo>
                  <a:pt x="8259" y="3286"/>
                </a:lnTo>
                <a:lnTo>
                  <a:pt x="8259" y="3286"/>
                </a:lnTo>
                <a:close/>
                <a:moveTo>
                  <a:pt x="9612" y="3862"/>
                </a:moveTo>
                <a:lnTo>
                  <a:pt x="9612" y="3862"/>
                </a:lnTo>
                <a:lnTo>
                  <a:pt x="9700" y="3862"/>
                </a:lnTo>
                <a:lnTo>
                  <a:pt x="9564" y="3207"/>
                </a:lnTo>
                <a:lnTo>
                  <a:pt x="9526" y="3207"/>
                </a:lnTo>
                <a:lnTo>
                  <a:pt x="9381" y="3686"/>
                </a:lnTo>
                <a:lnTo>
                  <a:pt x="9223" y="3207"/>
                </a:lnTo>
                <a:lnTo>
                  <a:pt x="9181" y="3207"/>
                </a:lnTo>
                <a:lnTo>
                  <a:pt x="9060" y="3862"/>
                </a:lnTo>
                <a:lnTo>
                  <a:pt x="9147" y="3862"/>
                </a:lnTo>
                <a:lnTo>
                  <a:pt x="9220" y="3441"/>
                </a:lnTo>
                <a:lnTo>
                  <a:pt x="9372" y="3873"/>
                </a:lnTo>
                <a:lnTo>
                  <a:pt x="9394" y="3873"/>
                </a:lnTo>
                <a:lnTo>
                  <a:pt x="9536" y="3441"/>
                </a:lnTo>
                <a:lnTo>
                  <a:pt x="9612" y="3862"/>
                </a:lnTo>
                <a:lnTo>
                  <a:pt x="9612" y="3862"/>
                </a:lnTo>
                <a:lnTo>
                  <a:pt x="9612" y="3862"/>
                </a:lnTo>
                <a:close/>
                <a:moveTo>
                  <a:pt x="10321" y="3286"/>
                </a:moveTo>
                <a:lnTo>
                  <a:pt x="10321" y="3286"/>
                </a:lnTo>
                <a:lnTo>
                  <a:pt x="10619" y="3286"/>
                </a:lnTo>
                <a:lnTo>
                  <a:pt x="10619" y="3207"/>
                </a:lnTo>
                <a:lnTo>
                  <a:pt x="10231" y="3207"/>
                </a:lnTo>
                <a:lnTo>
                  <a:pt x="10231" y="3862"/>
                </a:lnTo>
                <a:lnTo>
                  <a:pt x="10619" y="3862"/>
                </a:lnTo>
                <a:lnTo>
                  <a:pt x="10619" y="3782"/>
                </a:lnTo>
                <a:lnTo>
                  <a:pt x="10321" y="3782"/>
                </a:lnTo>
                <a:lnTo>
                  <a:pt x="10321" y="3544"/>
                </a:lnTo>
                <a:lnTo>
                  <a:pt x="10534" y="3544"/>
                </a:lnTo>
                <a:lnTo>
                  <a:pt x="10534" y="3470"/>
                </a:lnTo>
                <a:lnTo>
                  <a:pt x="10321" y="3470"/>
                </a:lnTo>
                <a:lnTo>
                  <a:pt x="10321" y="3286"/>
                </a:lnTo>
                <a:lnTo>
                  <a:pt x="10321" y="3286"/>
                </a:lnTo>
                <a:lnTo>
                  <a:pt x="10321" y="3286"/>
                </a:lnTo>
                <a:close/>
                <a:moveTo>
                  <a:pt x="11608" y="3873"/>
                </a:moveTo>
                <a:lnTo>
                  <a:pt x="11608" y="3873"/>
                </a:lnTo>
                <a:lnTo>
                  <a:pt x="11637" y="3873"/>
                </a:lnTo>
                <a:lnTo>
                  <a:pt x="11637" y="3207"/>
                </a:lnTo>
                <a:lnTo>
                  <a:pt x="11550" y="3207"/>
                </a:lnTo>
                <a:lnTo>
                  <a:pt x="11550" y="3659"/>
                </a:lnTo>
                <a:lnTo>
                  <a:pt x="11222" y="3207"/>
                </a:lnTo>
                <a:lnTo>
                  <a:pt x="11183" y="3207"/>
                </a:lnTo>
                <a:lnTo>
                  <a:pt x="11183" y="3862"/>
                </a:lnTo>
                <a:lnTo>
                  <a:pt x="11271" y="3862"/>
                </a:lnTo>
                <a:lnTo>
                  <a:pt x="11271" y="3389"/>
                </a:lnTo>
                <a:lnTo>
                  <a:pt x="11608" y="3873"/>
                </a:lnTo>
                <a:lnTo>
                  <a:pt x="11608" y="3873"/>
                </a:lnTo>
                <a:lnTo>
                  <a:pt x="11608" y="3873"/>
                </a:lnTo>
                <a:close/>
                <a:moveTo>
                  <a:pt x="12470" y="3286"/>
                </a:moveTo>
                <a:lnTo>
                  <a:pt x="12470" y="3286"/>
                </a:lnTo>
                <a:lnTo>
                  <a:pt x="12690" y="3286"/>
                </a:lnTo>
                <a:lnTo>
                  <a:pt x="12690" y="3207"/>
                </a:lnTo>
                <a:lnTo>
                  <a:pt x="12172" y="3207"/>
                </a:lnTo>
                <a:lnTo>
                  <a:pt x="12172" y="3286"/>
                </a:lnTo>
                <a:lnTo>
                  <a:pt x="12381" y="3286"/>
                </a:lnTo>
                <a:lnTo>
                  <a:pt x="12381" y="3862"/>
                </a:lnTo>
                <a:lnTo>
                  <a:pt x="12470" y="3862"/>
                </a:lnTo>
                <a:lnTo>
                  <a:pt x="12470" y="3286"/>
                </a:lnTo>
                <a:lnTo>
                  <a:pt x="12470" y="3286"/>
                </a:lnTo>
                <a:lnTo>
                  <a:pt x="12470" y="3286"/>
                </a:lnTo>
                <a:close/>
                <a:moveTo>
                  <a:pt x="14987" y="533"/>
                </a:moveTo>
                <a:lnTo>
                  <a:pt x="14987" y="533"/>
                </a:lnTo>
                <a:lnTo>
                  <a:pt x="15026" y="533"/>
                </a:lnTo>
                <a:lnTo>
                  <a:pt x="15026" y="533"/>
                </a:lnTo>
                <a:lnTo>
                  <a:pt x="15024" y="521"/>
                </a:lnTo>
                <a:lnTo>
                  <a:pt x="15021" y="505"/>
                </a:lnTo>
                <a:lnTo>
                  <a:pt x="15015" y="490"/>
                </a:lnTo>
                <a:lnTo>
                  <a:pt x="15010" y="482"/>
                </a:lnTo>
                <a:lnTo>
                  <a:pt x="15006" y="476"/>
                </a:lnTo>
                <a:lnTo>
                  <a:pt x="14999" y="468"/>
                </a:lnTo>
                <a:lnTo>
                  <a:pt x="14991" y="462"/>
                </a:lnTo>
                <a:lnTo>
                  <a:pt x="14982" y="455"/>
                </a:lnTo>
                <a:lnTo>
                  <a:pt x="14971" y="451"/>
                </a:lnTo>
                <a:lnTo>
                  <a:pt x="14959" y="446"/>
                </a:lnTo>
                <a:lnTo>
                  <a:pt x="14945" y="443"/>
                </a:lnTo>
                <a:lnTo>
                  <a:pt x="14927" y="441"/>
                </a:lnTo>
                <a:lnTo>
                  <a:pt x="14910" y="441"/>
                </a:lnTo>
                <a:lnTo>
                  <a:pt x="14910" y="441"/>
                </a:lnTo>
                <a:lnTo>
                  <a:pt x="14898" y="441"/>
                </a:lnTo>
                <a:lnTo>
                  <a:pt x="14885" y="443"/>
                </a:lnTo>
                <a:lnTo>
                  <a:pt x="14874" y="445"/>
                </a:lnTo>
                <a:lnTo>
                  <a:pt x="14865" y="449"/>
                </a:lnTo>
                <a:lnTo>
                  <a:pt x="14856" y="452"/>
                </a:lnTo>
                <a:lnTo>
                  <a:pt x="14848" y="457"/>
                </a:lnTo>
                <a:lnTo>
                  <a:pt x="14840" y="463"/>
                </a:lnTo>
                <a:lnTo>
                  <a:pt x="14834" y="469"/>
                </a:lnTo>
                <a:lnTo>
                  <a:pt x="14828" y="476"/>
                </a:lnTo>
                <a:lnTo>
                  <a:pt x="14823" y="482"/>
                </a:lnTo>
                <a:lnTo>
                  <a:pt x="14815" y="498"/>
                </a:lnTo>
                <a:lnTo>
                  <a:pt x="14812" y="515"/>
                </a:lnTo>
                <a:lnTo>
                  <a:pt x="14810" y="530"/>
                </a:lnTo>
                <a:lnTo>
                  <a:pt x="14810" y="530"/>
                </a:lnTo>
                <a:lnTo>
                  <a:pt x="14810" y="540"/>
                </a:lnTo>
                <a:lnTo>
                  <a:pt x="14812" y="549"/>
                </a:lnTo>
                <a:lnTo>
                  <a:pt x="14815" y="555"/>
                </a:lnTo>
                <a:lnTo>
                  <a:pt x="14818" y="563"/>
                </a:lnTo>
                <a:lnTo>
                  <a:pt x="14826" y="574"/>
                </a:lnTo>
                <a:lnTo>
                  <a:pt x="14835" y="583"/>
                </a:lnTo>
                <a:lnTo>
                  <a:pt x="14846" y="590"/>
                </a:lnTo>
                <a:lnTo>
                  <a:pt x="14856" y="594"/>
                </a:lnTo>
                <a:lnTo>
                  <a:pt x="14867" y="596"/>
                </a:lnTo>
                <a:lnTo>
                  <a:pt x="14874" y="599"/>
                </a:lnTo>
                <a:lnTo>
                  <a:pt x="14932" y="615"/>
                </a:lnTo>
                <a:lnTo>
                  <a:pt x="14932" y="615"/>
                </a:lnTo>
                <a:lnTo>
                  <a:pt x="14949" y="618"/>
                </a:lnTo>
                <a:lnTo>
                  <a:pt x="14962" y="622"/>
                </a:lnTo>
                <a:lnTo>
                  <a:pt x="14973" y="627"/>
                </a:lnTo>
                <a:lnTo>
                  <a:pt x="14981" y="632"/>
                </a:lnTo>
                <a:lnTo>
                  <a:pt x="14987" y="638"/>
                </a:lnTo>
                <a:lnTo>
                  <a:pt x="14991" y="646"/>
                </a:lnTo>
                <a:lnTo>
                  <a:pt x="14993" y="655"/>
                </a:lnTo>
                <a:lnTo>
                  <a:pt x="14993" y="666"/>
                </a:lnTo>
                <a:lnTo>
                  <a:pt x="14993" y="666"/>
                </a:lnTo>
                <a:lnTo>
                  <a:pt x="14993" y="674"/>
                </a:lnTo>
                <a:lnTo>
                  <a:pt x="14991" y="680"/>
                </a:lnTo>
                <a:lnTo>
                  <a:pt x="14988" y="686"/>
                </a:lnTo>
                <a:lnTo>
                  <a:pt x="14985" y="691"/>
                </a:lnTo>
                <a:lnTo>
                  <a:pt x="14977" y="699"/>
                </a:lnTo>
                <a:lnTo>
                  <a:pt x="14967" y="705"/>
                </a:lnTo>
                <a:lnTo>
                  <a:pt x="14954" y="710"/>
                </a:lnTo>
                <a:lnTo>
                  <a:pt x="14942" y="713"/>
                </a:lnTo>
                <a:lnTo>
                  <a:pt x="14931" y="714"/>
                </a:lnTo>
                <a:lnTo>
                  <a:pt x="14920" y="714"/>
                </a:lnTo>
                <a:lnTo>
                  <a:pt x="14920" y="714"/>
                </a:lnTo>
                <a:lnTo>
                  <a:pt x="14906" y="713"/>
                </a:lnTo>
                <a:lnTo>
                  <a:pt x="14890" y="711"/>
                </a:lnTo>
                <a:lnTo>
                  <a:pt x="14878" y="707"/>
                </a:lnTo>
                <a:lnTo>
                  <a:pt x="14865" y="700"/>
                </a:lnTo>
                <a:lnTo>
                  <a:pt x="14854" y="691"/>
                </a:lnTo>
                <a:lnTo>
                  <a:pt x="14849" y="685"/>
                </a:lnTo>
                <a:lnTo>
                  <a:pt x="14846" y="678"/>
                </a:lnTo>
                <a:lnTo>
                  <a:pt x="14843" y="672"/>
                </a:lnTo>
                <a:lnTo>
                  <a:pt x="14842" y="664"/>
                </a:lnTo>
                <a:lnTo>
                  <a:pt x="14840" y="655"/>
                </a:lnTo>
                <a:lnTo>
                  <a:pt x="14838" y="647"/>
                </a:lnTo>
                <a:lnTo>
                  <a:pt x="14801" y="647"/>
                </a:lnTo>
                <a:lnTo>
                  <a:pt x="14801" y="647"/>
                </a:lnTo>
                <a:lnTo>
                  <a:pt x="14803" y="666"/>
                </a:lnTo>
                <a:lnTo>
                  <a:pt x="14804" y="675"/>
                </a:lnTo>
                <a:lnTo>
                  <a:pt x="14806" y="685"/>
                </a:lnTo>
                <a:lnTo>
                  <a:pt x="14810" y="694"/>
                </a:lnTo>
                <a:lnTo>
                  <a:pt x="14815" y="703"/>
                </a:lnTo>
                <a:lnTo>
                  <a:pt x="14821" y="711"/>
                </a:lnTo>
                <a:lnTo>
                  <a:pt x="14829" y="721"/>
                </a:lnTo>
                <a:lnTo>
                  <a:pt x="14829" y="721"/>
                </a:lnTo>
                <a:lnTo>
                  <a:pt x="14843" y="728"/>
                </a:lnTo>
                <a:lnTo>
                  <a:pt x="14860" y="738"/>
                </a:lnTo>
                <a:lnTo>
                  <a:pt x="14871" y="741"/>
                </a:lnTo>
                <a:lnTo>
                  <a:pt x="14885" y="744"/>
                </a:lnTo>
                <a:lnTo>
                  <a:pt x="14901" y="746"/>
                </a:lnTo>
                <a:lnTo>
                  <a:pt x="14920" y="746"/>
                </a:lnTo>
                <a:lnTo>
                  <a:pt x="14920" y="746"/>
                </a:lnTo>
                <a:lnTo>
                  <a:pt x="14938" y="746"/>
                </a:lnTo>
                <a:lnTo>
                  <a:pt x="14957" y="742"/>
                </a:lnTo>
                <a:lnTo>
                  <a:pt x="14976" y="736"/>
                </a:lnTo>
                <a:lnTo>
                  <a:pt x="14995" y="728"/>
                </a:lnTo>
                <a:lnTo>
                  <a:pt x="15002" y="722"/>
                </a:lnTo>
                <a:lnTo>
                  <a:pt x="15009" y="716"/>
                </a:lnTo>
                <a:lnTo>
                  <a:pt x="15016" y="710"/>
                </a:lnTo>
                <a:lnTo>
                  <a:pt x="15021" y="702"/>
                </a:lnTo>
                <a:lnTo>
                  <a:pt x="15026" y="693"/>
                </a:lnTo>
                <a:lnTo>
                  <a:pt x="15029" y="683"/>
                </a:lnTo>
                <a:lnTo>
                  <a:pt x="15032" y="672"/>
                </a:lnTo>
                <a:lnTo>
                  <a:pt x="15032" y="660"/>
                </a:lnTo>
                <a:lnTo>
                  <a:pt x="15032" y="660"/>
                </a:lnTo>
                <a:lnTo>
                  <a:pt x="15031" y="644"/>
                </a:lnTo>
                <a:lnTo>
                  <a:pt x="15027" y="630"/>
                </a:lnTo>
                <a:lnTo>
                  <a:pt x="15021" y="618"/>
                </a:lnTo>
                <a:lnTo>
                  <a:pt x="15013" y="608"/>
                </a:lnTo>
                <a:lnTo>
                  <a:pt x="15004" y="599"/>
                </a:lnTo>
                <a:lnTo>
                  <a:pt x="14993" y="593"/>
                </a:lnTo>
                <a:lnTo>
                  <a:pt x="14981" y="586"/>
                </a:lnTo>
                <a:lnTo>
                  <a:pt x="14968" y="582"/>
                </a:lnTo>
                <a:lnTo>
                  <a:pt x="14884" y="563"/>
                </a:lnTo>
                <a:lnTo>
                  <a:pt x="14884" y="563"/>
                </a:lnTo>
                <a:lnTo>
                  <a:pt x="14871" y="558"/>
                </a:lnTo>
                <a:lnTo>
                  <a:pt x="14867" y="557"/>
                </a:lnTo>
                <a:lnTo>
                  <a:pt x="14860" y="552"/>
                </a:lnTo>
                <a:lnTo>
                  <a:pt x="14856" y="547"/>
                </a:lnTo>
                <a:lnTo>
                  <a:pt x="14853" y="541"/>
                </a:lnTo>
                <a:lnTo>
                  <a:pt x="14849" y="533"/>
                </a:lnTo>
                <a:lnTo>
                  <a:pt x="14849" y="524"/>
                </a:lnTo>
                <a:lnTo>
                  <a:pt x="14849" y="524"/>
                </a:lnTo>
                <a:lnTo>
                  <a:pt x="14849" y="516"/>
                </a:lnTo>
                <a:lnTo>
                  <a:pt x="14851" y="510"/>
                </a:lnTo>
                <a:lnTo>
                  <a:pt x="14853" y="504"/>
                </a:lnTo>
                <a:lnTo>
                  <a:pt x="14856" y="499"/>
                </a:lnTo>
                <a:lnTo>
                  <a:pt x="14863" y="491"/>
                </a:lnTo>
                <a:lnTo>
                  <a:pt x="14873" y="485"/>
                </a:lnTo>
                <a:lnTo>
                  <a:pt x="14884" y="480"/>
                </a:lnTo>
                <a:lnTo>
                  <a:pt x="14895" y="477"/>
                </a:lnTo>
                <a:lnTo>
                  <a:pt x="14906" y="476"/>
                </a:lnTo>
                <a:lnTo>
                  <a:pt x="14917" y="476"/>
                </a:lnTo>
                <a:lnTo>
                  <a:pt x="14917" y="476"/>
                </a:lnTo>
                <a:lnTo>
                  <a:pt x="14929" y="477"/>
                </a:lnTo>
                <a:lnTo>
                  <a:pt x="14942" y="479"/>
                </a:lnTo>
                <a:lnTo>
                  <a:pt x="14952" y="482"/>
                </a:lnTo>
                <a:lnTo>
                  <a:pt x="14963" y="488"/>
                </a:lnTo>
                <a:lnTo>
                  <a:pt x="14973" y="496"/>
                </a:lnTo>
                <a:lnTo>
                  <a:pt x="14981" y="505"/>
                </a:lnTo>
                <a:lnTo>
                  <a:pt x="14985" y="518"/>
                </a:lnTo>
                <a:lnTo>
                  <a:pt x="14987" y="526"/>
                </a:lnTo>
                <a:lnTo>
                  <a:pt x="14987" y="533"/>
                </a:lnTo>
                <a:lnTo>
                  <a:pt x="14987" y="533"/>
                </a:lnTo>
                <a:lnTo>
                  <a:pt x="14987" y="533"/>
                </a:lnTo>
                <a:close/>
                <a:moveTo>
                  <a:pt x="15323" y="739"/>
                </a:moveTo>
                <a:lnTo>
                  <a:pt x="15323" y="739"/>
                </a:lnTo>
                <a:lnTo>
                  <a:pt x="15360" y="739"/>
                </a:lnTo>
                <a:lnTo>
                  <a:pt x="15360" y="451"/>
                </a:lnTo>
                <a:lnTo>
                  <a:pt x="15302" y="451"/>
                </a:lnTo>
                <a:lnTo>
                  <a:pt x="15223" y="694"/>
                </a:lnTo>
                <a:lnTo>
                  <a:pt x="15223" y="694"/>
                </a:lnTo>
                <a:lnTo>
                  <a:pt x="15138" y="451"/>
                </a:lnTo>
                <a:lnTo>
                  <a:pt x="15081" y="451"/>
                </a:lnTo>
                <a:lnTo>
                  <a:pt x="15081" y="739"/>
                </a:lnTo>
                <a:lnTo>
                  <a:pt x="15120" y="739"/>
                </a:lnTo>
                <a:lnTo>
                  <a:pt x="15120" y="569"/>
                </a:lnTo>
                <a:lnTo>
                  <a:pt x="15120" y="569"/>
                </a:lnTo>
                <a:lnTo>
                  <a:pt x="15120" y="496"/>
                </a:lnTo>
                <a:lnTo>
                  <a:pt x="15120" y="496"/>
                </a:lnTo>
                <a:lnTo>
                  <a:pt x="15199" y="739"/>
                </a:lnTo>
                <a:lnTo>
                  <a:pt x="15241" y="739"/>
                </a:lnTo>
                <a:lnTo>
                  <a:pt x="15323" y="496"/>
                </a:lnTo>
                <a:lnTo>
                  <a:pt x="15323" y="496"/>
                </a:lnTo>
                <a:lnTo>
                  <a:pt x="15323" y="496"/>
                </a:lnTo>
                <a:lnTo>
                  <a:pt x="15323" y="569"/>
                </a:lnTo>
                <a:lnTo>
                  <a:pt x="15323" y="739"/>
                </a:lnTo>
                <a:lnTo>
                  <a:pt x="15323" y="739"/>
                </a:lnTo>
                <a:lnTo>
                  <a:pt x="15323" y="739"/>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13" descr="iModules logo">
            <a:extLst>
              <a:ext uri="{FF2B5EF4-FFF2-40B4-BE49-F238E27FC236}">
                <a16:creationId xmlns:a16="http://schemas.microsoft.com/office/drawing/2014/main" id="{E036C9FA-C099-4F0B-B676-3A4E48AFE3A4}"/>
              </a:ext>
            </a:extLst>
          </p:cNvPr>
          <p:cNvSpPr>
            <a:spLocks noChangeAspect="1" noEditPoints="1"/>
          </p:cNvSpPr>
          <p:nvPr/>
        </p:nvSpPr>
        <p:spPr bwMode="auto">
          <a:xfrm>
            <a:off x="9180755" y="5188745"/>
            <a:ext cx="2294965" cy="274320"/>
          </a:xfrm>
          <a:custGeom>
            <a:avLst/>
            <a:gdLst>
              <a:gd name="T0" fmla="*/ 5270 w 23040"/>
              <a:gd name="T1" fmla="*/ 824 h 2754"/>
              <a:gd name="T2" fmla="*/ 5628 w 23040"/>
              <a:gd name="T3" fmla="*/ 411 h 2754"/>
              <a:gd name="T4" fmla="*/ 6535 w 23040"/>
              <a:gd name="T5" fmla="*/ 254 h 2754"/>
              <a:gd name="T6" fmla="*/ 7099 w 23040"/>
              <a:gd name="T7" fmla="*/ 522 h 2754"/>
              <a:gd name="T8" fmla="*/ 7392 w 23040"/>
              <a:gd name="T9" fmla="*/ 1067 h 2754"/>
              <a:gd name="T10" fmla="*/ 7228 w 23040"/>
              <a:gd name="T11" fmla="*/ 2056 h 2754"/>
              <a:gd name="T12" fmla="*/ 6805 w 23040"/>
              <a:gd name="T13" fmla="*/ 2410 h 2754"/>
              <a:gd name="T14" fmla="*/ 5883 w 23040"/>
              <a:gd name="T15" fmla="*/ 2450 h 2754"/>
              <a:gd name="T16" fmla="*/ 5417 w 23040"/>
              <a:gd name="T17" fmla="*/ 2140 h 2754"/>
              <a:gd name="T18" fmla="*/ 5163 w 23040"/>
              <a:gd name="T19" fmla="*/ 1493 h 2754"/>
              <a:gd name="T20" fmla="*/ 7603 w 23040"/>
              <a:gd name="T21" fmla="*/ 862 h 2754"/>
              <a:gd name="T22" fmla="*/ 7214 w 23040"/>
              <a:gd name="T23" fmla="*/ 304 h 2754"/>
              <a:gd name="T24" fmla="*/ 6571 w 23040"/>
              <a:gd name="T25" fmla="*/ 26 h 2754"/>
              <a:gd name="T26" fmla="*/ 5830 w 23040"/>
              <a:gd name="T27" fmla="*/ 72 h 2754"/>
              <a:gd name="T28" fmla="*/ 5235 w 23040"/>
              <a:gd name="T29" fmla="*/ 426 h 2754"/>
              <a:gd name="T30" fmla="*/ 4922 w 23040"/>
              <a:gd name="T31" fmla="*/ 1036 h 2754"/>
              <a:gd name="T32" fmla="*/ 5025 w 23040"/>
              <a:gd name="T33" fmla="*/ 2000 h 2754"/>
              <a:gd name="T34" fmla="*/ 5603 w 23040"/>
              <a:gd name="T35" fmla="*/ 2599 h 2754"/>
              <a:gd name="T36" fmla="*/ 6499 w 23040"/>
              <a:gd name="T37" fmla="*/ 2732 h 2754"/>
              <a:gd name="T38" fmla="*/ 7231 w 23040"/>
              <a:gd name="T39" fmla="*/ 2435 h 2754"/>
              <a:gd name="T40" fmla="*/ 7620 w 23040"/>
              <a:gd name="T41" fmla="*/ 1836 h 2754"/>
              <a:gd name="T42" fmla="*/ 9658 w 23040"/>
              <a:gd name="T43" fmla="*/ 301 h 2754"/>
              <a:gd name="T44" fmla="*/ 10421 w 23040"/>
              <a:gd name="T45" fmla="*/ 563 h 2754"/>
              <a:gd name="T46" fmla="*/ 10639 w 23040"/>
              <a:gd name="T47" fmla="*/ 1231 h 2754"/>
              <a:gd name="T48" fmla="*/ 10460 w 23040"/>
              <a:gd name="T49" fmla="*/ 2142 h 2754"/>
              <a:gd name="T50" fmla="*/ 9967 w 23040"/>
              <a:gd name="T51" fmla="*/ 2429 h 2754"/>
              <a:gd name="T52" fmla="*/ 10172 w 23040"/>
              <a:gd name="T53" fmla="*/ 2646 h 2754"/>
              <a:gd name="T54" fmla="*/ 10631 w 23040"/>
              <a:gd name="T55" fmla="*/ 2337 h 2754"/>
              <a:gd name="T56" fmla="*/ 10892 w 23040"/>
              <a:gd name="T57" fmla="*/ 1687 h 2754"/>
              <a:gd name="T58" fmla="*/ 10847 w 23040"/>
              <a:gd name="T59" fmla="*/ 833 h 2754"/>
              <a:gd name="T60" fmla="*/ 10473 w 23040"/>
              <a:gd name="T61" fmla="*/ 249 h 2754"/>
              <a:gd name="T62" fmla="*/ 9648 w 23040"/>
              <a:gd name="T63" fmla="*/ 60 h 2754"/>
              <a:gd name="T64" fmla="*/ 13793 w 23040"/>
              <a:gd name="T65" fmla="*/ 2146 h 2754"/>
              <a:gd name="T66" fmla="*/ 13231 w 23040"/>
              <a:gd name="T67" fmla="*/ 2496 h 2754"/>
              <a:gd name="T68" fmla="*/ 12311 w 23040"/>
              <a:gd name="T69" fmla="*/ 2287 h 2754"/>
              <a:gd name="T70" fmla="*/ 11839 w 23040"/>
              <a:gd name="T71" fmla="*/ 1737 h 2754"/>
              <a:gd name="T72" fmla="*/ 12161 w 23040"/>
              <a:gd name="T73" fmla="*/ 2496 h 2754"/>
              <a:gd name="T74" fmla="*/ 12729 w 23040"/>
              <a:gd name="T75" fmla="*/ 2729 h 2754"/>
              <a:gd name="T76" fmla="*/ 13569 w 23040"/>
              <a:gd name="T77" fmla="*/ 2644 h 2754"/>
              <a:gd name="T78" fmla="*/ 14055 w 23040"/>
              <a:gd name="T79" fmla="*/ 2217 h 2754"/>
              <a:gd name="T80" fmla="*/ 15344 w 23040"/>
              <a:gd name="T81" fmla="*/ 33 h 2754"/>
              <a:gd name="T82" fmla="*/ 22690 w 23040"/>
              <a:gd name="T83" fmla="*/ 798 h 2754"/>
              <a:gd name="T84" fmla="*/ 22717 w 23040"/>
              <a:gd name="T85" fmla="*/ 257 h 2754"/>
              <a:gd name="T86" fmla="*/ 22126 w 23040"/>
              <a:gd name="T87" fmla="*/ 10 h 2754"/>
              <a:gd name="T88" fmla="*/ 21145 w 23040"/>
              <a:gd name="T89" fmla="*/ 231 h 2754"/>
              <a:gd name="T90" fmla="*/ 20923 w 23040"/>
              <a:gd name="T91" fmla="*/ 959 h 2754"/>
              <a:gd name="T92" fmla="*/ 21431 w 23040"/>
              <a:gd name="T93" fmla="*/ 1382 h 2754"/>
              <a:gd name="T94" fmla="*/ 22635 w 23040"/>
              <a:gd name="T95" fmla="*/ 1678 h 2754"/>
              <a:gd name="T96" fmla="*/ 22756 w 23040"/>
              <a:gd name="T97" fmla="*/ 2087 h 2754"/>
              <a:gd name="T98" fmla="*/ 22264 w 23040"/>
              <a:gd name="T99" fmla="*/ 2490 h 2754"/>
              <a:gd name="T100" fmla="*/ 21519 w 23040"/>
              <a:gd name="T101" fmla="*/ 2449 h 2754"/>
              <a:gd name="T102" fmla="*/ 21153 w 23040"/>
              <a:gd name="T103" fmla="*/ 2132 h 2754"/>
              <a:gd name="T104" fmla="*/ 20865 w 23040"/>
              <a:gd name="T105" fmla="*/ 2140 h 2754"/>
              <a:gd name="T106" fmla="*/ 21249 w 23040"/>
              <a:gd name="T107" fmla="*/ 2596 h 2754"/>
              <a:gd name="T108" fmla="*/ 22028 w 23040"/>
              <a:gd name="T109" fmla="*/ 2754 h 2754"/>
              <a:gd name="T110" fmla="*/ 22925 w 23040"/>
              <a:gd name="T111" fmla="*/ 2364 h 2754"/>
              <a:gd name="T112" fmla="*/ 22956 w 23040"/>
              <a:gd name="T113" fmla="*/ 1624 h 2754"/>
              <a:gd name="T114" fmla="*/ 22304 w 23040"/>
              <a:gd name="T115" fmla="*/ 1274 h 2754"/>
              <a:gd name="T116" fmla="*/ 21209 w 23040"/>
              <a:gd name="T117" fmla="*/ 939 h 2754"/>
              <a:gd name="T118" fmla="*/ 21279 w 23040"/>
              <a:gd name="T119" fmla="*/ 441 h 2754"/>
              <a:gd name="T120" fmla="*/ 21919 w 23040"/>
              <a:gd name="T121" fmla="*/ 226 h 2754"/>
              <a:gd name="T122" fmla="*/ 22577 w 23040"/>
              <a:gd name="T123" fmla="*/ 477 h 2754"/>
              <a:gd name="T124" fmla="*/ 17148 w 23040"/>
              <a:gd name="T125" fmla="*/ 1113 h 27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3040" h="2754">
                <a:moveTo>
                  <a:pt x="0" y="48"/>
                </a:moveTo>
                <a:lnTo>
                  <a:pt x="0" y="48"/>
                </a:lnTo>
                <a:lnTo>
                  <a:pt x="269" y="48"/>
                </a:lnTo>
                <a:lnTo>
                  <a:pt x="269" y="2687"/>
                </a:lnTo>
                <a:lnTo>
                  <a:pt x="0" y="2687"/>
                </a:lnTo>
                <a:lnTo>
                  <a:pt x="0" y="48"/>
                </a:lnTo>
                <a:lnTo>
                  <a:pt x="0" y="48"/>
                </a:lnTo>
                <a:lnTo>
                  <a:pt x="0" y="48"/>
                </a:lnTo>
                <a:close/>
                <a:moveTo>
                  <a:pt x="5157" y="1366"/>
                </a:moveTo>
                <a:lnTo>
                  <a:pt x="5157" y="1366"/>
                </a:lnTo>
                <a:lnTo>
                  <a:pt x="5158" y="1302"/>
                </a:lnTo>
                <a:lnTo>
                  <a:pt x="5163" y="1240"/>
                </a:lnTo>
                <a:lnTo>
                  <a:pt x="5168" y="1180"/>
                </a:lnTo>
                <a:lnTo>
                  <a:pt x="5178" y="1120"/>
                </a:lnTo>
                <a:lnTo>
                  <a:pt x="5189" y="1063"/>
                </a:lnTo>
                <a:lnTo>
                  <a:pt x="5203" y="1006"/>
                </a:lnTo>
                <a:lnTo>
                  <a:pt x="5219" y="952"/>
                </a:lnTo>
                <a:lnTo>
                  <a:pt x="5237" y="900"/>
                </a:lnTo>
                <a:lnTo>
                  <a:pt x="5248" y="873"/>
                </a:lnTo>
                <a:lnTo>
                  <a:pt x="5258" y="848"/>
                </a:lnTo>
                <a:lnTo>
                  <a:pt x="5270" y="824"/>
                </a:lnTo>
                <a:lnTo>
                  <a:pt x="5281" y="799"/>
                </a:lnTo>
                <a:lnTo>
                  <a:pt x="5294" y="775"/>
                </a:lnTo>
                <a:lnTo>
                  <a:pt x="5307" y="752"/>
                </a:lnTo>
                <a:lnTo>
                  <a:pt x="5320" y="729"/>
                </a:lnTo>
                <a:lnTo>
                  <a:pt x="5334" y="706"/>
                </a:lnTo>
                <a:lnTo>
                  <a:pt x="5349" y="684"/>
                </a:lnTo>
                <a:lnTo>
                  <a:pt x="5364" y="662"/>
                </a:lnTo>
                <a:lnTo>
                  <a:pt x="5380" y="641"/>
                </a:lnTo>
                <a:lnTo>
                  <a:pt x="5396" y="620"/>
                </a:lnTo>
                <a:lnTo>
                  <a:pt x="5412" y="600"/>
                </a:lnTo>
                <a:lnTo>
                  <a:pt x="5429" y="581"/>
                </a:lnTo>
                <a:lnTo>
                  <a:pt x="5448" y="561"/>
                </a:lnTo>
                <a:lnTo>
                  <a:pt x="5466" y="543"/>
                </a:lnTo>
                <a:lnTo>
                  <a:pt x="5484" y="524"/>
                </a:lnTo>
                <a:lnTo>
                  <a:pt x="5503" y="506"/>
                </a:lnTo>
                <a:lnTo>
                  <a:pt x="5523" y="489"/>
                </a:lnTo>
                <a:lnTo>
                  <a:pt x="5543" y="473"/>
                </a:lnTo>
                <a:lnTo>
                  <a:pt x="5564" y="457"/>
                </a:lnTo>
                <a:lnTo>
                  <a:pt x="5584" y="441"/>
                </a:lnTo>
                <a:lnTo>
                  <a:pt x="5606" y="426"/>
                </a:lnTo>
                <a:lnTo>
                  <a:pt x="5628" y="411"/>
                </a:lnTo>
                <a:lnTo>
                  <a:pt x="5651" y="397"/>
                </a:lnTo>
                <a:lnTo>
                  <a:pt x="5674" y="383"/>
                </a:lnTo>
                <a:lnTo>
                  <a:pt x="5697" y="371"/>
                </a:lnTo>
                <a:lnTo>
                  <a:pt x="5721" y="358"/>
                </a:lnTo>
                <a:lnTo>
                  <a:pt x="5745" y="347"/>
                </a:lnTo>
                <a:lnTo>
                  <a:pt x="5770" y="335"/>
                </a:lnTo>
                <a:lnTo>
                  <a:pt x="5794" y="324"/>
                </a:lnTo>
                <a:lnTo>
                  <a:pt x="5821" y="314"/>
                </a:lnTo>
                <a:lnTo>
                  <a:pt x="5873" y="295"/>
                </a:lnTo>
                <a:lnTo>
                  <a:pt x="5927" y="279"/>
                </a:lnTo>
                <a:lnTo>
                  <a:pt x="5983" y="265"/>
                </a:lnTo>
                <a:lnTo>
                  <a:pt x="6039" y="254"/>
                </a:lnTo>
                <a:lnTo>
                  <a:pt x="6098" y="246"/>
                </a:lnTo>
                <a:lnTo>
                  <a:pt x="6159" y="239"/>
                </a:lnTo>
                <a:lnTo>
                  <a:pt x="6219" y="235"/>
                </a:lnTo>
                <a:lnTo>
                  <a:pt x="6283" y="234"/>
                </a:lnTo>
                <a:lnTo>
                  <a:pt x="6283" y="234"/>
                </a:lnTo>
                <a:lnTo>
                  <a:pt x="6348" y="235"/>
                </a:lnTo>
                <a:lnTo>
                  <a:pt x="6412" y="239"/>
                </a:lnTo>
                <a:lnTo>
                  <a:pt x="6474" y="244"/>
                </a:lnTo>
                <a:lnTo>
                  <a:pt x="6535" y="254"/>
                </a:lnTo>
                <a:lnTo>
                  <a:pt x="6594" y="265"/>
                </a:lnTo>
                <a:lnTo>
                  <a:pt x="6651" y="279"/>
                </a:lnTo>
                <a:lnTo>
                  <a:pt x="6679" y="286"/>
                </a:lnTo>
                <a:lnTo>
                  <a:pt x="6706" y="295"/>
                </a:lnTo>
                <a:lnTo>
                  <a:pt x="6733" y="303"/>
                </a:lnTo>
                <a:lnTo>
                  <a:pt x="6759" y="312"/>
                </a:lnTo>
                <a:lnTo>
                  <a:pt x="6786" y="322"/>
                </a:lnTo>
                <a:lnTo>
                  <a:pt x="6811" y="333"/>
                </a:lnTo>
                <a:lnTo>
                  <a:pt x="6836" y="344"/>
                </a:lnTo>
                <a:lnTo>
                  <a:pt x="6861" y="356"/>
                </a:lnTo>
                <a:lnTo>
                  <a:pt x="6886" y="368"/>
                </a:lnTo>
                <a:lnTo>
                  <a:pt x="6909" y="381"/>
                </a:lnTo>
                <a:lnTo>
                  <a:pt x="6932" y="395"/>
                </a:lnTo>
                <a:lnTo>
                  <a:pt x="6954" y="409"/>
                </a:lnTo>
                <a:lnTo>
                  <a:pt x="6976" y="423"/>
                </a:lnTo>
                <a:lnTo>
                  <a:pt x="6998" y="438"/>
                </a:lnTo>
                <a:lnTo>
                  <a:pt x="7020" y="454"/>
                </a:lnTo>
                <a:lnTo>
                  <a:pt x="7041" y="470"/>
                </a:lnTo>
                <a:lnTo>
                  <a:pt x="7060" y="487"/>
                </a:lnTo>
                <a:lnTo>
                  <a:pt x="7081" y="504"/>
                </a:lnTo>
                <a:lnTo>
                  <a:pt x="7099" y="522"/>
                </a:lnTo>
                <a:lnTo>
                  <a:pt x="7119" y="540"/>
                </a:lnTo>
                <a:lnTo>
                  <a:pt x="7136" y="559"/>
                </a:lnTo>
                <a:lnTo>
                  <a:pt x="7154" y="578"/>
                </a:lnTo>
                <a:lnTo>
                  <a:pt x="7172" y="598"/>
                </a:lnTo>
                <a:lnTo>
                  <a:pt x="7188" y="619"/>
                </a:lnTo>
                <a:lnTo>
                  <a:pt x="7204" y="639"/>
                </a:lnTo>
                <a:lnTo>
                  <a:pt x="7220" y="661"/>
                </a:lnTo>
                <a:lnTo>
                  <a:pt x="7235" y="683"/>
                </a:lnTo>
                <a:lnTo>
                  <a:pt x="7249" y="705"/>
                </a:lnTo>
                <a:lnTo>
                  <a:pt x="7262" y="728"/>
                </a:lnTo>
                <a:lnTo>
                  <a:pt x="7276" y="750"/>
                </a:lnTo>
                <a:lnTo>
                  <a:pt x="7289" y="775"/>
                </a:lnTo>
                <a:lnTo>
                  <a:pt x="7301" y="799"/>
                </a:lnTo>
                <a:lnTo>
                  <a:pt x="7313" y="824"/>
                </a:lnTo>
                <a:lnTo>
                  <a:pt x="7323" y="849"/>
                </a:lnTo>
                <a:lnTo>
                  <a:pt x="7335" y="874"/>
                </a:lnTo>
                <a:lnTo>
                  <a:pt x="7344" y="901"/>
                </a:lnTo>
                <a:lnTo>
                  <a:pt x="7353" y="927"/>
                </a:lnTo>
                <a:lnTo>
                  <a:pt x="7362" y="955"/>
                </a:lnTo>
                <a:lnTo>
                  <a:pt x="7378" y="1010"/>
                </a:lnTo>
                <a:lnTo>
                  <a:pt x="7392" y="1067"/>
                </a:lnTo>
                <a:lnTo>
                  <a:pt x="7402" y="1127"/>
                </a:lnTo>
                <a:lnTo>
                  <a:pt x="7412" y="1188"/>
                </a:lnTo>
                <a:lnTo>
                  <a:pt x="7417" y="1251"/>
                </a:lnTo>
                <a:lnTo>
                  <a:pt x="7422" y="1315"/>
                </a:lnTo>
                <a:lnTo>
                  <a:pt x="7423" y="1380"/>
                </a:lnTo>
                <a:lnTo>
                  <a:pt x="7423" y="1380"/>
                </a:lnTo>
                <a:lnTo>
                  <a:pt x="7421" y="1444"/>
                </a:lnTo>
                <a:lnTo>
                  <a:pt x="7417" y="1504"/>
                </a:lnTo>
                <a:lnTo>
                  <a:pt x="7410" y="1564"/>
                </a:lnTo>
                <a:lnTo>
                  <a:pt x="7401" y="1623"/>
                </a:lnTo>
                <a:lnTo>
                  <a:pt x="7390" y="1679"/>
                </a:lnTo>
                <a:lnTo>
                  <a:pt x="7376" y="1735"/>
                </a:lnTo>
                <a:lnTo>
                  <a:pt x="7360" y="1789"/>
                </a:lnTo>
                <a:lnTo>
                  <a:pt x="7340" y="1842"/>
                </a:lnTo>
                <a:lnTo>
                  <a:pt x="7320" y="1892"/>
                </a:lnTo>
                <a:lnTo>
                  <a:pt x="7296" y="1942"/>
                </a:lnTo>
                <a:lnTo>
                  <a:pt x="7284" y="1966"/>
                </a:lnTo>
                <a:lnTo>
                  <a:pt x="7270" y="1989"/>
                </a:lnTo>
                <a:lnTo>
                  <a:pt x="7257" y="2012"/>
                </a:lnTo>
                <a:lnTo>
                  <a:pt x="7243" y="2035"/>
                </a:lnTo>
                <a:lnTo>
                  <a:pt x="7228" y="2056"/>
                </a:lnTo>
                <a:lnTo>
                  <a:pt x="7213" y="2078"/>
                </a:lnTo>
                <a:lnTo>
                  <a:pt x="7197" y="2100"/>
                </a:lnTo>
                <a:lnTo>
                  <a:pt x="7181" y="2121"/>
                </a:lnTo>
                <a:lnTo>
                  <a:pt x="7164" y="2141"/>
                </a:lnTo>
                <a:lnTo>
                  <a:pt x="7146" y="2161"/>
                </a:lnTo>
                <a:lnTo>
                  <a:pt x="7129" y="2180"/>
                </a:lnTo>
                <a:lnTo>
                  <a:pt x="7111" y="2199"/>
                </a:lnTo>
                <a:lnTo>
                  <a:pt x="7091" y="2217"/>
                </a:lnTo>
                <a:lnTo>
                  <a:pt x="7073" y="2235"/>
                </a:lnTo>
                <a:lnTo>
                  <a:pt x="7052" y="2253"/>
                </a:lnTo>
                <a:lnTo>
                  <a:pt x="7033" y="2270"/>
                </a:lnTo>
                <a:lnTo>
                  <a:pt x="7012" y="2286"/>
                </a:lnTo>
                <a:lnTo>
                  <a:pt x="6990" y="2302"/>
                </a:lnTo>
                <a:lnTo>
                  <a:pt x="6969" y="2317"/>
                </a:lnTo>
                <a:lnTo>
                  <a:pt x="6946" y="2332"/>
                </a:lnTo>
                <a:lnTo>
                  <a:pt x="6925" y="2347"/>
                </a:lnTo>
                <a:lnTo>
                  <a:pt x="6902" y="2360"/>
                </a:lnTo>
                <a:lnTo>
                  <a:pt x="6878" y="2373"/>
                </a:lnTo>
                <a:lnTo>
                  <a:pt x="6855" y="2386"/>
                </a:lnTo>
                <a:lnTo>
                  <a:pt x="6830" y="2398"/>
                </a:lnTo>
                <a:lnTo>
                  <a:pt x="6805" y="2410"/>
                </a:lnTo>
                <a:lnTo>
                  <a:pt x="6780" y="2420"/>
                </a:lnTo>
                <a:lnTo>
                  <a:pt x="6755" y="2430"/>
                </a:lnTo>
                <a:lnTo>
                  <a:pt x="6729" y="2441"/>
                </a:lnTo>
                <a:lnTo>
                  <a:pt x="6703" y="2450"/>
                </a:lnTo>
                <a:lnTo>
                  <a:pt x="6649" y="2466"/>
                </a:lnTo>
                <a:lnTo>
                  <a:pt x="6594" y="2481"/>
                </a:lnTo>
                <a:lnTo>
                  <a:pt x="6538" y="2492"/>
                </a:lnTo>
                <a:lnTo>
                  <a:pt x="6479" y="2502"/>
                </a:lnTo>
                <a:lnTo>
                  <a:pt x="6420" y="2507"/>
                </a:lnTo>
                <a:lnTo>
                  <a:pt x="6360" y="2512"/>
                </a:lnTo>
                <a:lnTo>
                  <a:pt x="6298" y="2513"/>
                </a:lnTo>
                <a:lnTo>
                  <a:pt x="6298" y="2513"/>
                </a:lnTo>
                <a:lnTo>
                  <a:pt x="6233" y="2512"/>
                </a:lnTo>
                <a:lnTo>
                  <a:pt x="6171" y="2507"/>
                </a:lnTo>
                <a:lnTo>
                  <a:pt x="6110" y="2502"/>
                </a:lnTo>
                <a:lnTo>
                  <a:pt x="6052" y="2492"/>
                </a:lnTo>
                <a:lnTo>
                  <a:pt x="5993" y="2481"/>
                </a:lnTo>
                <a:lnTo>
                  <a:pt x="5966" y="2474"/>
                </a:lnTo>
                <a:lnTo>
                  <a:pt x="5937" y="2466"/>
                </a:lnTo>
                <a:lnTo>
                  <a:pt x="5909" y="2458"/>
                </a:lnTo>
                <a:lnTo>
                  <a:pt x="5883" y="2450"/>
                </a:lnTo>
                <a:lnTo>
                  <a:pt x="5856" y="2441"/>
                </a:lnTo>
                <a:lnTo>
                  <a:pt x="5830" y="2432"/>
                </a:lnTo>
                <a:lnTo>
                  <a:pt x="5804" y="2420"/>
                </a:lnTo>
                <a:lnTo>
                  <a:pt x="5778" y="2410"/>
                </a:lnTo>
                <a:lnTo>
                  <a:pt x="5753" y="2398"/>
                </a:lnTo>
                <a:lnTo>
                  <a:pt x="5729" y="2386"/>
                </a:lnTo>
                <a:lnTo>
                  <a:pt x="5705" y="2373"/>
                </a:lnTo>
                <a:lnTo>
                  <a:pt x="5681" y="2360"/>
                </a:lnTo>
                <a:lnTo>
                  <a:pt x="5658" y="2347"/>
                </a:lnTo>
                <a:lnTo>
                  <a:pt x="5635" y="2332"/>
                </a:lnTo>
                <a:lnTo>
                  <a:pt x="5613" y="2317"/>
                </a:lnTo>
                <a:lnTo>
                  <a:pt x="5591" y="2302"/>
                </a:lnTo>
                <a:lnTo>
                  <a:pt x="5569" y="2286"/>
                </a:lnTo>
                <a:lnTo>
                  <a:pt x="5549" y="2270"/>
                </a:lnTo>
                <a:lnTo>
                  <a:pt x="5528" y="2253"/>
                </a:lnTo>
                <a:lnTo>
                  <a:pt x="5508" y="2235"/>
                </a:lnTo>
                <a:lnTo>
                  <a:pt x="5489" y="2217"/>
                </a:lnTo>
                <a:lnTo>
                  <a:pt x="5471" y="2199"/>
                </a:lnTo>
                <a:lnTo>
                  <a:pt x="5452" y="2179"/>
                </a:lnTo>
                <a:lnTo>
                  <a:pt x="5434" y="2160"/>
                </a:lnTo>
                <a:lnTo>
                  <a:pt x="5417" y="2140"/>
                </a:lnTo>
                <a:lnTo>
                  <a:pt x="5399" y="2119"/>
                </a:lnTo>
                <a:lnTo>
                  <a:pt x="5383" y="2099"/>
                </a:lnTo>
                <a:lnTo>
                  <a:pt x="5367" y="2077"/>
                </a:lnTo>
                <a:lnTo>
                  <a:pt x="5352" y="2055"/>
                </a:lnTo>
                <a:lnTo>
                  <a:pt x="5337" y="2032"/>
                </a:lnTo>
                <a:lnTo>
                  <a:pt x="5322" y="2009"/>
                </a:lnTo>
                <a:lnTo>
                  <a:pt x="5310" y="1986"/>
                </a:lnTo>
                <a:lnTo>
                  <a:pt x="5296" y="1962"/>
                </a:lnTo>
                <a:lnTo>
                  <a:pt x="5283" y="1938"/>
                </a:lnTo>
                <a:lnTo>
                  <a:pt x="5272" y="1913"/>
                </a:lnTo>
                <a:lnTo>
                  <a:pt x="5260" y="1888"/>
                </a:lnTo>
                <a:lnTo>
                  <a:pt x="5249" y="1862"/>
                </a:lnTo>
                <a:lnTo>
                  <a:pt x="5239" y="1836"/>
                </a:lnTo>
                <a:lnTo>
                  <a:pt x="5229" y="1810"/>
                </a:lnTo>
                <a:lnTo>
                  <a:pt x="5220" y="1783"/>
                </a:lnTo>
                <a:lnTo>
                  <a:pt x="5212" y="1756"/>
                </a:lnTo>
                <a:lnTo>
                  <a:pt x="5204" y="1728"/>
                </a:lnTo>
                <a:lnTo>
                  <a:pt x="5190" y="1672"/>
                </a:lnTo>
                <a:lnTo>
                  <a:pt x="5178" y="1613"/>
                </a:lnTo>
                <a:lnTo>
                  <a:pt x="5170" y="1554"/>
                </a:lnTo>
                <a:lnTo>
                  <a:pt x="5163" y="1493"/>
                </a:lnTo>
                <a:lnTo>
                  <a:pt x="5158" y="1430"/>
                </a:lnTo>
                <a:lnTo>
                  <a:pt x="5157" y="1366"/>
                </a:lnTo>
                <a:lnTo>
                  <a:pt x="5157" y="1366"/>
                </a:lnTo>
                <a:lnTo>
                  <a:pt x="5157" y="1366"/>
                </a:lnTo>
                <a:close/>
                <a:moveTo>
                  <a:pt x="7692" y="1395"/>
                </a:moveTo>
                <a:lnTo>
                  <a:pt x="7692" y="1395"/>
                </a:lnTo>
                <a:lnTo>
                  <a:pt x="7692" y="1357"/>
                </a:lnTo>
                <a:lnTo>
                  <a:pt x="7691" y="1318"/>
                </a:lnTo>
                <a:lnTo>
                  <a:pt x="7688" y="1281"/>
                </a:lnTo>
                <a:lnTo>
                  <a:pt x="7685" y="1244"/>
                </a:lnTo>
                <a:lnTo>
                  <a:pt x="7682" y="1207"/>
                </a:lnTo>
                <a:lnTo>
                  <a:pt x="7677" y="1170"/>
                </a:lnTo>
                <a:lnTo>
                  <a:pt x="7672" y="1134"/>
                </a:lnTo>
                <a:lnTo>
                  <a:pt x="7667" y="1098"/>
                </a:lnTo>
                <a:lnTo>
                  <a:pt x="7660" y="1063"/>
                </a:lnTo>
                <a:lnTo>
                  <a:pt x="7652" y="1028"/>
                </a:lnTo>
                <a:lnTo>
                  <a:pt x="7644" y="994"/>
                </a:lnTo>
                <a:lnTo>
                  <a:pt x="7634" y="960"/>
                </a:lnTo>
                <a:lnTo>
                  <a:pt x="7625" y="927"/>
                </a:lnTo>
                <a:lnTo>
                  <a:pt x="7615" y="894"/>
                </a:lnTo>
                <a:lnTo>
                  <a:pt x="7603" y="862"/>
                </a:lnTo>
                <a:lnTo>
                  <a:pt x="7592" y="830"/>
                </a:lnTo>
                <a:lnTo>
                  <a:pt x="7579" y="798"/>
                </a:lnTo>
                <a:lnTo>
                  <a:pt x="7566" y="767"/>
                </a:lnTo>
                <a:lnTo>
                  <a:pt x="7552" y="737"/>
                </a:lnTo>
                <a:lnTo>
                  <a:pt x="7537" y="707"/>
                </a:lnTo>
                <a:lnTo>
                  <a:pt x="7522" y="677"/>
                </a:lnTo>
                <a:lnTo>
                  <a:pt x="7506" y="648"/>
                </a:lnTo>
                <a:lnTo>
                  <a:pt x="7489" y="621"/>
                </a:lnTo>
                <a:lnTo>
                  <a:pt x="7471" y="592"/>
                </a:lnTo>
                <a:lnTo>
                  <a:pt x="7453" y="566"/>
                </a:lnTo>
                <a:lnTo>
                  <a:pt x="7435" y="538"/>
                </a:lnTo>
                <a:lnTo>
                  <a:pt x="7415" y="513"/>
                </a:lnTo>
                <a:lnTo>
                  <a:pt x="7396" y="487"/>
                </a:lnTo>
                <a:lnTo>
                  <a:pt x="7375" y="462"/>
                </a:lnTo>
                <a:lnTo>
                  <a:pt x="7353" y="438"/>
                </a:lnTo>
                <a:lnTo>
                  <a:pt x="7331" y="414"/>
                </a:lnTo>
                <a:lnTo>
                  <a:pt x="7309" y="391"/>
                </a:lnTo>
                <a:lnTo>
                  <a:pt x="7286" y="368"/>
                </a:lnTo>
                <a:lnTo>
                  <a:pt x="7262" y="347"/>
                </a:lnTo>
                <a:lnTo>
                  <a:pt x="7238" y="325"/>
                </a:lnTo>
                <a:lnTo>
                  <a:pt x="7214" y="304"/>
                </a:lnTo>
                <a:lnTo>
                  <a:pt x="7188" y="285"/>
                </a:lnTo>
                <a:lnTo>
                  <a:pt x="7162" y="265"/>
                </a:lnTo>
                <a:lnTo>
                  <a:pt x="7136" y="247"/>
                </a:lnTo>
                <a:lnTo>
                  <a:pt x="7108" y="228"/>
                </a:lnTo>
                <a:lnTo>
                  <a:pt x="7081" y="211"/>
                </a:lnTo>
                <a:lnTo>
                  <a:pt x="7053" y="194"/>
                </a:lnTo>
                <a:lnTo>
                  <a:pt x="7025" y="178"/>
                </a:lnTo>
                <a:lnTo>
                  <a:pt x="6995" y="163"/>
                </a:lnTo>
                <a:lnTo>
                  <a:pt x="6966" y="148"/>
                </a:lnTo>
                <a:lnTo>
                  <a:pt x="6935" y="133"/>
                </a:lnTo>
                <a:lnTo>
                  <a:pt x="6904" y="120"/>
                </a:lnTo>
                <a:lnTo>
                  <a:pt x="6873" y="108"/>
                </a:lnTo>
                <a:lnTo>
                  <a:pt x="6842" y="95"/>
                </a:lnTo>
                <a:lnTo>
                  <a:pt x="6810" y="85"/>
                </a:lnTo>
                <a:lnTo>
                  <a:pt x="6776" y="75"/>
                </a:lnTo>
                <a:lnTo>
                  <a:pt x="6743" y="64"/>
                </a:lnTo>
                <a:lnTo>
                  <a:pt x="6710" y="55"/>
                </a:lnTo>
                <a:lnTo>
                  <a:pt x="6677" y="47"/>
                </a:lnTo>
                <a:lnTo>
                  <a:pt x="6642" y="40"/>
                </a:lnTo>
                <a:lnTo>
                  <a:pt x="6606" y="33"/>
                </a:lnTo>
                <a:lnTo>
                  <a:pt x="6571" y="26"/>
                </a:lnTo>
                <a:lnTo>
                  <a:pt x="6535" y="22"/>
                </a:lnTo>
                <a:lnTo>
                  <a:pt x="6500" y="17"/>
                </a:lnTo>
                <a:lnTo>
                  <a:pt x="6463" y="14"/>
                </a:lnTo>
                <a:lnTo>
                  <a:pt x="6426" y="10"/>
                </a:lnTo>
                <a:lnTo>
                  <a:pt x="6388" y="9"/>
                </a:lnTo>
                <a:lnTo>
                  <a:pt x="6350" y="8"/>
                </a:lnTo>
                <a:lnTo>
                  <a:pt x="6312" y="7"/>
                </a:lnTo>
                <a:lnTo>
                  <a:pt x="6312" y="7"/>
                </a:lnTo>
                <a:lnTo>
                  <a:pt x="6272" y="8"/>
                </a:lnTo>
                <a:lnTo>
                  <a:pt x="6233" y="9"/>
                </a:lnTo>
                <a:lnTo>
                  <a:pt x="6194" y="10"/>
                </a:lnTo>
                <a:lnTo>
                  <a:pt x="6156" y="14"/>
                </a:lnTo>
                <a:lnTo>
                  <a:pt x="6117" y="17"/>
                </a:lnTo>
                <a:lnTo>
                  <a:pt x="6080" y="22"/>
                </a:lnTo>
                <a:lnTo>
                  <a:pt x="6043" y="26"/>
                </a:lnTo>
                <a:lnTo>
                  <a:pt x="6006" y="32"/>
                </a:lnTo>
                <a:lnTo>
                  <a:pt x="5970" y="39"/>
                </a:lnTo>
                <a:lnTo>
                  <a:pt x="5935" y="46"/>
                </a:lnTo>
                <a:lnTo>
                  <a:pt x="5899" y="54"/>
                </a:lnTo>
                <a:lnTo>
                  <a:pt x="5865" y="63"/>
                </a:lnTo>
                <a:lnTo>
                  <a:pt x="5830" y="72"/>
                </a:lnTo>
                <a:lnTo>
                  <a:pt x="5796" y="83"/>
                </a:lnTo>
                <a:lnTo>
                  <a:pt x="5763" y="93"/>
                </a:lnTo>
                <a:lnTo>
                  <a:pt x="5730" y="104"/>
                </a:lnTo>
                <a:lnTo>
                  <a:pt x="5698" y="117"/>
                </a:lnTo>
                <a:lnTo>
                  <a:pt x="5666" y="130"/>
                </a:lnTo>
                <a:lnTo>
                  <a:pt x="5635" y="143"/>
                </a:lnTo>
                <a:lnTo>
                  <a:pt x="5604" y="157"/>
                </a:lnTo>
                <a:lnTo>
                  <a:pt x="5574" y="172"/>
                </a:lnTo>
                <a:lnTo>
                  <a:pt x="5544" y="188"/>
                </a:lnTo>
                <a:lnTo>
                  <a:pt x="5515" y="204"/>
                </a:lnTo>
                <a:lnTo>
                  <a:pt x="5487" y="221"/>
                </a:lnTo>
                <a:lnTo>
                  <a:pt x="5459" y="239"/>
                </a:lnTo>
                <a:lnTo>
                  <a:pt x="5432" y="257"/>
                </a:lnTo>
                <a:lnTo>
                  <a:pt x="5405" y="277"/>
                </a:lnTo>
                <a:lnTo>
                  <a:pt x="5379" y="296"/>
                </a:lnTo>
                <a:lnTo>
                  <a:pt x="5353" y="316"/>
                </a:lnTo>
                <a:lnTo>
                  <a:pt x="5328" y="336"/>
                </a:lnTo>
                <a:lnTo>
                  <a:pt x="5304" y="358"/>
                </a:lnTo>
                <a:lnTo>
                  <a:pt x="5281" y="380"/>
                </a:lnTo>
                <a:lnTo>
                  <a:pt x="5257" y="403"/>
                </a:lnTo>
                <a:lnTo>
                  <a:pt x="5235" y="426"/>
                </a:lnTo>
                <a:lnTo>
                  <a:pt x="5213" y="449"/>
                </a:lnTo>
                <a:lnTo>
                  <a:pt x="5191" y="474"/>
                </a:lnTo>
                <a:lnTo>
                  <a:pt x="5172" y="498"/>
                </a:lnTo>
                <a:lnTo>
                  <a:pt x="5151" y="523"/>
                </a:lnTo>
                <a:lnTo>
                  <a:pt x="5133" y="550"/>
                </a:lnTo>
                <a:lnTo>
                  <a:pt x="5113" y="576"/>
                </a:lnTo>
                <a:lnTo>
                  <a:pt x="5096" y="604"/>
                </a:lnTo>
                <a:lnTo>
                  <a:pt x="5079" y="631"/>
                </a:lnTo>
                <a:lnTo>
                  <a:pt x="5063" y="659"/>
                </a:lnTo>
                <a:lnTo>
                  <a:pt x="5047" y="687"/>
                </a:lnTo>
                <a:lnTo>
                  <a:pt x="5032" y="717"/>
                </a:lnTo>
                <a:lnTo>
                  <a:pt x="5017" y="747"/>
                </a:lnTo>
                <a:lnTo>
                  <a:pt x="5003" y="777"/>
                </a:lnTo>
                <a:lnTo>
                  <a:pt x="4990" y="808"/>
                </a:lnTo>
                <a:lnTo>
                  <a:pt x="4979" y="839"/>
                </a:lnTo>
                <a:lnTo>
                  <a:pt x="4967" y="871"/>
                </a:lnTo>
                <a:lnTo>
                  <a:pt x="4956" y="903"/>
                </a:lnTo>
                <a:lnTo>
                  <a:pt x="4947" y="935"/>
                </a:lnTo>
                <a:lnTo>
                  <a:pt x="4938" y="968"/>
                </a:lnTo>
                <a:lnTo>
                  <a:pt x="4928" y="1002"/>
                </a:lnTo>
                <a:lnTo>
                  <a:pt x="4922" y="1036"/>
                </a:lnTo>
                <a:lnTo>
                  <a:pt x="4915" y="1071"/>
                </a:lnTo>
                <a:lnTo>
                  <a:pt x="4908" y="1105"/>
                </a:lnTo>
                <a:lnTo>
                  <a:pt x="4903" y="1141"/>
                </a:lnTo>
                <a:lnTo>
                  <a:pt x="4899" y="1177"/>
                </a:lnTo>
                <a:lnTo>
                  <a:pt x="4895" y="1213"/>
                </a:lnTo>
                <a:lnTo>
                  <a:pt x="4892" y="1250"/>
                </a:lnTo>
                <a:lnTo>
                  <a:pt x="4889" y="1286"/>
                </a:lnTo>
                <a:lnTo>
                  <a:pt x="4888" y="1324"/>
                </a:lnTo>
                <a:lnTo>
                  <a:pt x="4888" y="1362"/>
                </a:lnTo>
                <a:lnTo>
                  <a:pt x="4888" y="1362"/>
                </a:lnTo>
                <a:lnTo>
                  <a:pt x="4889" y="1423"/>
                </a:lnTo>
                <a:lnTo>
                  <a:pt x="4893" y="1484"/>
                </a:lnTo>
                <a:lnTo>
                  <a:pt x="4899" y="1545"/>
                </a:lnTo>
                <a:lnTo>
                  <a:pt x="4907" y="1604"/>
                </a:lnTo>
                <a:lnTo>
                  <a:pt x="4917" y="1664"/>
                </a:lnTo>
                <a:lnTo>
                  <a:pt x="4930" y="1722"/>
                </a:lnTo>
                <a:lnTo>
                  <a:pt x="4945" y="1780"/>
                </a:lnTo>
                <a:lnTo>
                  <a:pt x="4962" y="1837"/>
                </a:lnTo>
                <a:lnTo>
                  <a:pt x="4981" y="1892"/>
                </a:lnTo>
                <a:lnTo>
                  <a:pt x="5002" y="1947"/>
                </a:lnTo>
                <a:lnTo>
                  <a:pt x="5025" y="2000"/>
                </a:lnTo>
                <a:lnTo>
                  <a:pt x="5050" y="2052"/>
                </a:lnTo>
                <a:lnTo>
                  <a:pt x="5077" y="2102"/>
                </a:lnTo>
                <a:lnTo>
                  <a:pt x="5105" y="2150"/>
                </a:lnTo>
                <a:lnTo>
                  <a:pt x="5136" y="2197"/>
                </a:lnTo>
                <a:lnTo>
                  <a:pt x="5168" y="2242"/>
                </a:lnTo>
                <a:lnTo>
                  <a:pt x="5168" y="2242"/>
                </a:lnTo>
                <a:lnTo>
                  <a:pt x="5191" y="2272"/>
                </a:lnTo>
                <a:lnTo>
                  <a:pt x="5216" y="2302"/>
                </a:lnTo>
                <a:lnTo>
                  <a:pt x="5240" y="2329"/>
                </a:lnTo>
                <a:lnTo>
                  <a:pt x="5266" y="2357"/>
                </a:lnTo>
                <a:lnTo>
                  <a:pt x="5293" y="2385"/>
                </a:lnTo>
                <a:lnTo>
                  <a:pt x="5320" y="2410"/>
                </a:lnTo>
                <a:lnTo>
                  <a:pt x="5348" y="2434"/>
                </a:lnTo>
                <a:lnTo>
                  <a:pt x="5376" y="2458"/>
                </a:lnTo>
                <a:lnTo>
                  <a:pt x="5407" y="2481"/>
                </a:lnTo>
                <a:lnTo>
                  <a:pt x="5437" y="2503"/>
                </a:lnTo>
                <a:lnTo>
                  <a:pt x="5469" y="2525"/>
                </a:lnTo>
                <a:lnTo>
                  <a:pt x="5502" y="2544"/>
                </a:lnTo>
                <a:lnTo>
                  <a:pt x="5535" y="2564"/>
                </a:lnTo>
                <a:lnTo>
                  <a:pt x="5568" y="2582"/>
                </a:lnTo>
                <a:lnTo>
                  <a:pt x="5603" y="2599"/>
                </a:lnTo>
                <a:lnTo>
                  <a:pt x="5638" y="2615"/>
                </a:lnTo>
                <a:lnTo>
                  <a:pt x="5675" y="2630"/>
                </a:lnTo>
                <a:lnTo>
                  <a:pt x="5712" y="2645"/>
                </a:lnTo>
                <a:lnTo>
                  <a:pt x="5749" y="2659"/>
                </a:lnTo>
                <a:lnTo>
                  <a:pt x="5786" y="2671"/>
                </a:lnTo>
                <a:lnTo>
                  <a:pt x="5825" y="2683"/>
                </a:lnTo>
                <a:lnTo>
                  <a:pt x="5866" y="2693"/>
                </a:lnTo>
                <a:lnTo>
                  <a:pt x="5906" y="2702"/>
                </a:lnTo>
                <a:lnTo>
                  <a:pt x="5946" y="2710"/>
                </a:lnTo>
                <a:lnTo>
                  <a:pt x="5987" y="2718"/>
                </a:lnTo>
                <a:lnTo>
                  <a:pt x="6030" y="2725"/>
                </a:lnTo>
                <a:lnTo>
                  <a:pt x="6072" y="2731"/>
                </a:lnTo>
                <a:lnTo>
                  <a:pt x="6115" y="2736"/>
                </a:lnTo>
                <a:lnTo>
                  <a:pt x="6160" y="2739"/>
                </a:lnTo>
                <a:lnTo>
                  <a:pt x="6203" y="2741"/>
                </a:lnTo>
                <a:lnTo>
                  <a:pt x="6248" y="2743"/>
                </a:lnTo>
                <a:lnTo>
                  <a:pt x="6294" y="2744"/>
                </a:lnTo>
                <a:lnTo>
                  <a:pt x="6294" y="2744"/>
                </a:lnTo>
                <a:lnTo>
                  <a:pt x="6363" y="2743"/>
                </a:lnTo>
                <a:lnTo>
                  <a:pt x="6431" y="2738"/>
                </a:lnTo>
                <a:lnTo>
                  <a:pt x="6499" y="2732"/>
                </a:lnTo>
                <a:lnTo>
                  <a:pt x="6564" y="2724"/>
                </a:lnTo>
                <a:lnTo>
                  <a:pt x="6628" y="2713"/>
                </a:lnTo>
                <a:lnTo>
                  <a:pt x="6691" y="2700"/>
                </a:lnTo>
                <a:lnTo>
                  <a:pt x="6753" y="2684"/>
                </a:lnTo>
                <a:lnTo>
                  <a:pt x="6813" y="2666"/>
                </a:lnTo>
                <a:lnTo>
                  <a:pt x="6843" y="2655"/>
                </a:lnTo>
                <a:lnTo>
                  <a:pt x="6872" y="2645"/>
                </a:lnTo>
                <a:lnTo>
                  <a:pt x="6901" y="2635"/>
                </a:lnTo>
                <a:lnTo>
                  <a:pt x="6929" y="2622"/>
                </a:lnTo>
                <a:lnTo>
                  <a:pt x="6957" y="2611"/>
                </a:lnTo>
                <a:lnTo>
                  <a:pt x="6984" y="2597"/>
                </a:lnTo>
                <a:lnTo>
                  <a:pt x="7011" y="2583"/>
                </a:lnTo>
                <a:lnTo>
                  <a:pt x="7037" y="2569"/>
                </a:lnTo>
                <a:lnTo>
                  <a:pt x="7064" y="2554"/>
                </a:lnTo>
                <a:lnTo>
                  <a:pt x="7089" y="2539"/>
                </a:lnTo>
                <a:lnTo>
                  <a:pt x="7113" y="2523"/>
                </a:lnTo>
                <a:lnTo>
                  <a:pt x="7138" y="2507"/>
                </a:lnTo>
                <a:lnTo>
                  <a:pt x="7162" y="2490"/>
                </a:lnTo>
                <a:lnTo>
                  <a:pt x="7185" y="2472"/>
                </a:lnTo>
                <a:lnTo>
                  <a:pt x="7208" y="2455"/>
                </a:lnTo>
                <a:lnTo>
                  <a:pt x="7231" y="2435"/>
                </a:lnTo>
                <a:lnTo>
                  <a:pt x="7231" y="2435"/>
                </a:lnTo>
                <a:lnTo>
                  <a:pt x="7257" y="2412"/>
                </a:lnTo>
                <a:lnTo>
                  <a:pt x="7282" y="2389"/>
                </a:lnTo>
                <a:lnTo>
                  <a:pt x="7307" y="2364"/>
                </a:lnTo>
                <a:lnTo>
                  <a:pt x="7331" y="2339"/>
                </a:lnTo>
                <a:lnTo>
                  <a:pt x="7354" y="2312"/>
                </a:lnTo>
                <a:lnTo>
                  <a:pt x="7377" y="2285"/>
                </a:lnTo>
                <a:lnTo>
                  <a:pt x="7400" y="2257"/>
                </a:lnTo>
                <a:lnTo>
                  <a:pt x="7421" y="2228"/>
                </a:lnTo>
                <a:lnTo>
                  <a:pt x="7441" y="2199"/>
                </a:lnTo>
                <a:lnTo>
                  <a:pt x="7462" y="2169"/>
                </a:lnTo>
                <a:lnTo>
                  <a:pt x="7482" y="2138"/>
                </a:lnTo>
                <a:lnTo>
                  <a:pt x="7500" y="2107"/>
                </a:lnTo>
                <a:lnTo>
                  <a:pt x="7517" y="2075"/>
                </a:lnTo>
                <a:lnTo>
                  <a:pt x="7535" y="2043"/>
                </a:lnTo>
                <a:lnTo>
                  <a:pt x="7551" y="2009"/>
                </a:lnTo>
                <a:lnTo>
                  <a:pt x="7567" y="1975"/>
                </a:lnTo>
                <a:lnTo>
                  <a:pt x="7582" y="1942"/>
                </a:lnTo>
                <a:lnTo>
                  <a:pt x="7595" y="1907"/>
                </a:lnTo>
                <a:lnTo>
                  <a:pt x="7608" y="1872"/>
                </a:lnTo>
                <a:lnTo>
                  <a:pt x="7620" y="1836"/>
                </a:lnTo>
                <a:lnTo>
                  <a:pt x="7631" y="1800"/>
                </a:lnTo>
                <a:lnTo>
                  <a:pt x="7641" y="1765"/>
                </a:lnTo>
                <a:lnTo>
                  <a:pt x="7651" y="1728"/>
                </a:lnTo>
                <a:lnTo>
                  <a:pt x="7660" y="1693"/>
                </a:lnTo>
                <a:lnTo>
                  <a:pt x="7667" y="1656"/>
                </a:lnTo>
                <a:lnTo>
                  <a:pt x="7673" y="1619"/>
                </a:lnTo>
                <a:lnTo>
                  <a:pt x="7679" y="1581"/>
                </a:lnTo>
                <a:lnTo>
                  <a:pt x="7684" y="1545"/>
                </a:lnTo>
                <a:lnTo>
                  <a:pt x="7687" y="1508"/>
                </a:lnTo>
                <a:lnTo>
                  <a:pt x="7690" y="1470"/>
                </a:lnTo>
                <a:lnTo>
                  <a:pt x="7692" y="1433"/>
                </a:lnTo>
                <a:lnTo>
                  <a:pt x="7692" y="1395"/>
                </a:lnTo>
                <a:lnTo>
                  <a:pt x="7692" y="1395"/>
                </a:lnTo>
                <a:lnTo>
                  <a:pt x="7692" y="1395"/>
                </a:lnTo>
                <a:close/>
                <a:moveTo>
                  <a:pt x="9640" y="2446"/>
                </a:moveTo>
                <a:lnTo>
                  <a:pt x="9640" y="2446"/>
                </a:lnTo>
                <a:lnTo>
                  <a:pt x="9640" y="2446"/>
                </a:lnTo>
                <a:lnTo>
                  <a:pt x="8876" y="2446"/>
                </a:lnTo>
                <a:lnTo>
                  <a:pt x="8876" y="301"/>
                </a:lnTo>
                <a:lnTo>
                  <a:pt x="9658" y="301"/>
                </a:lnTo>
                <a:lnTo>
                  <a:pt x="9658" y="301"/>
                </a:lnTo>
                <a:lnTo>
                  <a:pt x="9723" y="301"/>
                </a:lnTo>
                <a:lnTo>
                  <a:pt x="9783" y="303"/>
                </a:lnTo>
                <a:lnTo>
                  <a:pt x="9841" y="306"/>
                </a:lnTo>
                <a:lnTo>
                  <a:pt x="9895" y="311"/>
                </a:lnTo>
                <a:lnTo>
                  <a:pt x="9945" y="317"/>
                </a:lnTo>
                <a:lnTo>
                  <a:pt x="9992" y="324"/>
                </a:lnTo>
                <a:lnTo>
                  <a:pt x="10037" y="333"/>
                </a:lnTo>
                <a:lnTo>
                  <a:pt x="10080" y="343"/>
                </a:lnTo>
                <a:lnTo>
                  <a:pt x="10120" y="356"/>
                </a:lnTo>
                <a:lnTo>
                  <a:pt x="10158" y="369"/>
                </a:lnTo>
                <a:lnTo>
                  <a:pt x="10193" y="386"/>
                </a:lnTo>
                <a:lnTo>
                  <a:pt x="10228" y="403"/>
                </a:lnTo>
                <a:lnTo>
                  <a:pt x="10261" y="421"/>
                </a:lnTo>
                <a:lnTo>
                  <a:pt x="10292" y="442"/>
                </a:lnTo>
                <a:lnTo>
                  <a:pt x="10323" y="465"/>
                </a:lnTo>
                <a:lnTo>
                  <a:pt x="10352" y="490"/>
                </a:lnTo>
                <a:lnTo>
                  <a:pt x="10352" y="490"/>
                </a:lnTo>
                <a:lnTo>
                  <a:pt x="10370" y="507"/>
                </a:lnTo>
                <a:lnTo>
                  <a:pt x="10388" y="526"/>
                </a:lnTo>
                <a:lnTo>
                  <a:pt x="10405" y="544"/>
                </a:lnTo>
                <a:lnTo>
                  <a:pt x="10421" y="563"/>
                </a:lnTo>
                <a:lnTo>
                  <a:pt x="10437" y="583"/>
                </a:lnTo>
                <a:lnTo>
                  <a:pt x="10452" y="605"/>
                </a:lnTo>
                <a:lnTo>
                  <a:pt x="10466" y="625"/>
                </a:lnTo>
                <a:lnTo>
                  <a:pt x="10481" y="648"/>
                </a:lnTo>
                <a:lnTo>
                  <a:pt x="10493" y="670"/>
                </a:lnTo>
                <a:lnTo>
                  <a:pt x="10506" y="694"/>
                </a:lnTo>
                <a:lnTo>
                  <a:pt x="10518" y="718"/>
                </a:lnTo>
                <a:lnTo>
                  <a:pt x="10530" y="742"/>
                </a:lnTo>
                <a:lnTo>
                  <a:pt x="10541" y="769"/>
                </a:lnTo>
                <a:lnTo>
                  <a:pt x="10552" y="795"/>
                </a:lnTo>
                <a:lnTo>
                  <a:pt x="10562" y="822"/>
                </a:lnTo>
                <a:lnTo>
                  <a:pt x="10571" y="849"/>
                </a:lnTo>
                <a:lnTo>
                  <a:pt x="10580" y="877"/>
                </a:lnTo>
                <a:lnTo>
                  <a:pt x="10589" y="907"/>
                </a:lnTo>
                <a:lnTo>
                  <a:pt x="10595" y="935"/>
                </a:lnTo>
                <a:lnTo>
                  <a:pt x="10603" y="966"/>
                </a:lnTo>
                <a:lnTo>
                  <a:pt x="10609" y="997"/>
                </a:lnTo>
                <a:lnTo>
                  <a:pt x="10615" y="1028"/>
                </a:lnTo>
                <a:lnTo>
                  <a:pt x="10625" y="1094"/>
                </a:lnTo>
                <a:lnTo>
                  <a:pt x="10633" y="1161"/>
                </a:lnTo>
                <a:lnTo>
                  <a:pt x="10639" y="1231"/>
                </a:lnTo>
                <a:lnTo>
                  <a:pt x="10643" y="1305"/>
                </a:lnTo>
                <a:lnTo>
                  <a:pt x="10644" y="1380"/>
                </a:lnTo>
                <a:lnTo>
                  <a:pt x="10644" y="1380"/>
                </a:lnTo>
                <a:lnTo>
                  <a:pt x="10643" y="1452"/>
                </a:lnTo>
                <a:lnTo>
                  <a:pt x="10639" y="1520"/>
                </a:lnTo>
                <a:lnTo>
                  <a:pt x="10634" y="1587"/>
                </a:lnTo>
                <a:lnTo>
                  <a:pt x="10628" y="1651"/>
                </a:lnTo>
                <a:lnTo>
                  <a:pt x="10618" y="1713"/>
                </a:lnTo>
                <a:lnTo>
                  <a:pt x="10608" y="1773"/>
                </a:lnTo>
                <a:lnTo>
                  <a:pt x="10594" y="1830"/>
                </a:lnTo>
                <a:lnTo>
                  <a:pt x="10579" y="1884"/>
                </a:lnTo>
                <a:lnTo>
                  <a:pt x="10562" y="1937"/>
                </a:lnTo>
                <a:lnTo>
                  <a:pt x="10553" y="1962"/>
                </a:lnTo>
                <a:lnTo>
                  <a:pt x="10544" y="1986"/>
                </a:lnTo>
                <a:lnTo>
                  <a:pt x="10533" y="2010"/>
                </a:lnTo>
                <a:lnTo>
                  <a:pt x="10522" y="2033"/>
                </a:lnTo>
                <a:lnTo>
                  <a:pt x="10510" y="2056"/>
                </a:lnTo>
                <a:lnTo>
                  <a:pt x="10499" y="2079"/>
                </a:lnTo>
                <a:lnTo>
                  <a:pt x="10486" y="2100"/>
                </a:lnTo>
                <a:lnTo>
                  <a:pt x="10474" y="2122"/>
                </a:lnTo>
                <a:lnTo>
                  <a:pt x="10460" y="2142"/>
                </a:lnTo>
                <a:lnTo>
                  <a:pt x="10446" y="2162"/>
                </a:lnTo>
                <a:lnTo>
                  <a:pt x="10431" y="2180"/>
                </a:lnTo>
                <a:lnTo>
                  <a:pt x="10416" y="2200"/>
                </a:lnTo>
                <a:lnTo>
                  <a:pt x="10401" y="2217"/>
                </a:lnTo>
                <a:lnTo>
                  <a:pt x="10385" y="2234"/>
                </a:lnTo>
                <a:lnTo>
                  <a:pt x="10385" y="2234"/>
                </a:lnTo>
                <a:lnTo>
                  <a:pt x="10357" y="2263"/>
                </a:lnTo>
                <a:lnTo>
                  <a:pt x="10327" y="2289"/>
                </a:lnTo>
                <a:lnTo>
                  <a:pt x="10296" y="2313"/>
                </a:lnTo>
                <a:lnTo>
                  <a:pt x="10280" y="2325"/>
                </a:lnTo>
                <a:lnTo>
                  <a:pt x="10263" y="2335"/>
                </a:lnTo>
                <a:lnTo>
                  <a:pt x="10246" y="2345"/>
                </a:lnTo>
                <a:lnTo>
                  <a:pt x="10229" y="2355"/>
                </a:lnTo>
                <a:lnTo>
                  <a:pt x="10212" y="2364"/>
                </a:lnTo>
                <a:lnTo>
                  <a:pt x="10193" y="2372"/>
                </a:lnTo>
                <a:lnTo>
                  <a:pt x="10174" y="2380"/>
                </a:lnTo>
                <a:lnTo>
                  <a:pt x="10154" y="2387"/>
                </a:lnTo>
                <a:lnTo>
                  <a:pt x="10112" y="2401"/>
                </a:lnTo>
                <a:lnTo>
                  <a:pt x="10067" y="2412"/>
                </a:lnTo>
                <a:lnTo>
                  <a:pt x="10019" y="2421"/>
                </a:lnTo>
                <a:lnTo>
                  <a:pt x="9967" y="2429"/>
                </a:lnTo>
                <a:lnTo>
                  <a:pt x="9911" y="2436"/>
                </a:lnTo>
                <a:lnTo>
                  <a:pt x="9851" y="2441"/>
                </a:lnTo>
                <a:lnTo>
                  <a:pt x="9786" y="2444"/>
                </a:lnTo>
                <a:lnTo>
                  <a:pt x="9716" y="2445"/>
                </a:lnTo>
                <a:lnTo>
                  <a:pt x="9640" y="2446"/>
                </a:lnTo>
                <a:lnTo>
                  <a:pt x="9640" y="2446"/>
                </a:lnTo>
                <a:lnTo>
                  <a:pt x="9640" y="2446"/>
                </a:lnTo>
                <a:close/>
                <a:moveTo>
                  <a:pt x="8611" y="60"/>
                </a:moveTo>
                <a:lnTo>
                  <a:pt x="8611" y="60"/>
                </a:lnTo>
                <a:lnTo>
                  <a:pt x="8611" y="2687"/>
                </a:lnTo>
                <a:lnTo>
                  <a:pt x="9636" y="2687"/>
                </a:lnTo>
                <a:lnTo>
                  <a:pt x="9636" y="2687"/>
                </a:lnTo>
                <a:lnTo>
                  <a:pt x="9733" y="2687"/>
                </a:lnTo>
                <a:lnTo>
                  <a:pt x="9821" y="2685"/>
                </a:lnTo>
                <a:lnTo>
                  <a:pt x="9904" y="2681"/>
                </a:lnTo>
                <a:lnTo>
                  <a:pt x="9979" y="2676"/>
                </a:lnTo>
                <a:lnTo>
                  <a:pt x="10049" y="2668"/>
                </a:lnTo>
                <a:lnTo>
                  <a:pt x="10081" y="2663"/>
                </a:lnTo>
                <a:lnTo>
                  <a:pt x="10112" y="2659"/>
                </a:lnTo>
                <a:lnTo>
                  <a:pt x="10143" y="2653"/>
                </a:lnTo>
                <a:lnTo>
                  <a:pt x="10172" y="2646"/>
                </a:lnTo>
                <a:lnTo>
                  <a:pt x="10199" y="2639"/>
                </a:lnTo>
                <a:lnTo>
                  <a:pt x="10227" y="2632"/>
                </a:lnTo>
                <a:lnTo>
                  <a:pt x="10252" y="2624"/>
                </a:lnTo>
                <a:lnTo>
                  <a:pt x="10277" y="2615"/>
                </a:lnTo>
                <a:lnTo>
                  <a:pt x="10301" y="2606"/>
                </a:lnTo>
                <a:lnTo>
                  <a:pt x="10324" y="2596"/>
                </a:lnTo>
                <a:lnTo>
                  <a:pt x="10347" y="2584"/>
                </a:lnTo>
                <a:lnTo>
                  <a:pt x="10369" y="2573"/>
                </a:lnTo>
                <a:lnTo>
                  <a:pt x="10391" y="2560"/>
                </a:lnTo>
                <a:lnTo>
                  <a:pt x="10412" y="2546"/>
                </a:lnTo>
                <a:lnTo>
                  <a:pt x="10432" y="2533"/>
                </a:lnTo>
                <a:lnTo>
                  <a:pt x="10453" y="2518"/>
                </a:lnTo>
                <a:lnTo>
                  <a:pt x="10473" y="2502"/>
                </a:lnTo>
                <a:lnTo>
                  <a:pt x="10492" y="2485"/>
                </a:lnTo>
                <a:lnTo>
                  <a:pt x="10512" y="2467"/>
                </a:lnTo>
                <a:lnTo>
                  <a:pt x="10531" y="2449"/>
                </a:lnTo>
                <a:lnTo>
                  <a:pt x="10570" y="2409"/>
                </a:lnTo>
                <a:lnTo>
                  <a:pt x="10570" y="2409"/>
                </a:lnTo>
                <a:lnTo>
                  <a:pt x="10591" y="2386"/>
                </a:lnTo>
                <a:lnTo>
                  <a:pt x="10611" y="2362"/>
                </a:lnTo>
                <a:lnTo>
                  <a:pt x="10631" y="2337"/>
                </a:lnTo>
                <a:lnTo>
                  <a:pt x="10651" y="2312"/>
                </a:lnTo>
                <a:lnTo>
                  <a:pt x="10669" y="2287"/>
                </a:lnTo>
                <a:lnTo>
                  <a:pt x="10686" y="2261"/>
                </a:lnTo>
                <a:lnTo>
                  <a:pt x="10703" y="2234"/>
                </a:lnTo>
                <a:lnTo>
                  <a:pt x="10719" y="2207"/>
                </a:lnTo>
                <a:lnTo>
                  <a:pt x="10736" y="2179"/>
                </a:lnTo>
                <a:lnTo>
                  <a:pt x="10750" y="2150"/>
                </a:lnTo>
                <a:lnTo>
                  <a:pt x="10765" y="2122"/>
                </a:lnTo>
                <a:lnTo>
                  <a:pt x="10779" y="2092"/>
                </a:lnTo>
                <a:lnTo>
                  <a:pt x="10792" y="2062"/>
                </a:lnTo>
                <a:lnTo>
                  <a:pt x="10804" y="2031"/>
                </a:lnTo>
                <a:lnTo>
                  <a:pt x="10816" y="1999"/>
                </a:lnTo>
                <a:lnTo>
                  <a:pt x="10827" y="1967"/>
                </a:lnTo>
                <a:lnTo>
                  <a:pt x="10838" y="1935"/>
                </a:lnTo>
                <a:lnTo>
                  <a:pt x="10847" y="1900"/>
                </a:lnTo>
                <a:lnTo>
                  <a:pt x="10856" y="1867"/>
                </a:lnTo>
                <a:lnTo>
                  <a:pt x="10864" y="1833"/>
                </a:lnTo>
                <a:lnTo>
                  <a:pt x="10872" y="1797"/>
                </a:lnTo>
                <a:lnTo>
                  <a:pt x="10879" y="1761"/>
                </a:lnTo>
                <a:lnTo>
                  <a:pt x="10886" y="1725"/>
                </a:lnTo>
                <a:lnTo>
                  <a:pt x="10892" y="1687"/>
                </a:lnTo>
                <a:lnTo>
                  <a:pt x="10896" y="1649"/>
                </a:lnTo>
                <a:lnTo>
                  <a:pt x="10901" y="1611"/>
                </a:lnTo>
                <a:lnTo>
                  <a:pt x="10904" y="1572"/>
                </a:lnTo>
                <a:lnTo>
                  <a:pt x="10908" y="1532"/>
                </a:lnTo>
                <a:lnTo>
                  <a:pt x="10910" y="1492"/>
                </a:lnTo>
                <a:lnTo>
                  <a:pt x="10911" y="1450"/>
                </a:lnTo>
                <a:lnTo>
                  <a:pt x="10912" y="1366"/>
                </a:lnTo>
                <a:lnTo>
                  <a:pt x="10912" y="1366"/>
                </a:lnTo>
                <a:lnTo>
                  <a:pt x="10912" y="1321"/>
                </a:lnTo>
                <a:lnTo>
                  <a:pt x="10911" y="1276"/>
                </a:lnTo>
                <a:lnTo>
                  <a:pt x="10909" y="1231"/>
                </a:lnTo>
                <a:lnTo>
                  <a:pt x="10907" y="1189"/>
                </a:lnTo>
                <a:lnTo>
                  <a:pt x="10903" y="1145"/>
                </a:lnTo>
                <a:lnTo>
                  <a:pt x="10899" y="1104"/>
                </a:lnTo>
                <a:lnTo>
                  <a:pt x="10894" y="1063"/>
                </a:lnTo>
                <a:lnTo>
                  <a:pt x="10888" y="1022"/>
                </a:lnTo>
                <a:lnTo>
                  <a:pt x="10881" y="983"/>
                </a:lnTo>
                <a:lnTo>
                  <a:pt x="10873" y="944"/>
                </a:lnTo>
                <a:lnTo>
                  <a:pt x="10865" y="907"/>
                </a:lnTo>
                <a:lnTo>
                  <a:pt x="10856" y="870"/>
                </a:lnTo>
                <a:lnTo>
                  <a:pt x="10847" y="833"/>
                </a:lnTo>
                <a:lnTo>
                  <a:pt x="10837" y="798"/>
                </a:lnTo>
                <a:lnTo>
                  <a:pt x="10825" y="762"/>
                </a:lnTo>
                <a:lnTo>
                  <a:pt x="10812" y="728"/>
                </a:lnTo>
                <a:lnTo>
                  <a:pt x="10800" y="694"/>
                </a:lnTo>
                <a:lnTo>
                  <a:pt x="10786" y="662"/>
                </a:lnTo>
                <a:lnTo>
                  <a:pt x="10771" y="630"/>
                </a:lnTo>
                <a:lnTo>
                  <a:pt x="10756" y="599"/>
                </a:lnTo>
                <a:lnTo>
                  <a:pt x="10740" y="568"/>
                </a:lnTo>
                <a:lnTo>
                  <a:pt x="10723" y="538"/>
                </a:lnTo>
                <a:lnTo>
                  <a:pt x="10706" y="509"/>
                </a:lnTo>
                <a:lnTo>
                  <a:pt x="10687" y="481"/>
                </a:lnTo>
                <a:lnTo>
                  <a:pt x="10668" y="453"/>
                </a:lnTo>
                <a:lnTo>
                  <a:pt x="10648" y="427"/>
                </a:lnTo>
                <a:lnTo>
                  <a:pt x="10626" y="400"/>
                </a:lnTo>
                <a:lnTo>
                  <a:pt x="10606" y="375"/>
                </a:lnTo>
                <a:lnTo>
                  <a:pt x="10583" y="351"/>
                </a:lnTo>
                <a:lnTo>
                  <a:pt x="10560" y="327"/>
                </a:lnTo>
                <a:lnTo>
                  <a:pt x="10536" y="304"/>
                </a:lnTo>
                <a:lnTo>
                  <a:pt x="10510" y="282"/>
                </a:lnTo>
                <a:lnTo>
                  <a:pt x="10510" y="282"/>
                </a:lnTo>
                <a:lnTo>
                  <a:pt x="10473" y="249"/>
                </a:lnTo>
                <a:lnTo>
                  <a:pt x="10435" y="220"/>
                </a:lnTo>
                <a:lnTo>
                  <a:pt x="10396" y="194"/>
                </a:lnTo>
                <a:lnTo>
                  <a:pt x="10377" y="181"/>
                </a:lnTo>
                <a:lnTo>
                  <a:pt x="10358" y="170"/>
                </a:lnTo>
                <a:lnTo>
                  <a:pt x="10337" y="160"/>
                </a:lnTo>
                <a:lnTo>
                  <a:pt x="10317" y="149"/>
                </a:lnTo>
                <a:lnTo>
                  <a:pt x="10297" y="140"/>
                </a:lnTo>
                <a:lnTo>
                  <a:pt x="10275" y="132"/>
                </a:lnTo>
                <a:lnTo>
                  <a:pt x="10253" y="123"/>
                </a:lnTo>
                <a:lnTo>
                  <a:pt x="10231" y="116"/>
                </a:lnTo>
                <a:lnTo>
                  <a:pt x="10208" y="109"/>
                </a:lnTo>
                <a:lnTo>
                  <a:pt x="10184" y="102"/>
                </a:lnTo>
                <a:lnTo>
                  <a:pt x="10160" y="96"/>
                </a:lnTo>
                <a:lnTo>
                  <a:pt x="10134" y="91"/>
                </a:lnTo>
                <a:lnTo>
                  <a:pt x="10080" y="81"/>
                </a:lnTo>
                <a:lnTo>
                  <a:pt x="10022" y="75"/>
                </a:lnTo>
                <a:lnTo>
                  <a:pt x="9959" y="69"/>
                </a:lnTo>
                <a:lnTo>
                  <a:pt x="9890" y="64"/>
                </a:lnTo>
                <a:lnTo>
                  <a:pt x="9816" y="61"/>
                </a:lnTo>
                <a:lnTo>
                  <a:pt x="9735" y="60"/>
                </a:lnTo>
                <a:lnTo>
                  <a:pt x="9648" y="60"/>
                </a:lnTo>
                <a:lnTo>
                  <a:pt x="8611" y="60"/>
                </a:lnTo>
                <a:lnTo>
                  <a:pt x="8611" y="60"/>
                </a:lnTo>
                <a:lnTo>
                  <a:pt x="8611" y="60"/>
                </a:lnTo>
                <a:close/>
                <a:moveTo>
                  <a:pt x="14144" y="1593"/>
                </a:moveTo>
                <a:lnTo>
                  <a:pt x="14144" y="1593"/>
                </a:lnTo>
                <a:lnTo>
                  <a:pt x="14144" y="60"/>
                </a:lnTo>
                <a:lnTo>
                  <a:pt x="13872" y="60"/>
                </a:lnTo>
                <a:lnTo>
                  <a:pt x="13872" y="1651"/>
                </a:lnTo>
                <a:lnTo>
                  <a:pt x="13872" y="1651"/>
                </a:lnTo>
                <a:lnTo>
                  <a:pt x="13871" y="1710"/>
                </a:lnTo>
                <a:lnTo>
                  <a:pt x="13870" y="1764"/>
                </a:lnTo>
                <a:lnTo>
                  <a:pt x="13868" y="1814"/>
                </a:lnTo>
                <a:lnTo>
                  <a:pt x="13864" y="1861"/>
                </a:lnTo>
                <a:lnTo>
                  <a:pt x="13860" y="1906"/>
                </a:lnTo>
                <a:lnTo>
                  <a:pt x="13854" y="1947"/>
                </a:lnTo>
                <a:lnTo>
                  <a:pt x="13847" y="1985"/>
                </a:lnTo>
                <a:lnTo>
                  <a:pt x="13839" y="2022"/>
                </a:lnTo>
                <a:lnTo>
                  <a:pt x="13830" y="2055"/>
                </a:lnTo>
                <a:lnTo>
                  <a:pt x="13818" y="2087"/>
                </a:lnTo>
                <a:lnTo>
                  <a:pt x="13807" y="2117"/>
                </a:lnTo>
                <a:lnTo>
                  <a:pt x="13793" y="2146"/>
                </a:lnTo>
                <a:lnTo>
                  <a:pt x="13777" y="2173"/>
                </a:lnTo>
                <a:lnTo>
                  <a:pt x="13760" y="2200"/>
                </a:lnTo>
                <a:lnTo>
                  <a:pt x="13741" y="2225"/>
                </a:lnTo>
                <a:lnTo>
                  <a:pt x="13721" y="2249"/>
                </a:lnTo>
                <a:lnTo>
                  <a:pt x="13721" y="2249"/>
                </a:lnTo>
                <a:lnTo>
                  <a:pt x="13707" y="2265"/>
                </a:lnTo>
                <a:lnTo>
                  <a:pt x="13692" y="2280"/>
                </a:lnTo>
                <a:lnTo>
                  <a:pt x="13677" y="2295"/>
                </a:lnTo>
                <a:lnTo>
                  <a:pt x="13661" y="2309"/>
                </a:lnTo>
                <a:lnTo>
                  <a:pt x="13645" y="2323"/>
                </a:lnTo>
                <a:lnTo>
                  <a:pt x="13628" y="2336"/>
                </a:lnTo>
                <a:lnTo>
                  <a:pt x="13610" y="2349"/>
                </a:lnTo>
                <a:lnTo>
                  <a:pt x="13592" y="2362"/>
                </a:lnTo>
                <a:lnTo>
                  <a:pt x="13554" y="2385"/>
                </a:lnTo>
                <a:lnTo>
                  <a:pt x="13514" y="2406"/>
                </a:lnTo>
                <a:lnTo>
                  <a:pt x="13471" y="2426"/>
                </a:lnTo>
                <a:lnTo>
                  <a:pt x="13428" y="2444"/>
                </a:lnTo>
                <a:lnTo>
                  <a:pt x="13381" y="2460"/>
                </a:lnTo>
                <a:lnTo>
                  <a:pt x="13332" y="2474"/>
                </a:lnTo>
                <a:lnTo>
                  <a:pt x="13283" y="2485"/>
                </a:lnTo>
                <a:lnTo>
                  <a:pt x="13231" y="2496"/>
                </a:lnTo>
                <a:lnTo>
                  <a:pt x="13179" y="2503"/>
                </a:lnTo>
                <a:lnTo>
                  <a:pt x="13125" y="2508"/>
                </a:lnTo>
                <a:lnTo>
                  <a:pt x="13069" y="2512"/>
                </a:lnTo>
                <a:lnTo>
                  <a:pt x="13012" y="2513"/>
                </a:lnTo>
                <a:lnTo>
                  <a:pt x="13012" y="2513"/>
                </a:lnTo>
                <a:lnTo>
                  <a:pt x="12958" y="2512"/>
                </a:lnTo>
                <a:lnTo>
                  <a:pt x="12905" y="2510"/>
                </a:lnTo>
                <a:lnTo>
                  <a:pt x="12852" y="2505"/>
                </a:lnTo>
                <a:lnTo>
                  <a:pt x="12802" y="2498"/>
                </a:lnTo>
                <a:lnTo>
                  <a:pt x="12752" y="2490"/>
                </a:lnTo>
                <a:lnTo>
                  <a:pt x="12704" y="2480"/>
                </a:lnTo>
                <a:lnTo>
                  <a:pt x="12657" y="2468"/>
                </a:lnTo>
                <a:lnTo>
                  <a:pt x="12612" y="2455"/>
                </a:lnTo>
                <a:lnTo>
                  <a:pt x="12567" y="2438"/>
                </a:lnTo>
                <a:lnTo>
                  <a:pt x="12526" y="2422"/>
                </a:lnTo>
                <a:lnTo>
                  <a:pt x="12485" y="2403"/>
                </a:lnTo>
                <a:lnTo>
                  <a:pt x="12447" y="2383"/>
                </a:lnTo>
                <a:lnTo>
                  <a:pt x="12410" y="2362"/>
                </a:lnTo>
                <a:lnTo>
                  <a:pt x="12375" y="2337"/>
                </a:lnTo>
                <a:lnTo>
                  <a:pt x="12342" y="2313"/>
                </a:lnTo>
                <a:lnTo>
                  <a:pt x="12311" y="2287"/>
                </a:lnTo>
                <a:lnTo>
                  <a:pt x="12311" y="2287"/>
                </a:lnTo>
                <a:lnTo>
                  <a:pt x="12286" y="2262"/>
                </a:lnTo>
                <a:lnTo>
                  <a:pt x="12263" y="2235"/>
                </a:lnTo>
                <a:lnTo>
                  <a:pt x="12241" y="2208"/>
                </a:lnTo>
                <a:lnTo>
                  <a:pt x="12222" y="2179"/>
                </a:lnTo>
                <a:lnTo>
                  <a:pt x="12203" y="2149"/>
                </a:lnTo>
                <a:lnTo>
                  <a:pt x="12187" y="2117"/>
                </a:lnTo>
                <a:lnTo>
                  <a:pt x="12172" y="2084"/>
                </a:lnTo>
                <a:lnTo>
                  <a:pt x="12159" y="2049"/>
                </a:lnTo>
                <a:lnTo>
                  <a:pt x="12147" y="2013"/>
                </a:lnTo>
                <a:lnTo>
                  <a:pt x="12137" y="1975"/>
                </a:lnTo>
                <a:lnTo>
                  <a:pt x="12128" y="1936"/>
                </a:lnTo>
                <a:lnTo>
                  <a:pt x="12121" y="1895"/>
                </a:lnTo>
                <a:lnTo>
                  <a:pt x="12115" y="1851"/>
                </a:lnTo>
                <a:lnTo>
                  <a:pt x="12112" y="1806"/>
                </a:lnTo>
                <a:lnTo>
                  <a:pt x="12109" y="1759"/>
                </a:lnTo>
                <a:lnTo>
                  <a:pt x="12108" y="1711"/>
                </a:lnTo>
                <a:lnTo>
                  <a:pt x="12108" y="60"/>
                </a:lnTo>
                <a:lnTo>
                  <a:pt x="11839" y="60"/>
                </a:lnTo>
                <a:lnTo>
                  <a:pt x="11839" y="1737"/>
                </a:lnTo>
                <a:lnTo>
                  <a:pt x="11839" y="1737"/>
                </a:lnTo>
                <a:lnTo>
                  <a:pt x="11839" y="1792"/>
                </a:lnTo>
                <a:lnTo>
                  <a:pt x="11843" y="1845"/>
                </a:lnTo>
                <a:lnTo>
                  <a:pt x="11847" y="1897"/>
                </a:lnTo>
                <a:lnTo>
                  <a:pt x="11853" y="1946"/>
                </a:lnTo>
                <a:lnTo>
                  <a:pt x="11861" y="1993"/>
                </a:lnTo>
                <a:lnTo>
                  <a:pt x="11871" y="2039"/>
                </a:lnTo>
                <a:lnTo>
                  <a:pt x="11883" y="2083"/>
                </a:lnTo>
                <a:lnTo>
                  <a:pt x="11897" y="2125"/>
                </a:lnTo>
                <a:lnTo>
                  <a:pt x="11913" y="2166"/>
                </a:lnTo>
                <a:lnTo>
                  <a:pt x="11930" y="2205"/>
                </a:lnTo>
                <a:lnTo>
                  <a:pt x="11950" y="2243"/>
                </a:lnTo>
                <a:lnTo>
                  <a:pt x="11971" y="2281"/>
                </a:lnTo>
                <a:lnTo>
                  <a:pt x="11996" y="2317"/>
                </a:lnTo>
                <a:lnTo>
                  <a:pt x="12021" y="2351"/>
                </a:lnTo>
                <a:lnTo>
                  <a:pt x="12048" y="2385"/>
                </a:lnTo>
                <a:lnTo>
                  <a:pt x="12078" y="2417"/>
                </a:lnTo>
                <a:lnTo>
                  <a:pt x="12078" y="2417"/>
                </a:lnTo>
                <a:lnTo>
                  <a:pt x="12099" y="2437"/>
                </a:lnTo>
                <a:lnTo>
                  <a:pt x="12120" y="2458"/>
                </a:lnTo>
                <a:lnTo>
                  <a:pt x="12140" y="2477"/>
                </a:lnTo>
                <a:lnTo>
                  <a:pt x="12161" y="2496"/>
                </a:lnTo>
                <a:lnTo>
                  <a:pt x="12183" y="2514"/>
                </a:lnTo>
                <a:lnTo>
                  <a:pt x="12206" y="2531"/>
                </a:lnTo>
                <a:lnTo>
                  <a:pt x="12229" y="2547"/>
                </a:lnTo>
                <a:lnTo>
                  <a:pt x="12252" y="2564"/>
                </a:lnTo>
                <a:lnTo>
                  <a:pt x="12276" y="2578"/>
                </a:lnTo>
                <a:lnTo>
                  <a:pt x="12300" y="2592"/>
                </a:lnTo>
                <a:lnTo>
                  <a:pt x="12324" y="2606"/>
                </a:lnTo>
                <a:lnTo>
                  <a:pt x="12349" y="2620"/>
                </a:lnTo>
                <a:lnTo>
                  <a:pt x="12376" y="2632"/>
                </a:lnTo>
                <a:lnTo>
                  <a:pt x="12402" y="2644"/>
                </a:lnTo>
                <a:lnTo>
                  <a:pt x="12429" y="2654"/>
                </a:lnTo>
                <a:lnTo>
                  <a:pt x="12456" y="2664"/>
                </a:lnTo>
                <a:lnTo>
                  <a:pt x="12485" y="2675"/>
                </a:lnTo>
                <a:lnTo>
                  <a:pt x="12513" y="2684"/>
                </a:lnTo>
                <a:lnTo>
                  <a:pt x="12542" y="2692"/>
                </a:lnTo>
                <a:lnTo>
                  <a:pt x="12572" y="2700"/>
                </a:lnTo>
                <a:lnTo>
                  <a:pt x="12602" y="2707"/>
                </a:lnTo>
                <a:lnTo>
                  <a:pt x="12633" y="2713"/>
                </a:lnTo>
                <a:lnTo>
                  <a:pt x="12665" y="2718"/>
                </a:lnTo>
                <a:lnTo>
                  <a:pt x="12696" y="2724"/>
                </a:lnTo>
                <a:lnTo>
                  <a:pt x="12729" y="2729"/>
                </a:lnTo>
                <a:lnTo>
                  <a:pt x="12763" y="2732"/>
                </a:lnTo>
                <a:lnTo>
                  <a:pt x="12831" y="2739"/>
                </a:lnTo>
                <a:lnTo>
                  <a:pt x="12902" y="2743"/>
                </a:lnTo>
                <a:lnTo>
                  <a:pt x="12975" y="2744"/>
                </a:lnTo>
                <a:lnTo>
                  <a:pt x="12975" y="2744"/>
                </a:lnTo>
                <a:lnTo>
                  <a:pt x="13018" y="2743"/>
                </a:lnTo>
                <a:lnTo>
                  <a:pt x="13059" y="2741"/>
                </a:lnTo>
                <a:lnTo>
                  <a:pt x="13100" y="2740"/>
                </a:lnTo>
                <a:lnTo>
                  <a:pt x="13141" y="2737"/>
                </a:lnTo>
                <a:lnTo>
                  <a:pt x="13180" y="2733"/>
                </a:lnTo>
                <a:lnTo>
                  <a:pt x="13219" y="2729"/>
                </a:lnTo>
                <a:lnTo>
                  <a:pt x="13257" y="2724"/>
                </a:lnTo>
                <a:lnTo>
                  <a:pt x="13295" y="2718"/>
                </a:lnTo>
                <a:lnTo>
                  <a:pt x="13331" y="2712"/>
                </a:lnTo>
                <a:lnTo>
                  <a:pt x="13367" y="2705"/>
                </a:lnTo>
                <a:lnTo>
                  <a:pt x="13402" y="2697"/>
                </a:lnTo>
                <a:lnTo>
                  <a:pt x="13437" y="2687"/>
                </a:lnTo>
                <a:lnTo>
                  <a:pt x="13471" y="2677"/>
                </a:lnTo>
                <a:lnTo>
                  <a:pt x="13505" y="2667"/>
                </a:lnTo>
                <a:lnTo>
                  <a:pt x="13537" y="2656"/>
                </a:lnTo>
                <a:lnTo>
                  <a:pt x="13569" y="2644"/>
                </a:lnTo>
                <a:lnTo>
                  <a:pt x="13600" y="2631"/>
                </a:lnTo>
                <a:lnTo>
                  <a:pt x="13630" y="2617"/>
                </a:lnTo>
                <a:lnTo>
                  <a:pt x="13660" y="2604"/>
                </a:lnTo>
                <a:lnTo>
                  <a:pt x="13688" y="2589"/>
                </a:lnTo>
                <a:lnTo>
                  <a:pt x="13716" y="2573"/>
                </a:lnTo>
                <a:lnTo>
                  <a:pt x="13744" y="2557"/>
                </a:lnTo>
                <a:lnTo>
                  <a:pt x="13770" y="2539"/>
                </a:lnTo>
                <a:lnTo>
                  <a:pt x="13795" y="2521"/>
                </a:lnTo>
                <a:lnTo>
                  <a:pt x="13821" y="2502"/>
                </a:lnTo>
                <a:lnTo>
                  <a:pt x="13845" y="2482"/>
                </a:lnTo>
                <a:lnTo>
                  <a:pt x="13868" y="2463"/>
                </a:lnTo>
                <a:lnTo>
                  <a:pt x="13889" y="2441"/>
                </a:lnTo>
                <a:lnTo>
                  <a:pt x="13911" y="2420"/>
                </a:lnTo>
                <a:lnTo>
                  <a:pt x="13932" y="2397"/>
                </a:lnTo>
                <a:lnTo>
                  <a:pt x="13953" y="2374"/>
                </a:lnTo>
                <a:lnTo>
                  <a:pt x="13971" y="2350"/>
                </a:lnTo>
                <a:lnTo>
                  <a:pt x="13971" y="2350"/>
                </a:lnTo>
                <a:lnTo>
                  <a:pt x="13995" y="2318"/>
                </a:lnTo>
                <a:lnTo>
                  <a:pt x="14017" y="2285"/>
                </a:lnTo>
                <a:lnTo>
                  <a:pt x="14036" y="2251"/>
                </a:lnTo>
                <a:lnTo>
                  <a:pt x="14055" y="2217"/>
                </a:lnTo>
                <a:lnTo>
                  <a:pt x="14071" y="2181"/>
                </a:lnTo>
                <a:lnTo>
                  <a:pt x="14085" y="2144"/>
                </a:lnTo>
                <a:lnTo>
                  <a:pt x="14097" y="2103"/>
                </a:lnTo>
                <a:lnTo>
                  <a:pt x="14108" y="2062"/>
                </a:lnTo>
                <a:lnTo>
                  <a:pt x="14117" y="2016"/>
                </a:lnTo>
                <a:lnTo>
                  <a:pt x="14125" y="1968"/>
                </a:lnTo>
                <a:lnTo>
                  <a:pt x="14132" y="1916"/>
                </a:lnTo>
                <a:lnTo>
                  <a:pt x="14136" y="1860"/>
                </a:lnTo>
                <a:lnTo>
                  <a:pt x="14140" y="1800"/>
                </a:lnTo>
                <a:lnTo>
                  <a:pt x="14143" y="1736"/>
                </a:lnTo>
                <a:lnTo>
                  <a:pt x="14144" y="1667"/>
                </a:lnTo>
                <a:lnTo>
                  <a:pt x="14144" y="1593"/>
                </a:lnTo>
                <a:lnTo>
                  <a:pt x="14144" y="1593"/>
                </a:lnTo>
                <a:lnTo>
                  <a:pt x="14144" y="1593"/>
                </a:lnTo>
                <a:close/>
                <a:moveTo>
                  <a:pt x="15075" y="33"/>
                </a:moveTo>
                <a:lnTo>
                  <a:pt x="15075" y="33"/>
                </a:lnTo>
                <a:lnTo>
                  <a:pt x="15075" y="2687"/>
                </a:lnTo>
                <a:lnTo>
                  <a:pt x="17141" y="2687"/>
                </a:lnTo>
                <a:lnTo>
                  <a:pt x="17141" y="2446"/>
                </a:lnTo>
                <a:lnTo>
                  <a:pt x="15344" y="2446"/>
                </a:lnTo>
                <a:lnTo>
                  <a:pt x="15344" y="33"/>
                </a:lnTo>
                <a:lnTo>
                  <a:pt x="15075" y="33"/>
                </a:lnTo>
                <a:lnTo>
                  <a:pt x="15075" y="33"/>
                </a:lnTo>
                <a:lnTo>
                  <a:pt x="15075" y="33"/>
                </a:lnTo>
                <a:close/>
                <a:moveTo>
                  <a:pt x="18070" y="2687"/>
                </a:moveTo>
                <a:lnTo>
                  <a:pt x="18070" y="2687"/>
                </a:lnTo>
                <a:lnTo>
                  <a:pt x="20125" y="2687"/>
                </a:lnTo>
                <a:lnTo>
                  <a:pt x="20125" y="2446"/>
                </a:lnTo>
                <a:lnTo>
                  <a:pt x="18336" y="2446"/>
                </a:lnTo>
                <a:lnTo>
                  <a:pt x="18336" y="1473"/>
                </a:lnTo>
                <a:lnTo>
                  <a:pt x="19635" y="1473"/>
                </a:lnTo>
                <a:lnTo>
                  <a:pt x="19635" y="1232"/>
                </a:lnTo>
                <a:lnTo>
                  <a:pt x="18336" y="1232"/>
                </a:lnTo>
                <a:lnTo>
                  <a:pt x="18336" y="301"/>
                </a:lnTo>
                <a:lnTo>
                  <a:pt x="20125" y="301"/>
                </a:lnTo>
                <a:lnTo>
                  <a:pt x="20125" y="60"/>
                </a:lnTo>
                <a:lnTo>
                  <a:pt x="18070" y="60"/>
                </a:lnTo>
                <a:lnTo>
                  <a:pt x="18070" y="2687"/>
                </a:lnTo>
                <a:lnTo>
                  <a:pt x="18070" y="2687"/>
                </a:lnTo>
                <a:lnTo>
                  <a:pt x="18070" y="2687"/>
                </a:lnTo>
                <a:close/>
                <a:moveTo>
                  <a:pt x="22690" y="798"/>
                </a:moveTo>
                <a:lnTo>
                  <a:pt x="22690" y="798"/>
                </a:lnTo>
                <a:lnTo>
                  <a:pt x="22952" y="798"/>
                </a:lnTo>
                <a:lnTo>
                  <a:pt x="22952" y="798"/>
                </a:lnTo>
                <a:lnTo>
                  <a:pt x="22947" y="755"/>
                </a:lnTo>
                <a:lnTo>
                  <a:pt x="22941" y="715"/>
                </a:lnTo>
                <a:lnTo>
                  <a:pt x="22935" y="676"/>
                </a:lnTo>
                <a:lnTo>
                  <a:pt x="22929" y="639"/>
                </a:lnTo>
                <a:lnTo>
                  <a:pt x="22921" y="604"/>
                </a:lnTo>
                <a:lnTo>
                  <a:pt x="22911" y="570"/>
                </a:lnTo>
                <a:lnTo>
                  <a:pt x="22901" y="538"/>
                </a:lnTo>
                <a:lnTo>
                  <a:pt x="22890" y="508"/>
                </a:lnTo>
                <a:lnTo>
                  <a:pt x="22877" y="479"/>
                </a:lnTo>
                <a:lnTo>
                  <a:pt x="22863" y="450"/>
                </a:lnTo>
                <a:lnTo>
                  <a:pt x="22848" y="422"/>
                </a:lnTo>
                <a:lnTo>
                  <a:pt x="22832" y="396"/>
                </a:lnTo>
                <a:lnTo>
                  <a:pt x="22814" y="369"/>
                </a:lnTo>
                <a:lnTo>
                  <a:pt x="22795" y="343"/>
                </a:lnTo>
                <a:lnTo>
                  <a:pt x="22775" y="318"/>
                </a:lnTo>
                <a:lnTo>
                  <a:pt x="22752" y="293"/>
                </a:lnTo>
                <a:lnTo>
                  <a:pt x="22752" y="293"/>
                </a:lnTo>
                <a:lnTo>
                  <a:pt x="22734" y="275"/>
                </a:lnTo>
                <a:lnTo>
                  <a:pt x="22717" y="257"/>
                </a:lnTo>
                <a:lnTo>
                  <a:pt x="22699" y="240"/>
                </a:lnTo>
                <a:lnTo>
                  <a:pt x="22681" y="224"/>
                </a:lnTo>
                <a:lnTo>
                  <a:pt x="22661" y="208"/>
                </a:lnTo>
                <a:lnTo>
                  <a:pt x="22640" y="193"/>
                </a:lnTo>
                <a:lnTo>
                  <a:pt x="22620" y="178"/>
                </a:lnTo>
                <a:lnTo>
                  <a:pt x="22599" y="164"/>
                </a:lnTo>
                <a:lnTo>
                  <a:pt x="22577" y="150"/>
                </a:lnTo>
                <a:lnTo>
                  <a:pt x="22555" y="138"/>
                </a:lnTo>
                <a:lnTo>
                  <a:pt x="22532" y="125"/>
                </a:lnTo>
                <a:lnTo>
                  <a:pt x="22509" y="114"/>
                </a:lnTo>
                <a:lnTo>
                  <a:pt x="22485" y="102"/>
                </a:lnTo>
                <a:lnTo>
                  <a:pt x="22460" y="92"/>
                </a:lnTo>
                <a:lnTo>
                  <a:pt x="22436" y="81"/>
                </a:lnTo>
                <a:lnTo>
                  <a:pt x="22411" y="72"/>
                </a:lnTo>
                <a:lnTo>
                  <a:pt x="22384" y="64"/>
                </a:lnTo>
                <a:lnTo>
                  <a:pt x="22358" y="55"/>
                </a:lnTo>
                <a:lnTo>
                  <a:pt x="22330" y="48"/>
                </a:lnTo>
                <a:lnTo>
                  <a:pt x="22303" y="40"/>
                </a:lnTo>
                <a:lnTo>
                  <a:pt x="22246" y="29"/>
                </a:lnTo>
                <a:lnTo>
                  <a:pt x="22187" y="18"/>
                </a:lnTo>
                <a:lnTo>
                  <a:pt x="22126" y="10"/>
                </a:lnTo>
                <a:lnTo>
                  <a:pt x="22063" y="5"/>
                </a:lnTo>
                <a:lnTo>
                  <a:pt x="21997" y="1"/>
                </a:lnTo>
                <a:lnTo>
                  <a:pt x="21929" y="0"/>
                </a:lnTo>
                <a:lnTo>
                  <a:pt x="21929" y="0"/>
                </a:lnTo>
                <a:lnTo>
                  <a:pt x="21872" y="1"/>
                </a:lnTo>
                <a:lnTo>
                  <a:pt x="21814" y="3"/>
                </a:lnTo>
                <a:lnTo>
                  <a:pt x="21759" y="7"/>
                </a:lnTo>
                <a:lnTo>
                  <a:pt x="21705" y="14"/>
                </a:lnTo>
                <a:lnTo>
                  <a:pt x="21653" y="21"/>
                </a:lnTo>
                <a:lnTo>
                  <a:pt x="21601" y="30"/>
                </a:lnTo>
                <a:lnTo>
                  <a:pt x="21551" y="40"/>
                </a:lnTo>
                <a:lnTo>
                  <a:pt x="21503" y="53"/>
                </a:lnTo>
                <a:lnTo>
                  <a:pt x="21457" y="67"/>
                </a:lnTo>
                <a:lnTo>
                  <a:pt x="21412" y="83"/>
                </a:lnTo>
                <a:lnTo>
                  <a:pt x="21369" y="99"/>
                </a:lnTo>
                <a:lnTo>
                  <a:pt x="21328" y="117"/>
                </a:lnTo>
                <a:lnTo>
                  <a:pt x="21287" y="137"/>
                </a:lnTo>
                <a:lnTo>
                  <a:pt x="21249" y="158"/>
                </a:lnTo>
                <a:lnTo>
                  <a:pt x="21213" y="181"/>
                </a:lnTo>
                <a:lnTo>
                  <a:pt x="21178" y="205"/>
                </a:lnTo>
                <a:lnTo>
                  <a:pt x="21145" y="231"/>
                </a:lnTo>
                <a:lnTo>
                  <a:pt x="21114" y="257"/>
                </a:lnTo>
                <a:lnTo>
                  <a:pt x="21085" y="285"/>
                </a:lnTo>
                <a:lnTo>
                  <a:pt x="21058" y="314"/>
                </a:lnTo>
                <a:lnTo>
                  <a:pt x="21032" y="345"/>
                </a:lnTo>
                <a:lnTo>
                  <a:pt x="21009" y="378"/>
                </a:lnTo>
                <a:lnTo>
                  <a:pt x="20989" y="410"/>
                </a:lnTo>
                <a:lnTo>
                  <a:pt x="20969" y="444"/>
                </a:lnTo>
                <a:lnTo>
                  <a:pt x="20953" y="480"/>
                </a:lnTo>
                <a:lnTo>
                  <a:pt x="20938" y="516"/>
                </a:lnTo>
                <a:lnTo>
                  <a:pt x="20926" y="554"/>
                </a:lnTo>
                <a:lnTo>
                  <a:pt x="20915" y="593"/>
                </a:lnTo>
                <a:lnTo>
                  <a:pt x="20907" y="633"/>
                </a:lnTo>
                <a:lnTo>
                  <a:pt x="20901" y="675"/>
                </a:lnTo>
                <a:lnTo>
                  <a:pt x="20898" y="717"/>
                </a:lnTo>
                <a:lnTo>
                  <a:pt x="20897" y="761"/>
                </a:lnTo>
                <a:lnTo>
                  <a:pt x="20897" y="761"/>
                </a:lnTo>
                <a:lnTo>
                  <a:pt x="20898" y="803"/>
                </a:lnTo>
                <a:lnTo>
                  <a:pt x="20900" y="845"/>
                </a:lnTo>
                <a:lnTo>
                  <a:pt x="20906" y="884"/>
                </a:lnTo>
                <a:lnTo>
                  <a:pt x="20913" y="923"/>
                </a:lnTo>
                <a:lnTo>
                  <a:pt x="20923" y="959"/>
                </a:lnTo>
                <a:lnTo>
                  <a:pt x="20935" y="995"/>
                </a:lnTo>
                <a:lnTo>
                  <a:pt x="20948" y="1029"/>
                </a:lnTo>
                <a:lnTo>
                  <a:pt x="20963" y="1061"/>
                </a:lnTo>
                <a:lnTo>
                  <a:pt x="20982" y="1092"/>
                </a:lnTo>
                <a:lnTo>
                  <a:pt x="21002" y="1122"/>
                </a:lnTo>
                <a:lnTo>
                  <a:pt x="21024" y="1151"/>
                </a:lnTo>
                <a:lnTo>
                  <a:pt x="21050" y="1178"/>
                </a:lnTo>
                <a:lnTo>
                  <a:pt x="21076" y="1204"/>
                </a:lnTo>
                <a:lnTo>
                  <a:pt x="21105" y="1229"/>
                </a:lnTo>
                <a:lnTo>
                  <a:pt x="21136" y="1252"/>
                </a:lnTo>
                <a:lnTo>
                  <a:pt x="21169" y="1273"/>
                </a:lnTo>
                <a:lnTo>
                  <a:pt x="21169" y="1273"/>
                </a:lnTo>
                <a:lnTo>
                  <a:pt x="21194" y="1287"/>
                </a:lnTo>
                <a:lnTo>
                  <a:pt x="21218" y="1301"/>
                </a:lnTo>
                <a:lnTo>
                  <a:pt x="21245" y="1314"/>
                </a:lnTo>
                <a:lnTo>
                  <a:pt x="21271" y="1327"/>
                </a:lnTo>
                <a:lnTo>
                  <a:pt x="21299" y="1338"/>
                </a:lnTo>
                <a:lnTo>
                  <a:pt x="21329" y="1349"/>
                </a:lnTo>
                <a:lnTo>
                  <a:pt x="21361" y="1360"/>
                </a:lnTo>
                <a:lnTo>
                  <a:pt x="21394" y="1371"/>
                </a:lnTo>
                <a:lnTo>
                  <a:pt x="21431" y="1382"/>
                </a:lnTo>
                <a:lnTo>
                  <a:pt x="21471" y="1392"/>
                </a:lnTo>
                <a:lnTo>
                  <a:pt x="21514" y="1402"/>
                </a:lnTo>
                <a:lnTo>
                  <a:pt x="21560" y="1413"/>
                </a:lnTo>
                <a:lnTo>
                  <a:pt x="21664" y="1433"/>
                </a:lnTo>
                <a:lnTo>
                  <a:pt x="21786" y="1455"/>
                </a:lnTo>
                <a:lnTo>
                  <a:pt x="22173" y="1522"/>
                </a:lnTo>
                <a:lnTo>
                  <a:pt x="22173" y="1522"/>
                </a:lnTo>
                <a:lnTo>
                  <a:pt x="22251" y="1537"/>
                </a:lnTo>
                <a:lnTo>
                  <a:pt x="22323" y="1551"/>
                </a:lnTo>
                <a:lnTo>
                  <a:pt x="22358" y="1561"/>
                </a:lnTo>
                <a:lnTo>
                  <a:pt x="22390" y="1569"/>
                </a:lnTo>
                <a:lnTo>
                  <a:pt x="22421" y="1578"/>
                </a:lnTo>
                <a:lnTo>
                  <a:pt x="22450" y="1587"/>
                </a:lnTo>
                <a:lnTo>
                  <a:pt x="22478" y="1597"/>
                </a:lnTo>
                <a:lnTo>
                  <a:pt x="22505" y="1608"/>
                </a:lnTo>
                <a:lnTo>
                  <a:pt x="22530" y="1618"/>
                </a:lnTo>
                <a:lnTo>
                  <a:pt x="22553" y="1629"/>
                </a:lnTo>
                <a:lnTo>
                  <a:pt x="22576" y="1641"/>
                </a:lnTo>
                <a:lnTo>
                  <a:pt x="22597" y="1652"/>
                </a:lnTo>
                <a:lnTo>
                  <a:pt x="22616" y="1665"/>
                </a:lnTo>
                <a:lnTo>
                  <a:pt x="22635" y="1678"/>
                </a:lnTo>
                <a:lnTo>
                  <a:pt x="22652" y="1691"/>
                </a:lnTo>
                <a:lnTo>
                  <a:pt x="22668" y="1705"/>
                </a:lnTo>
                <a:lnTo>
                  <a:pt x="22683" y="1720"/>
                </a:lnTo>
                <a:lnTo>
                  <a:pt x="22697" y="1735"/>
                </a:lnTo>
                <a:lnTo>
                  <a:pt x="22709" y="1751"/>
                </a:lnTo>
                <a:lnTo>
                  <a:pt x="22720" y="1767"/>
                </a:lnTo>
                <a:lnTo>
                  <a:pt x="22730" y="1784"/>
                </a:lnTo>
                <a:lnTo>
                  <a:pt x="22739" y="1802"/>
                </a:lnTo>
                <a:lnTo>
                  <a:pt x="22746" y="1820"/>
                </a:lnTo>
                <a:lnTo>
                  <a:pt x="22753" y="1839"/>
                </a:lnTo>
                <a:lnTo>
                  <a:pt x="22759" y="1859"/>
                </a:lnTo>
                <a:lnTo>
                  <a:pt x="22763" y="1878"/>
                </a:lnTo>
                <a:lnTo>
                  <a:pt x="22767" y="1900"/>
                </a:lnTo>
                <a:lnTo>
                  <a:pt x="22769" y="1922"/>
                </a:lnTo>
                <a:lnTo>
                  <a:pt x="22770" y="1944"/>
                </a:lnTo>
                <a:lnTo>
                  <a:pt x="22771" y="1967"/>
                </a:lnTo>
                <a:lnTo>
                  <a:pt x="22771" y="1967"/>
                </a:lnTo>
                <a:lnTo>
                  <a:pt x="22770" y="1998"/>
                </a:lnTo>
                <a:lnTo>
                  <a:pt x="22767" y="2029"/>
                </a:lnTo>
                <a:lnTo>
                  <a:pt x="22762" y="2059"/>
                </a:lnTo>
                <a:lnTo>
                  <a:pt x="22756" y="2087"/>
                </a:lnTo>
                <a:lnTo>
                  <a:pt x="22748" y="2115"/>
                </a:lnTo>
                <a:lnTo>
                  <a:pt x="22739" y="2142"/>
                </a:lnTo>
                <a:lnTo>
                  <a:pt x="22728" y="2169"/>
                </a:lnTo>
                <a:lnTo>
                  <a:pt x="22714" y="2195"/>
                </a:lnTo>
                <a:lnTo>
                  <a:pt x="22699" y="2219"/>
                </a:lnTo>
                <a:lnTo>
                  <a:pt x="22683" y="2243"/>
                </a:lnTo>
                <a:lnTo>
                  <a:pt x="22666" y="2267"/>
                </a:lnTo>
                <a:lnTo>
                  <a:pt x="22646" y="2289"/>
                </a:lnTo>
                <a:lnTo>
                  <a:pt x="22625" y="2311"/>
                </a:lnTo>
                <a:lnTo>
                  <a:pt x="22602" y="2331"/>
                </a:lnTo>
                <a:lnTo>
                  <a:pt x="22578" y="2351"/>
                </a:lnTo>
                <a:lnTo>
                  <a:pt x="22553" y="2370"/>
                </a:lnTo>
                <a:lnTo>
                  <a:pt x="22527" y="2387"/>
                </a:lnTo>
                <a:lnTo>
                  <a:pt x="22498" y="2404"/>
                </a:lnTo>
                <a:lnTo>
                  <a:pt x="22468" y="2419"/>
                </a:lnTo>
                <a:lnTo>
                  <a:pt x="22437" y="2434"/>
                </a:lnTo>
                <a:lnTo>
                  <a:pt x="22405" y="2448"/>
                </a:lnTo>
                <a:lnTo>
                  <a:pt x="22372" y="2459"/>
                </a:lnTo>
                <a:lnTo>
                  <a:pt x="22337" y="2471"/>
                </a:lnTo>
                <a:lnTo>
                  <a:pt x="22300" y="2481"/>
                </a:lnTo>
                <a:lnTo>
                  <a:pt x="22264" y="2490"/>
                </a:lnTo>
                <a:lnTo>
                  <a:pt x="22225" y="2498"/>
                </a:lnTo>
                <a:lnTo>
                  <a:pt x="22185" y="2505"/>
                </a:lnTo>
                <a:lnTo>
                  <a:pt x="22144" y="2511"/>
                </a:lnTo>
                <a:lnTo>
                  <a:pt x="22103" y="2515"/>
                </a:lnTo>
                <a:lnTo>
                  <a:pt x="22059" y="2518"/>
                </a:lnTo>
                <a:lnTo>
                  <a:pt x="22015" y="2520"/>
                </a:lnTo>
                <a:lnTo>
                  <a:pt x="21970" y="2521"/>
                </a:lnTo>
                <a:lnTo>
                  <a:pt x="21970" y="2521"/>
                </a:lnTo>
                <a:lnTo>
                  <a:pt x="21901" y="2519"/>
                </a:lnTo>
                <a:lnTo>
                  <a:pt x="21834" y="2515"/>
                </a:lnTo>
                <a:lnTo>
                  <a:pt x="21802" y="2513"/>
                </a:lnTo>
                <a:lnTo>
                  <a:pt x="21770" y="2510"/>
                </a:lnTo>
                <a:lnTo>
                  <a:pt x="21740" y="2505"/>
                </a:lnTo>
                <a:lnTo>
                  <a:pt x="21709" y="2500"/>
                </a:lnTo>
                <a:lnTo>
                  <a:pt x="21680" y="2495"/>
                </a:lnTo>
                <a:lnTo>
                  <a:pt x="21651" y="2489"/>
                </a:lnTo>
                <a:lnTo>
                  <a:pt x="21624" y="2482"/>
                </a:lnTo>
                <a:lnTo>
                  <a:pt x="21596" y="2475"/>
                </a:lnTo>
                <a:lnTo>
                  <a:pt x="21570" y="2467"/>
                </a:lnTo>
                <a:lnTo>
                  <a:pt x="21545" y="2458"/>
                </a:lnTo>
                <a:lnTo>
                  <a:pt x="21519" y="2449"/>
                </a:lnTo>
                <a:lnTo>
                  <a:pt x="21495" y="2438"/>
                </a:lnTo>
                <a:lnTo>
                  <a:pt x="21471" y="2428"/>
                </a:lnTo>
                <a:lnTo>
                  <a:pt x="21448" y="2417"/>
                </a:lnTo>
                <a:lnTo>
                  <a:pt x="21425" y="2405"/>
                </a:lnTo>
                <a:lnTo>
                  <a:pt x="21403" y="2393"/>
                </a:lnTo>
                <a:lnTo>
                  <a:pt x="21383" y="2380"/>
                </a:lnTo>
                <a:lnTo>
                  <a:pt x="21362" y="2365"/>
                </a:lnTo>
                <a:lnTo>
                  <a:pt x="21341" y="2351"/>
                </a:lnTo>
                <a:lnTo>
                  <a:pt x="21322" y="2335"/>
                </a:lnTo>
                <a:lnTo>
                  <a:pt x="21303" y="2320"/>
                </a:lnTo>
                <a:lnTo>
                  <a:pt x="21285" y="2303"/>
                </a:lnTo>
                <a:lnTo>
                  <a:pt x="21268" y="2286"/>
                </a:lnTo>
                <a:lnTo>
                  <a:pt x="21251" y="2269"/>
                </a:lnTo>
                <a:lnTo>
                  <a:pt x="21234" y="2250"/>
                </a:lnTo>
                <a:lnTo>
                  <a:pt x="21218" y="2231"/>
                </a:lnTo>
                <a:lnTo>
                  <a:pt x="21202" y="2211"/>
                </a:lnTo>
                <a:lnTo>
                  <a:pt x="21187" y="2191"/>
                </a:lnTo>
                <a:lnTo>
                  <a:pt x="21187" y="2191"/>
                </a:lnTo>
                <a:lnTo>
                  <a:pt x="21176" y="2171"/>
                </a:lnTo>
                <a:lnTo>
                  <a:pt x="21164" y="2152"/>
                </a:lnTo>
                <a:lnTo>
                  <a:pt x="21153" y="2132"/>
                </a:lnTo>
                <a:lnTo>
                  <a:pt x="21144" y="2113"/>
                </a:lnTo>
                <a:lnTo>
                  <a:pt x="21136" y="2093"/>
                </a:lnTo>
                <a:lnTo>
                  <a:pt x="21128" y="2074"/>
                </a:lnTo>
                <a:lnTo>
                  <a:pt x="21121" y="2054"/>
                </a:lnTo>
                <a:lnTo>
                  <a:pt x="21115" y="2033"/>
                </a:lnTo>
                <a:lnTo>
                  <a:pt x="21110" y="2012"/>
                </a:lnTo>
                <a:lnTo>
                  <a:pt x="21106" y="1990"/>
                </a:lnTo>
                <a:lnTo>
                  <a:pt x="21101" y="1966"/>
                </a:lnTo>
                <a:lnTo>
                  <a:pt x="21099" y="1943"/>
                </a:lnTo>
                <a:lnTo>
                  <a:pt x="21094" y="1891"/>
                </a:lnTo>
                <a:lnTo>
                  <a:pt x="21092" y="1834"/>
                </a:lnTo>
                <a:lnTo>
                  <a:pt x="20815" y="1834"/>
                </a:lnTo>
                <a:lnTo>
                  <a:pt x="20815" y="1834"/>
                </a:lnTo>
                <a:lnTo>
                  <a:pt x="20823" y="1916"/>
                </a:lnTo>
                <a:lnTo>
                  <a:pt x="20827" y="1954"/>
                </a:lnTo>
                <a:lnTo>
                  <a:pt x="20831" y="1989"/>
                </a:lnTo>
                <a:lnTo>
                  <a:pt x="20837" y="2022"/>
                </a:lnTo>
                <a:lnTo>
                  <a:pt x="20843" y="2054"/>
                </a:lnTo>
                <a:lnTo>
                  <a:pt x="20850" y="2084"/>
                </a:lnTo>
                <a:lnTo>
                  <a:pt x="20857" y="2113"/>
                </a:lnTo>
                <a:lnTo>
                  <a:pt x="20865" y="2140"/>
                </a:lnTo>
                <a:lnTo>
                  <a:pt x="20873" y="2166"/>
                </a:lnTo>
                <a:lnTo>
                  <a:pt x="20882" y="2193"/>
                </a:lnTo>
                <a:lnTo>
                  <a:pt x="20892" y="2217"/>
                </a:lnTo>
                <a:lnTo>
                  <a:pt x="20904" y="2242"/>
                </a:lnTo>
                <a:lnTo>
                  <a:pt x="20916" y="2266"/>
                </a:lnTo>
                <a:lnTo>
                  <a:pt x="20930" y="2292"/>
                </a:lnTo>
                <a:lnTo>
                  <a:pt x="20944" y="2317"/>
                </a:lnTo>
                <a:lnTo>
                  <a:pt x="20944" y="2317"/>
                </a:lnTo>
                <a:lnTo>
                  <a:pt x="20962" y="2342"/>
                </a:lnTo>
                <a:lnTo>
                  <a:pt x="20981" y="2367"/>
                </a:lnTo>
                <a:lnTo>
                  <a:pt x="21000" y="2393"/>
                </a:lnTo>
                <a:lnTo>
                  <a:pt x="21021" y="2417"/>
                </a:lnTo>
                <a:lnTo>
                  <a:pt x="21042" y="2440"/>
                </a:lnTo>
                <a:lnTo>
                  <a:pt x="21064" y="2461"/>
                </a:lnTo>
                <a:lnTo>
                  <a:pt x="21087" y="2483"/>
                </a:lnTo>
                <a:lnTo>
                  <a:pt x="21113" y="2504"/>
                </a:lnTo>
                <a:lnTo>
                  <a:pt x="21138" y="2523"/>
                </a:lnTo>
                <a:lnTo>
                  <a:pt x="21164" y="2543"/>
                </a:lnTo>
                <a:lnTo>
                  <a:pt x="21192" y="2561"/>
                </a:lnTo>
                <a:lnTo>
                  <a:pt x="21220" y="2578"/>
                </a:lnTo>
                <a:lnTo>
                  <a:pt x="21249" y="2596"/>
                </a:lnTo>
                <a:lnTo>
                  <a:pt x="21279" y="2612"/>
                </a:lnTo>
                <a:lnTo>
                  <a:pt x="21310" y="2627"/>
                </a:lnTo>
                <a:lnTo>
                  <a:pt x="21342" y="2642"/>
                </a:lnTo>
                <a:lnTo>
                  <a:pt x="21375" y="2654"/>
                </a:lnTo>
                <a:lnTo>
                  <a:pt x="21408" y="2668"/>
                </a:lnTo>
                <a:lnTo>
                  <a:pt x="21444" y="2679"/>
                </a:lnTo>
                <a:lnTo>
                  <a:pt x="21478" y="2690"/>
                </a:lnTo>
                <a:lnTo>
                  <a:pt x="21515" y="2700"/>
                </a:lnTo>
                <a:lnTo>
                  <a:pt x="21551" y="2709"/>
                </a:lnTo>
                <a:lnTo>
                  <a:pt x="21589" y="2718"/>
                </a:lnTo>
                <a:lnTo>
                  <a:pt x="21628" y="2725"/>
                </a:lnTo>
                <a:lnTo>
                  <a:pt x="21667" y="2732"/>
                </a:lnTo>
                <a:lnTo>
                  <a:pt x="21708" y="2738"/>
                </a:lnTo>
                <a:lnTo>
                  <a:pt x="21749" y="2744"/>
                </a:lnTo>
                <a:lnTo>
                  <a:pt x="21792" y="2747"/>
                </a:lnTo>
                <a:lnTo>
                  <a:pt x="21834" y="2751"/>
                </a:lnTo>
                <a:lnTo>
                  <a:pt x="21878" y="2753"/>
                </a:lnTo>
                <a:lnTo>
                  <a:pt x="21921" y="2754"/>
                </a:lnTo>
                <a:lnTo>
                  <a:pt x="21966" y="2754"/>
                </a:lnTo>
                <a:lnTo>
                  <a:pt x="21966" y="2754"/>
                </a:lnTo>
                <a:lnTo>
                  <a:pt x="22028" y="2754"/>
                </a:lnTo>
                <a:lnTo>
                  <a:pt x="22089" y="2751"/>
                </a:lnTo>
                <a:lnTo>
                  <a:pt x="22148" y="2747"/>
                </a:lnTo>
                <a:lnTo>
                  <a:pt x="22204" y="2740"/>
                </a:lnTo>
                <a:lnTo>
                  <a:pt x="22260" y="2733"/>
                </a:lnTo>
                <a:lnTo>
                  <a:pt x="22313" y="2723"/>
                </a:lnTo>
                <a:lnTo>
                  <a:pt x="22366" y="2713"/>
                </a:lnTo>
                <a:lnTo>
                  <a:pt x="22416" y="2700"/>
                </a:lnTo>
                <a:lnTo>
                  <a:pt x="22465" y="2685"/>
                </a:lnTo>
                <a:lnTo>
                  <a:pt x="22512" y="2670"/>
                </a:lnTo>
                <a:lnTo>
                  <a:pt x="22556" y="2652"/>
                </a:lnTo>
                <a:lnTo>
                  <a:pt x="22600" y="2634"/>
                </a:lnTo>
                <a:lnTo>
                  <a:pt x="22641" y="2613"/>
                </a:lnTo>
                <a:lnTo>
                  <a:pt x="22681" y="2591"/>
                </a:lnTo>
                <a:lnTo>
                  <a:pt x="22718" y="2568"/>
                </a:lnTo>
                <a:lnTo>
                  <a:pt x="22754" y="2543"/>
                </a:lnTo>
                <a:lnTo>
                  <a:pt x="22787" y="2516"/>
                </a:lnTo>
                <a:lnTo>
                  <a:pt x="22819" y="2489"/>
                </a:lnTo>
                <a:lnTo>
                  <a:pt x="22848" y="2460"/>
                </a:lnTo>
                <a:lnTo>
                  <a:pt x="22877" y="2429"/>
                </a:lnTo>
                <a:lnTo>
                  <a:pt x="22902" y="2397"/>
                </a:lnTo>
                <a:lnTo>
                  <a:pt x="22925" y="2364"/>
                </a:lnTo>
                <a:lnTo>
                  <a:pt x="22947" y="2329"/>
                </a:lnTo>
                <a:lnTo>
                  <a:pt x="22966" y="2294"/>
                </a:lnTo>
                <a:lnTo>
                  <a:pt x="22984" y="2257"/>
                </a:lnTo>
                <a:lnTo>
                  <a:pt x="22999" y="2218"/>
                </a:lnTo>
                <a:lnTo>
                  <a:pt x="23011" y="2179"/>
                </a:lnTo>
                <a:lnTo>
                  <a:pt x="23022" y="2138"/>
                </a:lnTo>
                <a:lnTo>
                  <a:pt x="23030" y="2096"/>
                </a:lnTo>
                <a:lnTo>
                  <a:pt x="23035" y="2053"/>
                </a:lnTo>
                <a:lnTo>
                  <a:pt x="23039" y="2009"/>
                </a:lnTo>
                <a:lnTo>
                  <a:pt x="23040" y="1963"/>
                </a:lnTo>
                <a:lnTo>
                  <a:pt x="23040" y="1963"/>
                </a:lnTo>
                <a:lnTo>
                  <a:pt x="23039" y="1926"/>
                </a:lnTo>
                <a:lnTo>
                  <a:pt x="23037" y="1889"/>
                </a:lnTo>
                <a:lnTo>
                  <a:pt x="23032" y="1852"/>
                </a:lnTo>
                <a:lnTo>
                  <a:pt x="23026" y="1816"/>
                </a:lnTo>
                <a:lnTo>
                  <a:pt x="23019" y="1782"/>
                </a:lnTo>
                <a:lnTo>
                  <a:pt x="23009" y="1749"/>
                </a:lnTo>
                <a:lnTo>
                  <a:pt x="22999" y="1716"/>
                </a:lnTo>
                <a:lnTo>
                  <a:pt x="22986" y="1683"/>
                </a:lnTo>
                <a:lnTo>
                  <a:pt x="22972" y="1654"/>
                </a:lnTo>
                <a:lnTo>
                  <a:pt x="22956" y="1624"/>
                </a:lnTo>
                <a:lnTo>
                  <a:pt x="22939" y="1595"/>
                </a:lnTo>
                <a:lnTo>
                  <a:pt x="22921" y="1569"/>
                </a:lnTo>
                <a:lnTo>
                  <a:pt x="22900" y="1542"/>
                </a:lnTo>
                <a:lnTo>
                  <a:pt x="22878" y="1518"/>
                </a:lnTo>
                <a:lnTo>
                  <a:pt x="22855" y="1495"/>
                </a:lnTo>
                <a:lnTo>
                  <a:pt x="22830" y="1473"/>
                </a:lnTo>
                <a:lnTo>
                  <a:pt x="22830" y="1473"/>
                </a:lnTo>
                <a:lnTo>
                  <a:pt x="22806" y="1455"/>
                </a:lnTo>
                <a:lnTo>
                  <a:pt x="22780" y="1437"/>
                </a:lnTo>
                <a:lnTo>
                  <a:pt x="22754" y="1419"/>
                </a:lnTo>
                <a:lnTo>
                  <a:pt x="22725" y="1403"/>
                </a:lnTo>
                <a:lnTo>
                  <a:pt x="22695" y="1388"/>
                </a:lnTo>
                <a:lnTo>
                  <a:pt x="22663" y="1374"/>
                </a:lnTo>
                <a:lnTo>
                  <a:pt x="22629" y="1360"/>
                </a:lnTo>
                <a:lnTo>
                  <a:pt x="22592" y="1347"/>
                </a:lnTo>
                <a:lnTo>
                  <a:pt x="22552" y="1335"/>
                </a:lnTo>
                <a:lnTo>
                  <a:pt x="22509" y="1322"/>
                </a:lnTo>
                <a:lnTo>
                  <a:pt x="22463" y="1309"/>
                </a:lnTo>
                <a:lnTo>
                  <a:pt x="22414" y="1298"/>
                </a:lnTo>
                <a:lnTo>
                  <a:pt x="22360" y="1286"/>
                </a:lnTo>
                <a:lnTo>
                  <a:pt x="22304" y="1274"/>
                </a:lnTo>
                <a:lnTo>
                  <a:pt x="22242" y="1262"/>
                </a:lnTo>
                <a:lnTo>
                  <a:pt x="22176" y="1251"/>
                </a:lnTo>
                <a:lnTo>
                  <a:pt x="21734" y="1173"/>
                </a:lnTo>
                <a:lnTo>
                  <a:pt x="21734" y="1173"/>
                </a:lnTo>
                <a:lnTo>
                  <a:pt x="21663" y="1160"/>
                </a:lnTo>
                <a:lnTo>
                  <a:pt x="21601" y="1148"/>
                </a:lnTo>
                <a:lnTo>
                  <a:pt x="21545" y="1135"/>
                </a:lnTo>
                <a:lnTo>
                  <a:pt x="21495" y="1122"/>
                </a:lnTo>
                <a:lnTo>
                  <a:pt x="21453" y="1111"/>
                </a:lnTo>
                <a:lnTo>
                  <a:pt x="21415" y="1098"/>
                </a:lnTo>
                <a:lnTo>
                  <a:pt x="21383" y="1086"/>
                </a:lnTo>
                <a:lnTo>
                  <a:pt x="21354" y="1073"/>
                </a:lnTo>
                <a:lnTo>
                  <a:pt x="21354" y="1073"/>
                </a:lnTo>
                <a:lnTo>
                  <a:pt x="21331" y="1059"/>
                </a:lnTo>
                <a:lnTo>
                  <a:pt x="21309" y="1044"/>
                </a:lnTo>
                <a:lnTo>
                  <a:pt x="21288" y="1029"/>
                </a:lnTo>
                <a:lnTo>
                  <a:pt x="21270" y="1013"/>
                </a:lnTo>
                <a:lnTo>
                  <a:pt x="21252" y="995"/>
                </a:lnTo>
                <a:lnTo>
                  <a:pt x="21237" y="978"/>
                </a:lnTo>
                <a:lnTo>
                  <a:pt x="21222" y="958"/>
                </a:lnTo>
                <a:lnTo>
                  <a:pt x="21209" y="939"/>
                </a:lnTo>
                <a:lnTo>
                  <a:pt x="21199" y="917"/>
                </a:lnTo>
                <a:lnTo>
                  <a:pt x="21189" y="895"/>
                </a:lnTo>
                <a:lnTo>
                  <a:pt x="21180" y="872"/>
                </a:lnTo>
                <a:lnTo>
                  <a:pt x="21174" y="848"/>
                </a:lnTo>
                <a:lnTo>
                  <a:pt x="21169" y="823"/>
                </a:lnTo>
                <a:lnTo>
                  <a:pt x="21166" y="798"/>
                </a:lnTo>
                <a:lnTo>
                  <a:pt x="21163" y="770"/>
                </a:lnTo>
                <a:lnTo>
                  <a:pt x="21162" y="742"/>
                </a:lnTo>
                <a:lnTo>
                  <a:pt x="21162" y="742"/>
                </a:lnTo>
                <a:lnTo>
                  <a:pt x="21163" y="713"/>
                </a:lnTo>
                <a:lnTo>
                  <a:pt x="21166" y="684"/>
                </a:lnTo>
                <a:lnTo>
                  <a:pt x="21170" y="656"/>
                </a:lnTo>
                <a:lnTo>
                  <a:pt x="21176" y="630"/>
                </a:lnTo>
                <a:lnTo>
                  <a:pt x="21183" y="604"/>
                </a:lnTo>
                <a:lnTo>
                  <a:pt x="21192" y="577"/>
                </a:lnTo>
                <a:lnTo>
                  <a:pt x="21203" y="553"/>
                </a:lnTo>
                <a:lnTo>
                  <a:pt x="21215" y="529"/>
                </a:lnTo>
                <a:lnTo>
                  <a:pt x="21229" y="505"/>
                </a:lnTo>
                <a:lnTo>
                  <a:pt x="21245" y="483"/>
                </a:lnTo>
                <a:lnTo>
                  <a:pt x="21262" y="461"/>
                </a:lnTo>
                <a:lnTo>
                  <a:pt x="21279" y="441"/>
                </a:lnTo>
                <a:lnTo>
                  <a:pt x="21300" y="420"/>
                </a:lnTo>
                <a:lnTo>
                  <a:pt x="21321" y="402"/>
                </a:lnTo>
                <a:lnTo>
                  <a:pt x="21344" y="383"/>
                </a:lnTo>
                <a:lnTo>
                  <a:pt x="21368" y="366"/>
                </a:lnTo>
                <a:lnTo>
                  <a:pt x="21393" y="350"/>
                </a:lnTo>
                <a:lnTo>
                  <a:pt x="21419" y="334"/>
                </a:lnTo>
                <a:lnTo>
                  <a:pt x="21447" y="320"/>
                </a:lnTo>
                <a:lnTo>
                  <a:pt x="21477" y="306"/>
                </a:lnTo>
                <a:lnTo>
                  <a:pt x="21507" y="294"/>
                </a:lnTo>
                <a:lnTo>
                  <a:pt x="21539" y="282"/>
                </a:lnTo>
                <a:lnTo>
                  <a:pt x="21572" y="272"/>
                </a:lnTo>
                <a:lnTo>
                  <a:pt x="21605" y="263"/>
                </a:lnTo>
                <a:lnTo>
                  <a:pt x="21641" y="254"/>
                </a:lnTo>
                <a:lnTo>
                  <a:pt x="21678" y="247"/>
                </a:lnTo>
                <a:lnTo>
                  <a:pt x="21715" y="241"/>
                </a:lnTo>
                <a:lnTo>
                  <a:pt x="21754" y="235"/>
                </a:lnTo>
                <a:lnTo>
                  <a:pt x="21793" y="232"/>
                </a:lnTo>
                <a:lnTo>
                  <a:pt x="21834" y="228"/>
                </a:lnTo>
                <a:lnTo>
                  <a:pt x="21875" y="227"/>
                </a:lnTo>
                <a:lnTo>
                  <a:pt x="21919" y="226"/>
                </a:lnTo>
                <a:lnTo>
                  <a:pt x="21919" y="226"/>
                </a:lnTo>
                <a:lnTo>
                  <a:pt x="21963" y="227"/>
                </a:lnTo>
                <a:lnTo>
                  <a:pt x="22005" y="228"/>
                </a:lnTo>
                <a:lnTo>
                  <a:pt x="22047" y="232"/>
                </a:lnTo>
                <a:lnTo>
                  <a:pt x="22086" y="235"/>
                </a:lnTo>
                <a:lnTo>
                  <a:pt x="22125" y="241"/>
                </a:lnTo>
                <a:lnTo>
                  <a:pt x="22163" y="247"/>
                </a:lnTo>
                <a:lnTo>
                  <a:pt x="22199" y="255"/>
                </a:lnTo>
                <a:lnTo>
                  <a:pt x="22235" y="263"/>
                </a:lnTo>
                <a:lnTo>
                  <a:pt x="22268" y="273"/>
                </a:lnTo>
                <a:lnTo>
                  <a:pt x="22301" y="285"/>
                </a:lnTo>
                <a:lnTo>
                  <a:pt x="22332" y="296"/>
                </a:lnTo>
                <a:lnTo>
                  <a:pt x="22364" y="309"/>
                </a:lnTo>
                <a:lnTo>
                  <a:pt x="22392" y="324"/>
                </a:lnTo>
                <a:lnTo>
                  <a:pt x="22420" y="339"/>
                </a:lnTo>
                <a:lnTo>
                  <a:pt x="22446" y="356"/>
                </a:lnTo>
                <a:lnTo>
                  <a:pt x="22471" y="373"/>
                </a:lnTo>
                <a:lnTo>
                  <a:pt x="22496" y="391"/>
                </a:lnTo>
                <a:lnTo>
                  <a:pt x="22517" y="411"/>
                </a:lnTo>
                <a:lnTo>
                  <a:pt x="22539" y="431"/>
                </a:lnTo>
                <a:lnTo>
                  <a:pt x="22559" y="454"/>
                </a:lnTo>
                <a:lnTo>
                  <a:pt x="22577" y="477"/>
                </a:lnTo>
                <a:lnTo>
                  <a:pt x="22594" y="500"/>
                </a:lnTo>
                <a:lnTo>
                  <a:pt x="22610" y="526"/>
                </a:lnTo>
                <a:lnTo>
                  <a:pt x="22624" y="552"/>
                </a:lnTo>
                <a:lnTo>
                  <a:pt x="22638" y="579"/>
                </a:lnTo>
                <a:lnTo>
                  <a:pt x="22649" y="607"/>
                </a:lnTo>
                <a:lnTo>
                  <a:pt x="22660" y="637"/>
                </a:lnTo>
                <a:lnTo>
                  <a:pt x="22668" y="667"/>
                </a:lnTo>
                <a:lnTo>
                  <a:pt x="22676" y="698"/>
                </a:lnTo>
                <a:lnTo>
                  <a:pt x="22682" y="730"/>
                </a:lnTo>
                <a:lnTo>
                  <a:pt x="22686" y="763"/>
                </a:lnTo>
                <a:lnTo>
                  <a:pt x="22690" y="798"/>
                </a:lnTo>
                <a:lnTo>
                  <a:pt x="22690" y="798"/>
                </a:lnTo>
                <a:lnTo>
                  <a:pt x="22690" y="798"/>
                </a:lnTo>
                <a:close/>
                <a:moveTo>
                  <a:pt x="17148" y="1113"/>
                </a:moveTo>
                <a:lnTo>
                  <a:pt x="17148" y="1113"/>
                </a:lnTo>
                <a:lnTo>
                  <a:pt x="17148" y="33"/>
                </a:lnTo>
                <a:lnTo>
                  <a:pt x="16071" y="33"/>
                </a:lnTo>
                <a:lnTo>
                  <a:pt x="16071" y="301"/>
                </a:lnTo>
                <a:lnTo>
                  <a:pt x="16879" y="301"/>
                </a:lnTo>
                <a:lnTo>
                  <a:pt x="16879" y="1113"/>
                </a:lnTo>
                <a:lnTo>
                  <a:pt x="17148" y="1113"/>
                </a:lnTo>
                <a:lnTo>
                  <a:pt x="17148" y="1113"/>
                </a:lnTo>
                <a:lnTo>
                  <a:pt x="17148" y="1113"/>
                </a:lnTo>
                <a:close/>
                <a:moveTo>
                  <a:pt x="3714" y="60"/>
                </a:moveTo>
                <a:lnTo>
                  <a:pt x="3714" y="60"/>
                </a:lnTo>
                <a:lnTo>
                  <a:pt x="2585" y="1462"/>
                </a:lnTo>
                <a:lnTo>
                  <a:pt x="1461" y="60"/>
                </a:lnTo>
                <a:lnTo>
                  <a:pt x="1199" y="60"/>
                </a:lnTo>
                <a:lnTo>
                  <a:pt x="1199" y="2687"/>
                </a:lnTo>
                <a:lnTo>
                  <a:pt x="1461" y="2687"/>
                </a:lnTo>
                <a:lnTo>
                  <a:pt x="1461" y="467"/>
                </a:lnTo>
                <a:lnTo>
                  <a:pt x="2585" y="1882"/>
                </a:lnTo>
                <a:lnTo>
                  <a:pt x="3714" y="467"/>
                </a:lnTo>
                <a:lnTo>
                  <a:pt x="3714" y="2687"/>
                </a:lnTo>
                <a:lnTo>
                  <a:pt x="3973" y="2687"/>
                </a:lnTo>
                <a:lnTo>
                  <a:pt x="3973" y="60"/>
                </a:lnTo>
                <a:lnTo>
                  <a:pt x="3714" y="60"/>
                </a:lnTo>
                <a:lnTo>
                  <a:pt x="3714" y="60"/>
                </a:lnTo>
                <a:lnTo>
                  <a:pt x="3714" y="6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64209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8844CBE9-4640-1B90-7602-338D6B629400}"/>
              </a:ext>
            </a:extLst>
          </p:cNvPr>
          <p:cNvSpPr>
            <a:spLocks noGrp="1"/>
          </p:cNvSpPr>
          <p:nvPr>
            <p:ph type="title"/>
          </p:nvPr>
        </p:nvSpPr>
        <p:spPr>
          <a:xfrm>
            <a:off x="423823" y="291164"/>
            <a:ext cx="11443660" cy="763921"/>
          </a:xfrm>
        </p:spPr>
        <p:txBody>
          <a:bodyPr/>
          <a:lstStyle/>
          <a:p>
            <a:r>
              <a:rPr lang="en-GB" sz="3200" b="1">
                <a:solidFill>
                  <a:srgbClr val="000000"/>
                </a:solidFill>
                <a:latin typeface="Calibri" panose="020F0502020204030204" pitchFamily="34" charset="0"/>
              </a:rPr>
              <a:t>Definitions – What is Accessibility and Digital Accessibility?</a:t>
            </a:r>
            <a:endParaRPr lang="en-US" sz="3200"/>
          </a:p>
        </p:txBody>
      </p:sp>
      <p:sp>
        <p:nvSpPr>
          <p:cNvPr id="5" name="Content Placeholder 4">
            <a:extLst>
              <a:ext uri="{FF2B5EF4-FFF2-40B4-BE49-F238E27FC236}">
                <a16:creationId xmlns:a16="http://schemas.microsoft.com/office/drawing/2014/main" id="{B6BC0037-CBCB-C248-D8C9-C07F1EC54966}"/>
              </a:ext>
            </a:extLst>
          </p:cNvPr>
          <p:cNvSpPr>
            <a:spLocks noGrp="1"/>
          </p:cNvSpPr>
          <p:nvPr>
            <p:ph sz="quarter" idx="13"/>
          </p:nvPr>
        </p:nvSpPr>
        <p:spPr>
          <a:xfrm>
            <a:off x="423823" y="1893450"/>
            <a:ext cx="5067300" cy="4673388"/>
          </a:xfrm>
        </p:spPr>
        <p:txBody>
          <a:bodyPr/>
          <a:lstStyle/>
          <a:p>
            <a:pPr marL="0" indent="0" algn="ctr" fontAlgn="base">
              <a:buNone/>
            </a:pPr>
            <a:r>
              <a:rPr lang="en-GB" sz="2667">
                <a:solidFill>
                  <a:srgbClr val="323130"/>
                </a:solidFill>
                <a:latin typeface="Calibri" panose="020F0502020204030204" pitchFamily="34" charset="0"/>
              </a:rPr>
              <a:t>“Accessibility involves designing systems to optimise access. </a:t>
            </a:r>
            <a:r>
              <a:rPr lang="en-GB" sz="2667">
                <a:solidFill>
                  <a:srgbClr val="000000"/>
                </a:solidFill>
                <a:latin typeface="Calibri" panose="020F0502020204030204" pitchFamily="34" charset="0"/>
              </a:rPr>
              <a:t>​</a:t>
            </a:r>
            <a:br>
              <a:rPr lang="en-GB" sz="2667">
                <a:solidFill>
                  <a:srgbClr val="000000"/>
                </a:solidFill>
                <a:latin typeface="Calibri" panose="020F0502020204030204" pitchFamily="34" charset="0"/>
              </a:rPr>
            </a:br>
            <a:r>
              <a:rPr lang="en-GB" sz="2667">
                <a:solidFill>
                  <a:srgbClr val="000000"/>
                </a:solidFill>
                <a:latin typeface="Calibri" panose="020F0502020204030204" pitchFamily="34" charset="0"/>
              </a:rPr>
              <a:t>​</a:t>
            </a:r>
            <a:endParaRPr lang="en-GB" sz="2667">
              <a:solidFill>
                <a:srgbClr val="000000"/>
              </a:solidFill>
              <a:latin typeface="Segoe UI" panose="020B0502040204020203" pitchFamily="34" charset="0"/>
            </a:endParaRPr>
          </a:p>
          <a:p>
            <a:pPr marL="0" indent="0" algn="ctr" fontAlgn="base">
              <a:buNone/>
            </a:pPr>
            <a:r>
              <a:rPr lang="en-GB" sz="2667">
                <a:solidFill>
                  <a:srgbClr val="323130"/>
                </a:solidFill>
                <a:latin typeface="Calibri" panose="020F0502020204030204" pitchFamily="34" charset="0"/>
              </a:rPr>
              <a:t>Being inclusive is about giving equal access and opportunities to everyone wherever possible”. (Jisc, 2018)</a:t>
            </a:r>
            <a:endParaRPr lang="en-GB" sz="2667">
              <a:solidFill>
                <a:srgbClr val="000000"/>
              </a:solidFill>
              <a:latin typeface="Segoe UI" panose="020B0502040204020203" pitchFamily="34" charset="0"/>
            </a:endParaRPr>
          </a:p>
          <a:p>
            <a:endParaRPr lang="en-US"/>
          </a:p>
        </p:txBody>
      </p:sp>
      <p:pic>
        <p:nvPicPr>
          <p:cNvPr id="3078" name="Picture 6" descr="Equality VS Equity. &#10;Equality shows 3 children (one tall, one small and one in a wheelchair) struggling to see over a fence to watch a game. They all have a wooden crate. &#10;Equity shows the tall child with no crates, the shortest with two crates and the child with a wheelchair on a ramp. They can now all watch the game. ">
            <a:extLst>
              <a:ext uri="{FF2B5EF4-FFF2-40B4-BE49-F238E27FC236}">
                <a16:creationId xmlns:a16="http://schemas.microsoft.com/office/drawing/2014/main" id="{9312623D-8814-F2C1-351D-F0EEE0667C86}"/>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5895851" y="1712927"/>
            <a:ext cx="5971632" cy="39081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8950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7209DE8-F9E4-BBD7-A9A5-A4B27A8B7230}"/>
              </a:ext>
            </a:extLst>
          </p:cNvPr>
          <p:cNvSpPr>
            <a:spLocks noGrp="1"/>
          </p:cNvSpPr>
          <p:nvPr>
            <p:ph type="title"/>
          </p:nvPr>
        </p:nvSpPr>
        <p:spPr/>
        <p:txBody>
          <a:bodyPr/>
          <a:lstStyle/>
          <a:p>
            <a:r>
              <a:rPr lang="en-GB" sz="3733" b="1" dirty="0">
                <a:solidFill>
                  <a:srgbClr val="000000"/>
                </a:solidFill>
                <a:latin typeface="Calibri" panose="020F0502020204030204" pitchFamily="34" charset="0"/>
              </a:rPr>
              <a:t>What is Digital Accessibility?</a:t>
            </a:r>
            <a:endParaRPr lang="en-US" sz="3733" dirty="0"/>
          </a:p>
        </p:txBody>
      </p:sp>
      <p:sp>
        <p:nvSpPr>
          <p:cNvPr id="3" name="Content Placeholder 2">
            <a:extLst>
              <a:ext uri="{FF2B5EF4-FFF2-40B4-BE49-F238E27FC236}">
                <a16:creationId xmlns:a16="http://schemas.microsoft.com/office/drawing/2014/main" id="{83DECABE-8D00-EC81-6CED-BFA12D3768AF}"/>
              </a:ext>
            </a:extLst>
          </p:cNvPr>
          <p:cNvSpPr>
            <a:spLocks noGrp="1"/>
          </p:cNvSpPr>
          <p:nvPr>
            <p:ph sz="quarter" idx="13"/>
          </p:nvPr>
        </p:nvSpPr>
        <p:spPr/>
        <p:txBody>
          <a:bodyPr/>
          <a:lstStyle/>
          <a:p>
            <a:pPr algn="l" rtl="0" fontAlgn="base">
              <a:buFont typeface="Arial" panose="020B0604020202020204" pitchFamily="34" charset="0"/>
              <a:buChar char="•"/>
            </a:pPr>
            <a:r>
              <a:rPr lang="en-GB" sz="2667">
                <a:solidFill>
                  <a:srgbClr val="323130"/>
                </a:solidFill>
                <a:latin typeface="Calibri" panose="020F0502020204030204" pitchFamily="34" charset="0"/>
              </a:rPr>
              <a:t>Digital accessibility is the ability of a website, application, or electronic document to be easily navigated and understood by a wide range of users, including those users who have visual, auditory, motor, or cognitive disabilities.</a:t>
            </a:r>
            <a:r>
              <a:rPr lang="en-US" sz="2667">
                <a:solidFill>
                  <a:srgbClr val="000000"/>
                </a:solidFill>
                <a:latin typeface="Calibri" panose="020F0502020204030204" pitchFamily="34" charset="0"/>
              </a:rPr>
              <a:t>​</a:t>
            </a:r>
            <a:endParaRPr lang="en-US" sz="2667">
              <a:solidFill>
                <a:srgbClr val="000000"/>
              </a:solidFill>
              <a:latin typeface="Arial" panose="020B0604020202020204" pitchFamily="34" charset="0"/>
            </a:endParaRPr>
          </a:p>
          <a:p>
            <a:pPr marL="0" indent="0" fontAlgn="base">
              <a:buNone/>
            </a:pPr>
            <a:endParaRPr lang="en-GB" sz="2667">
              <a:solidFill>
                <a:srgbClr val="000000"/>
              </a:solidFill>
              <a:latin typeface="Arial" panose="020B0604020202020204" pitchFamily="34" charset="0"/>
            </a:endParaRPr>
          </a:p>
          <a:p>
            <a:pPr algn="l" rtl="0" fontAlgn="base">
              <a:buFont typeface="Arial" panose="020B0604020202020204" pitchFamily="34" charset="0"/>
              <a:buChar char="•"/>
            </a:pPr>
            <a:r>
              <a:rPr lang="en-GB" sz="2667">
                <a:solidFill>
                  <a:srgbClr val="323130"/>
                </a:solidFill>
                <a:latin typeface="Calibri" panose="020F0502020204030204" pitchFamily="34" charset="0"/>
              </a:rPr>
              <a:t>Accessibility means making your content and design clear and simple enough so that most people can use it without needing to adapt it, while supporting those who do need to adapt things. (Central Digital and Data Office (CDDO), 2018</a:t>
            </a:r>
            <a:r>
              <a:rPr lang="en-GB" b="0" i="0" u="none" strike="noStrike">
                <a:solidFill>
                  <a:srgbClr val="323130"/>
                </a:solidFill>
                <a:effectLst/>
                <a:latin typeface="Calibri" panose="020F0502020204030204" pitchFamily="34" charset="0"/>
              </a:rPr>
              <a:t>)</a:t>
            </a:r>
            <a:endParaRPr lang="en-GB" b="0" i="0">
              <a:solidFill>
                <a:srgbClr val="000000"/>
              </a:solidFill>
              <a:effectLst/>
              <a:latin typeface="Arial" panose="020B0604020202020204" pitchFamily="34" charset="0"/>
            </a:endParaRPr>
          </a:p>
          <a:p>
            <a:endParaRPr lang="en-US"/>
          </a:p>
        </p:txBody>
      </p:sp>
    </p:spTree>
    <p:extLst>
      <p:ext uri="{BB962C8B-B14F-4D97-AF65-F5344CB8AC3E}">
        <p14:creationId xmlns:p14="http://schemas.microsoft.com/office/powerpoint/2010/main" val="1840832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A33728-D74C-1C06-37BF-C7FB308DBC5F}"/>
              </a:ext>
            </a:extLst>
          </p:cNvPr>
          <p:cNvSpPr>
            <a:spLocks noGrp="1"/>
          </p:cNvSpPr>
          <p:nvPr>
            <p:ph type="title"/>
          </p:nvPr>
        </p:nvSpPr>
        <p:spPr>
          <a:xfrm>
            <a:off x="685801" y="291164"/>
            <a:ext cx="5067300" cy="763921"/>
          </a:xfrm>
        </p:spPr>
        <p:txBody>
          <a:bodyPr anchor="b">
            <a:normAutofit/>
          </a:bodyPr>
          <a:lstStyle/>
          <a:p>
            <a:r>
              <a:rPr lang="en-GB" sz="3733" b="1" dirty="0">
                <a:latin typeface="+mn-lt"/>
              </a:rPr>
              <a:t>Why is it important?</a:t>
            </a:r>
            <a:endParaRPr lang="en-US" sz="3733" dirty="0">
              <a:latin typeface="+mn-lt"/>
            </a:endParaRPr>
          </a:p>
        </p:txBody>
      </p:sp>
      <p:sp>
        <p:nvSpPr>
          <p:cNvPr id="3" name="Content Placeholder 2">
            <a:extLst>
              <a:ext uri="{FF2B5EF4-FFF2-40B4-BE49-F238E27FC236}">
                <a16:creationId xmlns:a16="http://schemas.microsoft.com/office/drawing/2014/main" id="{1C0D4CE2-1509-AD6D-5458-114CA6E6729E}"/>
              </a:ext>
            </a:extLst>
          </p:cNvPr>
          <p:cNvSpPr>
            <a:spLocks noGrp="1"/>
          </p:cNvSpPr>
          <p:nvPr>
            <p:ph sz="quarter" idx="13"/>
          </p:nvPr>
        </p:nvSpPr>
        <p:spPr>
          <a:xfrm>
            <a:off x="685801" y="1512889"/>
            <a:ext cx="6437736" cy="4673388"/>
          </a:xfrm>
        </p:spPr>
        <p:txBody>
          <a:bodyPr vert="horz" lIns="0" tIns="0" rIns="0" bIns="0" rtlCol="0" anchor="t">
            <a:normAutofit/>
          </a:bodyPr>
          <a:lstStyle/>
          <a:p>
            <a:pPr fontAlgn="base"/>
            <a:r>
              <a:rPr lang="en-GB" sz="2400" dirty="0"/>
              <a:t>At least 1 in 6 people in Australia have an impairment or disability. (AIHW, 2022)</a:t>
            </a:r>
            <a:r>
              <a:rPr lang="en-US" sz="2400" dirty="0"/>
              <a:t>​</a:t>
            </a:r>
          </a:p>
          <a:p>
            <a:pPr fontAlgn="base"/>
            <a:r>
              <a:rPr lang="en-GB" sz="2400" dirty="0"/>
              <a:t>Many have temporary disabilities</a:t>
            </a:r>
            <a:endParaRPr lang="en-US" sz="2400" dirty="0"/>
          </a:p>
          <a:p>
            <a:r>
              <a:rPr lang="en-GB" sz="2400" dirty="0"/>
              <a:t>It prepares learners to succeed in diverse working environments. </a:t>
            </a:r>
            <a:r>
              <a:rPr lang="en-US" sz="2400" dirty="0"/>
              <a:t>​</a:t>
            </a:r>
            <a:endParaRPr lang="en-US" sz="2400" dirty="0">
              <a:cs typeface="Calibri"/>
            </a:endParaRPr>
          </a:p>
          <a:p>
            <a:pPr rtl="0" fontAlgn="base">
              <a:buFont typeface="Arial" panose="020B0604020202020204" pitchFamily="34" charset="0"/>
              <a:buChar char="•"/>
            </a:pPr>
            <a:r>
              <a:rPr lang="en-GB" sz="2400" dirty="0"/>
              <a:t>Learners value an inclusive approach</a:t>
            </a:r>
            <a:r>
              <a:rPr lang="en-US" sz="2400" dirty="0"/>
              <a:t>​</a:t>
            </a:r>
          </a:p>
          <a:p>
            <a:pPr rtl="0" fontAlgn="base">
              <a:buFont typeface="Arial" panose="020B0604020202020204" pitchFamily="34" charset="0"/>
              <a:buChar char="•"/>
            </a:pPr>
            <a:r>
              <a:rPr lang="en-GB" sz="2400" dirty="0"/>
              <a:t>Benefits all</a:t>
            </a:r>
            <a:endParaRPr lang="en-US" sz="2400" dirty="0"/>
          </a:p>
          <a:p>
            <a:endParaRPr lang="en-US" dirty="0"/>
          </a:p>
        </p:txBody>
      </p:sp>
      <p:pic>
        <p:nvPicPr>
          <p:cNvPr id="4098" name="Picture 2" descr="6 illustrations of people, 5 are coloured green, one is coloured orange. Used to represent 1 in 6 in Australia have a disability. ">
            <a:extLst>
              <a:ext uri="{FF2B5EF4-FFF2-40B4-BE49-F238E27FC236}">
                <a16:creationId xmlns:a16="http://schemas.microsoft.com/office/drawing/2014/main" id="{D829563B-3BE3-DD29-5C43-354415FF7ADD}"/>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p:blipFill>
        <p:spPr bwMode="auto">
          <a:xfrm>
            <a:off x="7123538" y="1827461"/>
            <a:ext cx="4382663" cy="2126880"/>
          </a:xfrm>
          <a:prstGeom prst="rect">
            <a:avLst/>
          </a:prstGeom>
          <a:solidFill>
            <a:srgbClr val="FFFFFF"/>
          </a:solidFill>
        </p:spPr>
      </p:pic>
    </p:spTree>
    <p:extLst>
      <p:ext uri="{BB962C8B-B14F-4D97-AF65-F5344CB8AC3E}">
        <p14:creationId xmlns:p14="http://schemas.microsoft.com/office/powerpoint/2010/main" val="23884367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5">
            <a:extLst>
              <a:ext uri="{FF2B5EF4-FFF2-40B4-BE49-F238E27FC236}">
                <a16:creationId xmlns:a16="http://schemas.microsoft.com/office/drawing/2014/main" id="{C4AE52EA-BC0D-0E73-5872-2DD2FA790098}"/>
              </a:ext>
            </a:extLst>
          </p:cNvPr>
          <p:cNvSpPr>
            <a:spLocks noGrp="1"/>
          </p:cNvSpPr>
          <p:nvPr>
            <p:ph type="title"/>
          </p:nvPr>
        </p:nvSpPr>
        <p:spPr>
          <a:xfrm>
            <a:off x="707572" y="291162"/>
            <a:ext cx="10789920" cy="1080438"/>
          </a:xfrm>
        </p:spPr>
        <p:txBody>
          <a:bodyPr/>
          <a:lstStyle/>
          <a:p>
            <a:r>
              <a:rPr lang="en-US" dirty="0"/>
              <a:t>Diverse 21</a:t>
            </a:r>
            <a:r>
              <a:rPr lang="en-US" baseline="30000" dirty="0"/>
              <a:t>st</a:t>
            </a:r>
            <a:r>
              <a:rPr lang="en-US" dirty="0"/>
              <a:t> Century Learners</a:t>
            </a:r>
          </a:p>
        </p:txBody>
      </p:sp>
      <p:sp>
        <p:nvSpPr>
          <p:cNvPr id="25" name="Content Placeholder 2">
            <a:extLst>
              <a:ext uri="{FF2B5EF4-FFF2-40B4-BE49-F238E27FC236}">
                <a16:creationId xmlns:a16="http://schemas.microsoft.com/office/drawing/2014/main" id="{BECC73CC-593A-3305-A45D-E128E28B982F}"/>
              </a:ext>
            </a:extLst>
          </p:cNvPr>
          <p:cNvSpPr txBox="1">
            <a:spLocks/>
          </p:cNvSpPr>
          <p:nvPr/>
        </p:nvSpPr>
        <p:spPr>
          <a:xfrm>
            <a:off x="273836" y="3399476"/>
            <a:ext cx="2762340" cy="566578"/>
          </a:xfrm>
          <a:prstGeom prst="rect">
            <a:avLst/>
          </a:prstGeom>
          <a:noFill/>
        </p:spPr>
        <p:txBody>
          <a:bodyPr/>
          <a:lstStyle>
            <a:lvl1pPr marL="174468" indent="-174468" algn="l" defTabSz="685183" rtl="0" eaLnBrk="1" latinLnBrk="0" hangingPunct="1">
              <a:lnSpc>
                <a:spcPct val="100000"/>
              </a:lnSpc>
              <a:spcBef>
                <a:spcPts val="0"/>
              </a:spcBef>
              <a:spcAft>
                <a:spcPts val="999"/>
              </a:spcAft>
              <a:buClr>
                <a:schemeClr val="accent1"/>
              </a:buClr>
              <a:buFont typeface="Arial" panose="020B0604020202020204" pitchFamily="34" charset="0"/>
              <a:buChar char="•"/>
              <a:defRPr lang="en-US" sz="1599" kern="1200" dirty="0" smtClean="0">
                <a:solidFill>
                  <a:schemeClr val="bg1"/>
                </a:solidFill>
                <a:latin typeface="+mn-lt"/>
                <a:ea typeface="+mn-ea"/>
                <a:cs typeface="+mn-cs"/>
              </a:defRPr>
            </a:lvl1pPr>
            <a:lvl2pPr marL="339419" indent="-168124" algn="l" defTabSz="685183" rtl="0" eaLnBrk="1" latinLnBrk="0" hangingPunct="1">
              <a:lnSpc>
                <a:spcPct val="100000"/>
              </a:lnSpc>
              <a:spcBef>
                <a:spcPts val="0"/>
              </a:spcBef>
              <a:spcAft>
                <a:spcPts val="999"/>
              </a:spcAft>
              <a:buClr>
                <a:schemeClr val="accent1"/>
              </a:buClr>
              <a:buFont typeface="Calibri" panose="020F0502020204030204" pitchFamily="34" charset="0"/>
              <a:buChar char="–"/>
              <a:defRPr lang="en-US" sz="1599" kern="1200" dirty="0" smtClean="0">
                <a:solidFill>
                  <a:schemeClr val="bg1"/>
                </a:solidFill>
                <a:latin typeface="+mn-lt"/>
                <a:ea typeface="+mn-ea"/>
                <a:cs typeface="+mn-cs"/>
              </a:defRPr>
            </a:lvl2pPr>
            <a:lvl3pPr marL="513887" indent="-171296" algn="l" defTabSz="685183" rtl="0" eaLnBrk="1" latinLnBrk="0" hangingPunct="1">
              <a:lnSpc>
                <a:spcPct val="100000"/>
              </a:lnSpc>
              <a:spcBef>
                <a:spcPts val="0"/>
              </a:spcBef>
              <a:spcAft>
                <a:spcPts val="999"/>
              </a:spcAft>
              <a:buClr>
                <a:schemeClr val="accent1"/>
              </a:buClr>
              <a:buFont typeface="Arial" panose="020B0604020202020204" pitchFamily="34" charset="0"/>
              <a:buChar char="•"/>
              <a:defRPr lang="en-US" sz="1599" kern="1200" dirty="0" smtClean="0">
                <a:solidFill>
                  <a:schemeClr val="bg1"/>
                </a:solidFill>
                <a:latin typeface="+mn-lt"/>
                <a:ea typeface="+mn-ea"/>
                <a:cs typeface="+mn-cs"/>
              </a:defRPr>
            </a:lvl3pPr>
            <a:lvl4pPr marL="686769" indent="-172882" algn="l" defTabSz="685183" rtl="0" eaLnBrk="1" latinLnBrk="0" hangingPunct="1">
              <a:lnSpc>
                <a:spcPct val="100000"/>
              </a:lnSpc>
              <a:spcBef>
                <a:spcPts val="0"/>
              </a:spcBef>
              <a:spcAft>
                <a:spcPts val="999"/>
              </a:spcAft>
              <a:buClr>
                <a:schemeClr val="accent1"/>
              </a:buClr>
              <a:buFont typeface="Calibri" panose="020F0502020204030204" pitchFamily="34" charset="0"/>
              <a:buChar char="–"/>
              <a:defRPr lang="en-US" sz="1599" kern="1200" dirty="0" smtClean="0">
                <a:solidFill>
                  <a:schemeClr val="bg1"/>
                </a:solidFill>
                <a:latin typeface="+mn-lt"/>
                <a:ea typeface="+mn-ea"/>
                <a:cs typeface="+mn-cs"/>
              </a:defRPr>
            </a:lvl4pPr>
            <a:lvl5pPr marL="853306" indent="-168124" algn="l" defTabSz="685183" rtl="0" eaLnBrk="1" latinLnBrk="0" hangingPunct="1">
              <a:lnSpc>
                <a:spcPct val="100000"/>
              </a:lnSpc>
              <a:spcBef>
                <a:spcPts val="0"/>
              </a:spcBef>
              <a:spcAft>
                <a:spcPts val="999"/>
              </a:spcAft>
              <a:buClr>
                <a:schemeClr val="accent1"/>
              </a:buClr>
              <a:buFont typeface="Arial" panose="020B0604020202020204" pitchFamily="34" charset="0"/>
              <a:buChar char="•"/>
              <a:defRPr lang="en-US" sz="1599" kern="1200" dirty="0">
                <a:solidFill>
                  <a:schemeClr val="bg1"/>
                </a:solidFill>
                <a:latin typeface="+mn-lt"/>
                <a:ea typeface="+mn-ea"/>
                <a:cs typeface="+mn-cs"/>
              </a:defRPr>
            </a:lvl5pPr>
            <a:lvl6pPr marL="1884253"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6pPr>
            <a:lvl7pPr marL="2226844"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7pPr>
            <a:lvl8pPr marL="2569435"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8pPr>
            <a:lvl9pPr marL="2912027" indent="-171296" algn="l" defTabSz="685183" rtl="0" eaLnBrk="1" latinLnBrk="0" hangingPunct="1">
              <a:lnSpc>
                <a:spcPct val="90000"/>
              </a:lnSpc>
              <a:spcBef>
                <a:spcPts val="375"/>
              </a:spcBef>
              <a:buFont typeface="Arial" panose="020B0604020202020204" pitchFamily="34" charset="0"/>
              <a:buChar char="•"/>
              <a:defRPr sz="1349" kern="1200">
                <a:solidFill>
                  <a:schemeClr val="tx1"/>
                </a:solidFill>
                <a:latin typeface="+mn-lt"/>
                <a:ea typeface="+mn-ea"/>
                <a:cs typeface="+mn-cs"/>
              </a:defRPr>
            </a:lvl9pPr>
          </a:lstStyle>
          <a:p>
            <a:pPr marL="0" indent="0" algn="ctr" defTabSz="912710">
              <a:buClr>
                <a:srgbClr val="4776BD"/>
              </a:buClr>
              <a:buNone/>
            </a:pPr>
            <a:r>
              <a:rPr lang="en-US" sz="2400" dirty="0">
                <a:solidFill>
                  <a:schemeClr val="tx1"/>
                </a:solidFill>
                <a:latin typeface="Calibri"/>
              </a:rPr>
              <a:t>Visible disability</a:t>
            </a:r>
          </a:p>
        </p:txBody>
      </p:sp>
      <p:sp>
        <p:nvSpPr>
          <p:cNvPr id="9" name="Content Placeholder 2">
            <a:extLst>
              <a:ext uri="{FF2B5EF4-FFF2-40B4-BE49-F238E27FC236}">
                <a16:creationId xmlns:a16="http://schemas.microsoft.com/office/drawing/2014/main" id="{0AECE9F9-9442-B5CD-79F2-517C1D4060A9}"/>
              </a:ext>
            </a:extLst>
          </p:cNvPr>
          <p:cNvSpPr txBox="1">
            <a:spLocks/>
          </p:cNvSpPr>
          <p:nvPr/>
        </p:nvSpPr>
        <p:spPr>
          <a:xfrm>
            <a:off x="2731868" y="3307178"/>
            <a:ext cx="2155288" cy="842985"/>
          </a:xfrm>
          <a:prstGeom prst="rect">
            <a:avLst/>
          </a:prstGeom>
          <a:noFill/>
        </p:spPr>
        <p:txBody>
          <a:bodyPr vert="horz" lIns="0" tIns="0" rIns="0" bIns="0" rtlCol="0">
            <a:noAutofit/>
          </a:bodyPr>
          <a:lstStyle>
            <a:lvl1pPr marL="174625" indent="-174625"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smtClean="0">
                <a:solidFill>
                  <a:schemeClr val="tx1"/>
                </a:solidFill>
                <a:latin typeface="+mn-lt"/>
                <a:ea typeface="+mn-ea"/>
                <a:cs typeface="+mn-cs"/>
              </a:defRPr>
            </a:lvl1pPr>
            <a:lvl2pPr marL="339725" indent="-168275" algn="l" defTabSz="685800" rtl="0" eaLnBrk="1" latinLnBrk="0" hangingPunct="1">
              <a:lnSpc>
                <a:spcPct val="100000"/>
              </a:lnSpc>
              <a:spcBef>
                <a:spcPts val="0"/>
              </a:spcBef>
              <a:spcAft>
                <a:spcPts val="1000"/>
              </a:spcAft>
              <a:buClr>
                <a:schemeClr val="accent1"/>
              </a:buClr>
              <a:buFont typeface="Calibri" panose="020F0502020204030204" pitchFamily="34" charset="0"/>
              <a:buChar char="–"/>
              <a:defRPr lang="en-US" sz="1600" kern="1200" dirty="0" smtClean="0">
                <a:solidFill>
                  <a:schemeClr val="tx1"/>
                </a:solidFill>
                <a:latin typeface="+mn-lt"/>
                <a:ea typeface="+mn-ea"/>
                <a:cs typeface="+mn-cs"/>
              </a:defRPr>
            </a:lvl2pPr>
            <a:lvl3pPr marL="514350" indent="-171450"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smtClean="0">
                <a:solidFill>
                  <a:schemeClr val="tx1"/>
                </a:solidFill>
                <a:latin typeface="+mn-lt"/>
                <a:ea typeface="+mn-ea"/>
                <a:cs typeface="+mn-cs"/>
              </a:defRPr>
            </a:lvl3pPr>
            <a:lvl4pPr marL="687388" indent="-173038" algn="l" defTabSz="685800" rtl="0" eaLnBrk="1" latinLnBrk="0" hangingPunct="1">
              <a:lnSpc>
                <a:spcPct val="100000"/>
              </a:lnSpc>
              <a:spcBef>
                <a:spcPts val="0"/>
              </a:spcBef>
              <a:spcAft>
                <a:spcPts val="1000"/>
              </a:spcAft>
              <a:buClr>
                <a:schemeClr val="accent1"/>
              </a:buClr>
              <a:buFont typeface="Calibri" panose="020F0502020204030204" pitchFamily="34" charset="0"/>
              <a:buChar char="–"/>
              <a:defRPr lang="en-US" sz="1600" kern="1200" dirty="0" smtClean="0">
                <a:solidFill>
                  <a:schemeClr val="tx1"/>
                </a:solidFill>
                <a:latin typeface="+mn-lt"/>
                <a:ea typeface="+mn-ea"/>
                <a:cs typeface="+mn-cs"/>
              </a:defRPr>
            </a:lvl4pPr>
            <a:lvl5pPr marL="854075" indent="-168275"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3532">
              <a:buClr>
                <a:srgbClr val="4776BD"/>
              </a:buClr>
              <a:buNone/>
            </a:pPr>
            <a:r>
              <a:rPr lang="en-US" sz="2400">
                <a:latin typeface="Calibri"/>
              </a:rPr>
              <a:t>Invisible disability</a:t>
            </a:r>
          </a:p>
        </p:txBody>
      </p:sp>
      <p:sp>
        <p:nvSpPr>
          <p:cNvPr id="21" name="Content Placeholder 2">
            <a:extLst>
              <a:ext uri="{FF2B5EF4-FFF2-40B4-BE49-F238E27FC236}">
                <a16:creationId xmlns:a16="http://schemas.microsoft.com/office/drawing/2014/main" id="{3BBC2C75-E852-77F1-5104-96A344425D64}"/>
              </a:ext>
            </a:extLst>
          </p:cNvPr>
          <p:cNvSpPr txBox="1">
            <a:spLocks/>
          </p:cNvSpPr>
          <p:nvPr/>
        </p:nvSpPr>
        <p:spPr>
          <a:xfrm>
            <a:off x="4582219" y="3285404"/>
            <a:ext cx="2325687" cy="926288"/>
          </a:xfrm>
          <a:prstGeom prst="rect">
            <a:avLst/>
          </a:prstGeom>
          <a:noFill/>
        </p:spPr>
        <p:txBody>
          <a:bodyPr vert="horz" lIns="0" tIns="0" rIns="0" bIns="0" rtlCol="0">
            <a:noAutofit/>
          </a:bodyPr>
          <a:lstStyle>
            <a:lvl1pPr marL="174625" indent="-174625"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smtClean="0">
                <a:solidFill>
                  <a:schemeClr val="tx1"/>
                </a:solidFill>
                <a:latin typeface="+mn-lt"/>
                <a:ea typeface="+mn-ea"/>
                <a:cs typeface="+mn-cs"/>
              </a:defRPr>
            </a:lvl1pPr>
            <a:lvl2pPr marL="339725" indent="-168275" algn="l" defTabSz="685800" rtl="0" eaLnBrk="1" latinLnBrk="0" hangingPunct="1">
              <a:lnSpc>
                <a:spcPct val="100000"/>
              </a:lnSpc>
              <a:spcBef>
                <a:spcPts val="0"/>
              </a:spcBef>
              <a:spcAft>
                <a:spcPts val="1000"/>
              </a:spcAft>
              <a:buClr>
                <a:schemeClr val="accent1"/>
              </a:buClr>
              <a:buFont typeface="Calibri" panose="020F0502020204030204" pitchFamily="34" charset="0"/>
              <a:buChar char="–"/>
              <a:defRPr lang="en-US" sz="1600" kern="1200" dirty="0" smtClean="0">
                <a:solidFill>
                  <a:schemeClr val="tx1"/>
                </a:solidFill>
                <a:latin typeface="+mn-lt"/>
                <a:ea typeface="+mn-ea"/>
                <a:cs typeface="+mn-cs"/>
              </a:defRPr>
            </a:lvl2pPr>
            <a:lvl3pPr marL="514350" indent="-171450"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smtClean="0">
                <a:solidFill>
                  <a:schemeClr val="tx1"/>
                </a:solidFill>
                <a:latin typeface="+mn-lt"/>
                <a:ea typeface="+mn-ea"/>
                <a:cs typeface="+mn-cs"/>
              </a:defRPr>
            </a:lvl3pPr>
            <a:lvl4pPr marL="687388" indent="-173038" algn="l" defTabSz="685800" rtl="0" eaLnBrk="1" latinLnBrk="0" hangingPunct="1">
              <a:lnSpc>
                <a:spcPct val="100000"/>
              </a:lnSpc>
              <a:spcBef>
                <a:spcPts val="0"/>
              </a:spcBef>
              <a:spcAft>
                <a:spcPts val="1000"/>
              </a:spcAft>
              <a:buClr>
                <a:schemeClr val="accent1"/>
              </a:buClr>
              <a:buFont typeface="Calibri" panose="020F0502020204030204" pitchFamily="34" charset="0"/>
              <a:buChar char="–"/>
              <a:defRPr lang="en-US" sz="1600" kern="1200" dirty="0" smtClean="0">
                <a:solidFill>
                  <a:schemeClr val="tx1"/>
                </a:solidFill>
                <a:latin typeface="+mn-lt"/>
                <a:ea typeface="+mn-ea"/>
                <a:cs typeface="+mn-cs"/>
              </a:defRPr>
            </a:lvl4pPr>
            <a:lvl5pPr marL="854075" indent="-168275"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3532">
              <a:spcAft>
                <a:spcPts val="0"/>
              </a:spcAft>
              <a:buClr>
                <a:srgbClr val="4776BD"/>
              </a:buClr>
              <a:buNone/>
            </a:pPr>
            <a:r>
              <a:rPr lang="en-US" sz="2400">
                <a:latin typeface="Calibri"/>
              </a:rPr>
              <a:t>International</a:t>
            </a:r>
          </a:p>
          <a:p>
            <a:pPr marL="0" indent="0" algn="ctr" defTabSz="913532">
              <a:spcAft>
                <a:spcPts val="0"/>
              </a:spcAft>
              <a:buClr>
                <a:srgbClr val="4776BD"/>
              </a:buClr>
              <a:buNone/>
            </a:pPr>
            <a:r>
              <a:rPr lang="en-US" sz="2400">
                <a:latin typeface="Calibri"/>
              </a:rPr>
              <a:t>students</a:t>
            </a:r>
          </a:p>
        </p:txBody>
      </p:sp>
      <p:sp>
        <p:nvSpPr>
          <p:cNvPr id="19" name="Content Placeholder 2">
            <a:extLst>
              <a:ext uri="{FF2B5EF4-FFF2-40B4-BE49-F238E27FC236}">
                <a16:creationId xmlns:a16="http://schemas.microsoft.com/office/drawing/2014/main" id="{9EAF4BF6-AE05-7F17-A87E-5F0582D6B982}"/>
              </a:ext>
            </a:extLst>
          </p:cNvPr>
          <p:cNvSpPr txBox="1">
            <a:spLocks/>
          </p:cNvSpPr>
          <p:nvPr/>
        </p:nvSpPr>
        <p:spPr>
          <a:xfrm>
            <a:off x="6861711" y="3281306"/>
            <a:ext cx="2877436" cy="930386"/>
          </a:xfrm>
          <a:prstGeom prst="rect">
            <a:avLst/>
          </a:prstGeom>
          <a:noFill/>
        </p:spPr>
        <p:txBody>
          <a:bodyPr vert="horz" lIns="0" tIns="0" rIns="0" bIns="0" rtlCol="0">
            <a:noAutofit/>
          </a:bodyPr>
          <a:lstStyle>
            <a:lvl1pPr marL="174625" indent="-174625"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smtClean="0">
                <a:solidFill>
                  <a:schemeClr val="tx1"/>
                </a:solidFill>
                <a:latin typeface="+mn-lt"/>
                <a:ea typeface="+mn-ea"/>
                <a:cs typeface="+mn-cs"/>
              </a:defRPr>
            </a:lvl1pPr>
            <a:lvl2pPr marL="339725" indent="-168275" algn="l" defTabSz="685800" rtl="0" eaLnBrk="1" latinLnBrk="0" hangingPunct="1">
              <a:lnSpc>
                <a:spcPct val="100000"/>
              </a:lnSpc>
              <a:spcBef>
                <a:spcPts val="0"/>
              </a:spcBef>
              <a:spcAft>
                <a:spcPts val="1000"/>
              </a:spcAft>
              <a:buClr>
                <a:schemeClr val="accent1"/>
              </a:buClr>
              <a:buFont typeface="Calibri" panose="020F0502020204030204" pitchFamily="34" charset="0"/>
              <a:buChar char="–"/>
              <a:defRPr lang="en-US" sz="1600" kern="1200" dirty="0" smtClean="0">
                <a:solidFill>
                  <a:schemeClr val="tx1"/>
                </a:solidFill>
                <a:latin typeface="+mn-lt"/>
                <a:ea typeface="+mn-ea"/>
                <a:cs typeface="+mn-cs"/>
              </a:defRPr>
            </a:lvl2pPr>
            <a:lvl3pPr marL="514350" indent="-171450"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smtClean="0">
                <a:solidFill>
                  <a:schemeClr val="tx1"/>
                </a:solidFill>
                <a:latin typeface="+mn-lt"/>
                <a:ea typeface="+mn-ea"/>
                <a:cs typeface="+mn-cs"/>
              </a:defRPr>
            </a:lvl3pPr>
            <a:lvl4pPr marL="687388" indent="-173038" algn="l" defTabSz="685800" rtl="0" eaLnBrk="1" latinLnBrk="0" hangingPunct="1">
              <a:lnSpc>
                <a:spcPct val="100000"/>
              </a:lnSpc>
              <a:spcBef>
                <a:spcPts val="0"/>
              </a:spcBef>
              <a:spcAft>
                <a:spcPts val="1000"/>
              </a:spcAft>
              <a:buClr>
                <a:schemeClr val="accent1"/>
              </a:buClr>
              <a:buFont typeface="Calibri" panose="020F0502020204030204" pitchFamily="34" charset="0"/>
              <a:buChar char="–"/>
              <a:defRPr lang="en-US" sz="1600" kern="1200" dirty="0" smtClean="0">
                <a:solidFill>
                  <a:schemeClr val="tx1"/>
                </a:solidFill>
                <a:latin typeface="+mn-lt"/>
                <a:ea typeface="+mn-ea"/>
                <a:cs typeface="+mn-cs"/>
              </a:defRPr>
            </a:lvl4pPr>
            <a:lvl5pPr marL="854075" indent="-168275"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3532">
              <a:spcAft>
                <a:spcPts val="0"/>
              </a:spcAft>
              <a:buClr>
                <a:srgbClr val="4776BD"/>
              </a:buClr>
              <a:buNone/>
            </a:pPr>
            <a:r>
              <a:rPr lang="en-US" sz="2400">
                <a:latin typeface="Calibri"/>
              </a:rPr>
              <a:t>Professionals seeking more education</a:t>
            </a:r>
          </a:p>
        </p:txBody>
      </p:sp>
      <p:sp>
        <p:nvSpPr>
          <p:cNvPr id="17" name="Content Placeholder 2">
            <a:extLst>
              <a:ext uri="{FF2B5EF4-FFF2-40B4-BE49-F238E27FC236}">
                <a16:creationId xmlns:a16="http://schemas.microsoft.com/office/drawing/2014/main" id="{55B2930E-B648-0938-4A2A-07F7AFCAD06D}"/>
              </a:ext>
            </a:extLst>
          </p:cNvPr>
          <p:cNvSpPr txBox="1">
            <a:spLocks/>
          </p:cNvSpPr>
          <p:nvPr/>
        </p:nvSpPr>
        <p:spPr>
          <a:xfrm>
            <a:off x="9814095" y="3303513"/>
            <a:ext cx="1934732" cy="908179"/>
          </a:xfrm>
          <a:prstGeom prst="rect">
            <a:avLst/>
          </a:prstGeom>
          <a:noFill/>
        </p:spPr>
        <p:txBody>
          <a:bodyPr vert="horz" lIns="0" tIns="0" rIns="0" bIns="0" rtlCol="0">
            <a:noAutofit/>
          </a:bodyPr>
          <a:lstStyle>
            <a:lvl1pPr marL="174625" indent="-174625"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smtClean="0">
                <a:solidFill>
                  <a:schemeClr val="tx1"/>
                </a:solidFill>
                <a:latin typeface="+mn-lt"/>
                <a:ea typeface="+mn-ea"/>
                <a:cs typeface="+mn-cs"/>
              </a:defRPr>
            </a:lvl1pPr>
            <a:lvl2pPr marL="339725" indent="-168275" algn="l" defTabSz="685800" rtl="0" eaLnBrk="1" latinLnBrk="0" hangingPunct="1">
              <a:lnSpc>
                <a:spcPct val="100000"/>
              </a:lnSpc>
              <a:spcBef>
                <a:spcPts val="0"/>
              </a:spcBef>
              <a:spcAft>
                <a:spcPts val="1000"/>
              </a:spcAft>
              <a:buClr>
                <a:schemeClr val="accent1"/>
              </a:buClr>
              <a:buFont typeface="Calibri" panose="020F0502020204030204" pitchFamily="34" charset="0"/>
              <a:buChar char="–"/>
              <a:defRPr lang="en-US" sz="1600" kern="1200" dirty="0" smtClean="0">
                <a:solidFill>
                  <a:schemeClr val="tx1"/>
                </a:solidFill>
                <a:latin typeface="+mn-lt"/>
                <a:ea typeface="+mn-ea"/>
                <a:cs typeface="+mn-cs"/>
              </a:defRPr>
            </a:lvl2pPr>
            <a:lvl3pPr marL="514350" indent="-171450"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smtClean="0">
                <a:solidFill>
                  <a:schemeClr val="tx1"/>
                </a:solidFill>
                <a:latin typeface="+mn-lt"/>
                <a:ea typeface="+mn-ea"/>
                <a:cs typeface="+mn-cs"/>
              </a:defRPr>
            </a:lvl3pPr>
            <a:lvl4pPr marL="687388" indent="-173038" algn="l" defTabSz="685800" rtl="0" eaLnBrk="1" latinLnBrk="0" hangingPunct="1">
              <a:lnSpc>
                <a:spcPct val="100000"/>
              </a:lnSpc>
              <a:spcBef>
                <a:spcPts val="0"/>
              </a:spcBef>
              <a:spcAft>
                <a:spcPts val="1000"/>
              </a:spcAft>
              <a:buClr>
                <a:schemeClr val="accent1"/>
              </a:buClr>
              <a:buFont typeface="Calibri" panose="020F0502020204030204" pitchFamily="34" charset="0"/>
              <a:buChar char="–"/>
              <a:defRPr lang="en-US" sz="1600" kern="1200" dirty="0" smtClean="0">
                <a:solidFill>
                  <a:schemeClr val="tx1"/>
                </a:solidFill>
                <a:latin typeface="+mn-lt"/>
                <a:ea typeface="+mn-ea"/>
                <a:cs typeface="+mn-cs"/>
              </a:defRPr>
            </a:lvl4pPr>
            <a:lvl5pPr marL="854075" indent="-168275"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3532">
              <a:spcAft>
                <a:spcPts val="0"/>
              </a:spcAft>
              <a:buClr>
                <a:srgbClr val="4776BD"/>
              </a:buClr>
              <a:buNone/>
            </a:pPr>
            <a:r>
              <a:rPr lang="en-US" sz="2400">
                <a:latin typeface="Calibri"/>
              </a:rPr>
              <a:t>Temporary</a:t>
            </a:r>
          </a:p>
          <a:p>
            <a:pPr marL="0" indent="0" algn="ctr" defTabSz="913532">
              <a:spcAft>
                <a:spcPts val="0"/>
              </a:spcAft>
              <a:buClr>
                <a:srgbClr val="4776BD"/>
              </a:buClr>
              <a:buNone/>
            </a:pPr>
            <a:r>
              <a:rPr lang="en-US" sz="2400">
                <a:latin typeface="Calibri"/>
              </a:rPr>
              <a:t>disability</a:t>
            </a:r>
          </a:p>
        </p:txBody>
      </p:sp>
      <p:sp>
        <p:nvSpPr>
          <p:cNvPr id="15" name="Content Placeholder 2">
            <a:extLst>
              <a:ext uri="{FF2B5EF4-FFF2-40B4-BE49-F238E27FC236}">
                <a16:creationId xmlns:a16="http://schemas.microsoft.com/office/drawing/2014/main" id="{84CA7859-5D35-7676-06B1-BABA9CC46010}"/>
              </a:ext>
            </a:extLst>
          </p:cNvPr>
          <p:cNvSpPr txBox="1">
            <a:spLocks/>
          </p:cNvSpPr>
          <p:nvPr/>
        </p:nvSpPr>
        <p:spPr>
          <a:xfrm>
            <a:off x="1906222" y="5574417"/>
            <a:ext cx="1214160" cy="428101"/>
          </a:xfrm>
          <a:prstGeom prst="rect">
            <a:avLst/>
          </a:prstGeom>
          <a:noFill/>
        </p:spPr>
        <p:txBody>
          <a:bodyPr vert="horz" lIns="0" tIns="0" rIns="0" bIns="0" rtlCol="0">
            <a:noAutofit/>
          </a:bodyPr>
          <a:lstStyle>
            <a:lvl1pPr marL="174625" indent="-174625"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smtClean="0">
                <a:solidFill>
                  <a:schemeClr val="tx1"/>
                </a:solidFill>
                <a:latin typeface="+mn-lt"/>
                <a:ea typeface="+mn-ea"/>
                <a:cs typeface="+mn-cs"/>
              </a:defRPr>
            </a:lvl1pPr>
            <a:lvl2pPr marL="339725" indent="-168275" algn="l" defTabSz="685800" rtl="0" eaLnBrk="1" latinLnBrk="0" hangingPunct="1">
              <a:lnSpc>
                <a:spcPct val="100000"/>
              </a:lnSpc>
              <a:spcBef>
                <a:spcPts val="0"/>
              </a:spcBef>
              <a:spcAft>
                <a:spcPts val="1000"/>
              </a:spcAft>
              <a:buClr>
                <a:schemeClr val="accent1"/>
              </a:buClr>
              <a:buFont typeface="Calibri" panose="020F0502020204030204" pitchFamily="34" charset="0"/>
              <a:buChar char="–"/>
              <a:defRPr lang="en-US" sz="1600" kern="1200" dirty="0" smtClean="0">
                <a:solidFill>
                  <a:schemeClr val="tx1"/>
                </a:solidFill>
                <a:latin typeface="+mn-lt"/>
                <a:ea typeface="+mn-ea"/>
                <a:cs typeface="+mn-cs"/>
              </a:defRPr>
            </a:lvl2pPr>
            <a:lvl3pPr marL="514350" indent="-171450"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smtClean="0">
                <a:solidFill>
                  <a:schemeClr val="tx1"/>
                </a:solidFill>
                <a:latin typeface="+mn-lt"/>
                <a:ea typeface="+mn-ea"/>
                <a:cs typeface="+mn-cs"/>
              </a:defRPr>
            </a:lvl3pPr>
            <a:lvl4pPr marL="687388" indent="-173038" algn="l" defTabSz="685800" rtl="0" eaLnBrk="1" latinLnBrk="0" hangingPunct="1">
              <a:lnSpc>
                <a:spcPct val="100000"/>
              </a:lnSpc>
              <a:spcBef>
                <a:spcPts val="0"/>
              </a:spcBef>
              <a:spcAft>
                <a:spcPts val="1000"/>
              </a:spcAft>
              <a:buClr>
                <a:schemeClr val="accent1"/>
              </a:buClr>
              <a:buFont typeface="Calibri" panose="020F0502020204030204" pitchFamily="34" charset="0"/>
              <a:buChar char="–"/>
              <a:defRPr lang="en-US" sz="1600" kern="1200" dirty="0" smtClean="0">
                <a:solidFill>
                  <a:schemeClr val="tx1"/>
                </a:solidFill>
                <a:latin typeface="+mn-lt"/>
                <a:ea typeface="+mn-ea"/>
                <a:cs typeface="+mn-cs"/>
              </a:defRPr>
            </a:lvl4pPr>
            <a:lvl5pPr marL="854075" indent="-168275"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3532">
              <a:buClr>
                <a:srgbClr val="4776BD"/>
              </a:buClr>
              <a:buNone/>
            </a:pPr>
            <a:r>
              <a:rPr lang="en-US" sz="2400">
                <a:latin typeface="Calibri"/>
              </a:rPr>
              <a:t>Mobile</a:t>
            </a:r>
          </a:p>
        </p:txBody>
      </p:sp>
      <p:sp>
        <p:nvSpPr>
          <p:cNvPr id="13" name="Content Placeholder 2">
            <a:extLst>
              <a:ext uri="{FF2B5EF4-FFF2-40B4-BE49-F238E27FC236}">
                <a16:creationId xmlns:a16="http://schemas.microsoft.com/office/drawing/2014/main" id="{5CEE6CDD-40ED-317C-8477-FAE24D02E9A0}"/>
              </a:ext>
            </a:extLst>
          </p:cNvPr>
          <p:cNvSpPr txBox="1">
            <a:spLocks/>
          </p:cNvSpPr>
          <p:nvPr/>
        </p:nvSpPr>
        <p:spPr>
          <a:xfrm>
            <a:off x="3686769" y="5350829"/>
            <a:ext cx="3138844" cy="783333"/>
          </a:xfrm>
          <a:prstGeom prst="rect">
            <a:avLst/>
          </a:prstGeom>
          <a:noFill/>
        </p:spPr>
        <p:txBody>
          <a:bodyPr vert="horz" lIns="0" tIns="0" rIns="0" bIns="0" rtlCol="0">
            <a:noAutofit/>
          </a:bodyPr>
          <a:lstStyle>
            <a:lvl1pPr marL="174625" indent="-174625"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smtClean="0">
                <a:solidFill>
                  <a:schemeClr val="tx1"/>
                </a:solidFill>
                <a:latin typeface="+mn-lt"/>
                <a:ea typeface="+mn-ea"/>
                <a:cs typeface="+mn-cs"/>
              </a:defRPr>
            </a:lvl1pPr>
            <a:lvl2pPr marL="339725" indent="-168275" algn="l" defTabSz="685800" rtl="0" eaLnBrk="1" latinLnBrk="0" hangingPunct="1">
              <a:lnSpc>
                <a:spcPct val="100000"/>
              </a:lnSpc>
              <a:spcBef>
                <a:spcPts val="0"/>
              </a:spcBef>
              <a:spcAft>
                <a:spcPts val="1000"/>
              </a:spcAft>
              <a:buClr>
                <a:schemeClr val="accent1"/>
              </a:buClr>
              <a:buFont typeface="Calibri" panose="020F0502020204030204" pitchFamily="34" charset="0"/>
              <a:buChar char="–"/>
              <a:defRPr lang="en-US" sz="1600" kern="1200" dirty="0" smtClean="0">
                <a:solidFill>
                  <a:schemeClr val="tx1"/>
                </a:solidFill>
                <a:latin typeface="+mn-lt"/>
                <a:ea typeface="+mn-ea"/>
                <a:cs typeface="+mn-cs"/>
              </a:defRPr>
            </a:lvl2pPr>
            <a:lvl3pPr marL="514350" indent="-171450"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smtClean="0">
                <a:solidFill>
                  <a:schemeClr val="tx1"/>
                </a:solidFill>
                <a:latin typeface="+mn-lt"/>
                <a:ea typeface="+mn-ea"/>
                <a:cs typeface="+mn-cs"/>
              </a:defRPr>
            </a:lvl3pPr>
            <a:lvl4pPr marL="687388" indent="-173038" algn="l" defTabSz="685800" rtl="0" eaLnBrk="1" latinLnBrk="0" hangingPunct="1">
              <a:lnSpc>
                <a:spcPct val="100000"/>
              </a:lnSpc>
              <a:spcBef>
                <a:spcPts val="0"/>
              </a:spcBef>
              <a:spcAft>
                <a:spcPts val="1000"/>
              </a:spcAft>
              <a:buClr>
                <a:schemeClr val="accent1"/>
              </a:buClr>
              <a:buFont typeface="Calibri" panose="020F0502020204030204" pitchFamily="34" charset="0"/>
              <a:buChar char="–"/>
              <a:defRPr lang="en-US" sz="1600" kern="1200" dirty="0" smtClean="0">
                <a:solidFill>
                  <a:schemeClr val="tx1"/>
                </a:solidFill>
                <a:latin typeface="+mn-lt"/>
                <a:ea typeface="+mn-ea"/>
                <a:cs typeface="+mn-cs"/>
              </a:defRPr>
            </a:lvl4pPr>
            <a:lvl5pPr marL="854075" indent="-168275"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3532">
              <a:spcAft>
                <a:spcPts val="0"/>
              </a:spcAft>
              <a:buClr>
                <a:srgbClr val="4776BD"/>
              </a:buClr>
              <a:buNone/>
            </a:pPr>
            <a:r>
              <a:rPr lang="en-US" sz="2400">
                <a:latin typeface="Calibri"/>
              </a:rPr>
              <a:t>First-time college students and their family</a:t>
            </a:r>
          </a:p>
        </p:txBody>
      </p:sp>
      <p:sp>
        <p:nvSpPr>
          <p:cNvPr id="23" name="Content Placeholder 2">
            <a:extLst>
              <a:ext uri="{FF2B5EF4-FFF2-40B4-BE49-F238E27FC236}">
                <a16:creationId xmlns:a16="http://schemas.microsoft.com/office/drawing/2014/main" id="{9737A1CE-E142-6C92-3F79-EB3EAC29A709}"/>
              </a:ext>
            </a:extLst>
          </p:cNvPr>
          <p:cNvSpPr txBox="1">
            <a:spLocks/>
          </p:cNvSpPr>
          <p:nvPr/>
        </p:nvSpPr>
        <p:spPr>
          <a:xfrm>
            <a:off x="7051572" y="5415560"/>
            <a:ext cx="1460747" cy="684663"/>
          </a:xfrm>
          <a:prstGeom prst="rect">
            <a:avLst/>
          </a:prstGeom>
          <a:noFill/>
        </p:spPr>
        <p:txBody>
          <a:bodyPr vert="horz" lIns="0" tIns="0" rIns="0" bIns="0" rtlCol="0">
            <a:noAutofit/>
          </a:bodyPr>
          <a:lstStyle>
            <a:lvl1pPr marL="174625" indent="-174625"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smtClean="0">
                <a:solidFill>
                  <a:schemeClr val="tx1"/>
                </a:solidFill>
                <a:latin typeface="+mn-lt"/>
                <a:ea typeface="+mn-ea"/>
                <a:cs typeface="+mn-cs"/>
              </a:defRPr>
            </a:lvl1pPr>
            <a:lvl2pPr marL="339725" indent="-168275" algn="l" defTabSz="685800" rtl="0" eaLnBrk="1" latinLnBrk="0" hangingPunct="1">
              <a:lnSpc>
                <a:spcPct val="100000"/>
              </a:lnSpc>
              <a:spcBef>
                <a:spcPts val="0"/>
              </a:spcBef>
              <a:spcAft>
                <a:spcPts val="1000"/>
              </a:spcAft>
              <a:buClr>
                <a:schemeClr val="accent1"/>
              </a:buClr>
              <a:buFont typeface="Calibri" panose="020F0502020204030204" pitchFamily="34" charset="0"/>
              <a:buChar char="–"/>
              <a:defRPr lang="en-US" sz="1600" kern="1200" dirty="0" smtClean="0">
                <a:solidFill>
                  <a:schemeClr val="tx1"/>
                </a:solidFill>
                <a:latin typeface="+mn-lt"/>
                <a:ea typeface="+mn-ea"/>
                <a:cs typeface="+mn-cs"/>
              </a:defRPr>
            </a:lvl2pPr>
            <a:lvl3pPr marL="514350" indent="-171450"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smtClean="0">
                <a:solidFill>
                  <a:schemeClr val="tx1"/>
                </a:solidFill>
                <a:latin typeface="+mn-lt"/>
                <a:ea typeface="+mn-ea"/>
                <a:cs typeface="+mn-cs"/>
              </a:defRPr>
            </a:lvl3pPr>
            <a:lvl4pPr marL="687388" indent="-173038" algn="l" defTabSz="685800" rtl="0" eaLnBrk="1" latinLnBrk="0" hangingPunct="1">
              <a:lnSpc>
                <a:spcPct val="100000"/>
              </a:lnSpc>
              <a:spcBef>
                <a:spcPts val="0"/>
              </a:spcBef>
              <a:spcAft>
                <a:spcPts val="1000"/>
              </a:spcAft>
              <a:buClr>
                <a:schemeClr val="accent1"/>
              </a:buClr>
              <a:buFont typeface="Calibri" panose="020F0502020204030204" pitchFamily="34" charset="0"/>
              <a:buChar char="–"/>
              <a:defRPr lang="en-US" sz="1600" kern="1200" dirty="0" smtClean="0">
                <a:solidFill>
                  <a:schemeClr val="tx1"/>
                </a:solidFill>
                <a:latin typeface="+mn-lt"/>
                <a:ea typeface="+mn-ea"/>
                <a:cs typeface="+mn-cs"/>
              </a:defRPr>
            </a:lvl4pPr>
            <a:lvl5pPr marL="854075" indent="-168275"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3532">
              <a:buClr>
                <a:srgbClr val="4776BD"/>
              </a:buClr>
              <a:buNone/>
            </a:pPr>
            <a:r>
              <a:rPr lang="en-US" sz="2400">
                <a:latin typeface="Calibri"/>
              </a:rPr>
              <a:t>Parents</a:t>
            </a:r>
          </a:p>
        </p:txBody>
      </p:sp>
      <p:sp>
        <p:nvSpPr>
          <p:cNvPr id="11" name="Content Placeholder 2">
            <a:extLst>
              <a:ext uri="{FF2B5EF4-FFF2-40B4-BE49-F238E27FC236}">
                <a16:creationId xmlns:a16="http://schemas.microsoft.com/office/drawing/2014/main" id="{0FCC27E3-11D4-7A3F-139B-30636E19287C}"/>
              </a:ext>
            </a:extLst>
          </p:cNvPr>
          <p:cNvSpPr txBox="1">
            <a:spLocks/>
          </p:cNvSpPr>
          <p:nvPr/>
        </p:nvSpPr>
        <p:spPr>
          <a:xfrm>
            <a:off x="8748556" y="5411721"/>
            <a:ext cx="2300277" cy="688502"/>
          </a:xfrm>
          <a:prstGeom prst="rect">
            <a:avLst/>
          </a:prstGeom>
          <a:noFill/>
        </p:spPr>
        <p:txBody>
          <a:bodyPr vert="horz" lIns="0" tIns="0" rIns="0" bIns="0" rtlCol="0">
            <a:noAutofit/>
          </a:bodyPr>
          <a:lstStyle>
            <a:lvl1pPr marL="174625" indent="-174625"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smtClean="0">
                <a:solidFill>
                  <a:schemeClr val="tx1"/>
                </a:solidFill>
                <a:latin typeface="+mn-lt"/>
                <a:ea typeface="+mn-ea"/>
                <a:cs typeface="+mn-cs"/>
              </a:defRPr>
            </a:lvl1pPr>
            <a:lvl2pPr marL="339725" indent="-168275" algn="l" defTabSz="685800" rtl="0" eaLnBrk="1" latinLnBrk="0" hangingPunct="1">
              <a:lnSpc>
                <a:spcPct val="100000"/>
              </a:lnSpc>
              <a:spcBef>
                <a:spcPts val="0"/>
              </a:spcBef>
              <a:spcAft>
                <a:spcPts val="1000"/>
              </a:spcAft>
              <a:buClr>
                <a:schemeClr val="accent1"/>
              </a:buClr>
              <a:buFont typeface="Calibri" panose="020F0502020204030204" pitchFamily="34" charset="0"/>
              <a:buChar char="–"/>
              <a:defRPr lang="en-US" sz="1600" kern="1200" dirty="0" smtClean="0">
                <a:solidFill>
                  <a:schemeClr val="tx1"/>
                </a:solidFill>
                <a:latin typeface="+mn-lt"/>
                <a:ea typeface="+mn-ea"/>
                <a:cs typeface="+mn-cs"/>
              </a:defRPr>
            </a:lvl2pPr>
            <a:lvl3pPr marL="514350" indent="-171450"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smtClean="0">
                <a:solidFill>
                  <a:schemeClr val="tx1"/>
                </a:solidFill>
                <a:latin typeface="+mn-lt"/>
                <a:ea typeface="+mn-ea"/>
                <a:cs typeface="+mn-cs"/>
              </a:defRPr>
            </a:lvl3pPr>
            <a:lvl4pPr marL="687388" indent="-173038" algn="l" defTabSz="685800" rtl="0" eaLnBrk="1" latinLnBrk="0" hangingPunct="1">
              <a:lnSpc>
                <a:spcPct val="100000"/>
              </a:lnSpc>
              <a:spcBef>
                <a:spcPts val="0"/>
              </a:spcBef>
              <a:spcAft>
                <a:spcPts val="1000"/>
              </a:spcAft>
              <a:buClr>
                <a:schemeClr val="accent1"/>
              </a:buClr>
              <a:buFont typeface="Calibri" panose="020F0502020204030204" pitchFamily="34" charset="0"/>
              <a:buChar char="–"/>
              <a:defRPr lang="en-US" sz="1600" kern="1200" dirty="0" smtClean="0">
                <a:solidFill>
                  <a:schemeClr val="tx1"/>
                </a:solidFill>
                <a:latin typeface="+mn-lt"/>
                <a:ea typeface="+mn-ea"/>
                <a:cs typeface="+mn-cs"/>
              </a:defRPr>
            </a:lvl4pPr>
            <a:lvl5pPr marL="854075" indent="-168275" algn="l" defTabSz="685800" rtl="0" eaLnBrk="1" latinLnBrk="0" hangingPunct="1">
              <a:lnSpc>
                <a:spcPct val="100000"/>
              </a:lnSpc>
              <a:spcBef>
                <a:spcPts val="0"/>
              </a:spcBef>
              <a:spcAft>
                <a:spcPts val="1000"/>
              </a:spcAft>
              <a:buClr>
                <a:schemeClr val="accent1"/>
              </a:buClr>
              <a:buFont typeface="Arial" panose="020B0604020202020204" pitchFamily="34" charset="0"/>
              <a:buChar char="•"/>
              <a:defRPr lang="en-US" sz="1600" kern="1200" dirty="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lgn="ctr" defTabSz="913532">
              <a:buClr>
                <a:srgbClr val="4776BD"/>
              </a:buClr>
              <a:buNone/>
            </a:pPr>
            <a:r>
              <a:rPr lang="en-US" sz="2400">
                <a:latin typeface="Calibri"/>
              </a:rPr>
              <a:t>Commuters</a:t>
            </a:r>
          </a:p>
        </p:txBody>
      </p:sp>
      <p:pic>
        <p:nvPicPr>
          <p:cNvPr id="22" name="Graphic 21">
            <a:extLst>
              <a:ext uri="{FF2B5EF4-FFF2-40B4-BE49-F238E27FC236}">
                <a16:creationId xmlns:a16="http://schemas.microsoft.com/office/drawing/2014/main" id="{E158798A-EA8D-92D5-2847-F739C7671E0A}"/>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52288" y="4109193"/>
            <a:ext cx="1259314" cy="1259314"/>
          </a:xfrm>
          <a:prstGeom prst="rect">
            <a:avLst/>
          </a:prstGeom>
        </p:spPr>
      </p:pic>
      <p:pic>
        <p:nvPicPr>
          <p:cNvPr id="12" name="Graphic 11">
            <a:extLst>
              <a:ext uri="{FF2B5EF4-FFF2-40B4-BE49-F238E27FC236}">
                <a16:creationId xmlns:a16="http://schemas.microsoft.com/office/drawing/2014/main" id="{F7F307EF-A009-6A1F-9AC7-216BED846732}"/>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616868" y="4109193"/>
            <a:ext cx="1220253" cy="1220253"/>
          </a:xfrm>
          <a:prstGeom prst="rect">
            <a:avLst/>
          </a:prstGeom>
        </p:spPr>
      </p:pic>
      <p:pic>
        <p:nvPicPr>
          <p:cNvPr id="14" name="Graphic 13">
            <a:extLst>
              <a:ext uri="{FF2B5EF4-FFF2-40B4-BE49-F238E27FC236}">
                <a16:creationId xmlns:a16="http://schemas.microsoft.com/office/drawing/2014/main" id="{7DF95B2E-2F07-0E29-0025-6B1E86624E81}"/>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975926" y="4128724"/>
            <a:ext cx="1058351" cy="1058351"/>
          </a:xfrm>
          <a:prstGeom prst="rect">
            <a:avLst/>
          </a:prstGeom>
        </p:spPr>
      </p:pic>
      <p:pic>
        <p:nvPicPr>
          <p:cNvPr id="16" name="Graphic 15">
            <a:extLst>
              <a:ext uri="{FF2B5EF4-FFF2-40B4-BE49-F238E27FC236}">
                <a16:creationId xmlns:a16="http://schemas.microsoft.com/office/drawing/2014/main" id="{E51DB61B-DB97-C1B2-0BEE-29658518CB35}"/>
              </a:ext>
              <a:ext uri="{C183D7F6-B498-43B3-948B-1728B52AA6E4}">
                <adec:decorative xmlns:adec="http://schemas.microsoft.com/office/drawing/2017/decorative" val="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10159867" y="1969898"/>
            <a:ext cx="1259314" cy="1259314"/>
          </a:xfrm>
          <a:prstGeom prst="rect">
            <a:avLst/>
          </a:prstGeom>
        </p:spPr>
      </p:pic>
      <p:pic>
        <p:nvPicPr>
          <p:cNvPr id="18" name="Graphic 17">
            <a:extLst>
              <a:ext uri="{FF2B5EF4-FFF2-40B4-BE49-F238E27FC236}">
                <a16:creationId xmlns:a16="http://schemas.microsoft.com/office/drawing/2014/main" id="{76B65D88-584F-14FF-304E-7F70C6F37610}"/>
              </a:ext>
              <a:ext uri="{C183D7F6-B498-43B3-948B-1728B52AA6E4}">
                <adec:decorative xmlns:adec="http://schemas.microsoft.com/office/drawing/2017/decorative" val="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7544835" y="1700370"/>
            <a:ext cx="1259314" cy="1259314"/>
          </a:xfrm>
          <a:prstGeom prst="rect">
            <a:avLst/>
          </a:prstGeom>
        </p:spPr>
      </p:pic>
      <p:pic>
        <p:nvPicPr>
          <p:cNvPr id="20" name="Graphic 19">
            <a:extLst>
              <a:ext uri="{FF2B5EF4-FFF2-40B4-BE49-F238E27FC236}">
                <a16:creationId xmlns:a16="http://schemas.microsoft.com/office/drawing/2014/main" id="{9E28D30F-BD85-87C6-631B-984543854BCB}"/>
              </a:ext>
              <a:ext uri="{C183D7F6-B498-43B3-948B-1728B52AA6E4}">
                <adec:decorative xmlns:adec="http://schemas.microsoft.com/office/drawing/2017/decorative" val="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107205" y="1833984"/>
            <a:ext cx="1259314" cy="1259314"/>
          </a:xfrm>
          <a:prstGeom prst="rect">
            <a:avLst/>
          </a:prstGeom>
        </p:spPr>
      </p:pic>
      <p:pic>
        <p:nvPicPr>
          <p:cNvPr id="8" name="Graphic 7">
            <a:extLst>
              <a:ext uri="{FF2B5EF4-FFF2-40B4-BE49-F238E27FC236}">
                <a16:creationId xmlns:a16="http://schemas.microsoft.com/office/drawing/2014/main" id="{A21895BC-90AB-5576-CC48-320BD711935F}"/>
              </a:ext>
              <a:ext uri="{C183D7F6-B498-43B3-948B-1728B52AA6E4}">
                <adec:decorative xmlns:adec="http://schemas.microsoft.com/office/drawing/2017/decorative" val="1"/>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171655" y="1812806"/>
            <a:ext cx="1259314" cy="1259314"/>
          </a:xfrm>
          <a:prstGeom prst="rect">
            <a:avLst/>
          </a:prstGeom>
        </p:spPr>
      </p:pic>
      <p:pic>
        <p:nvPicPr>
          <p:cNvPr id="10" name="Graphic 9">
            <a:extLst>
              <a:ext uri="{FF2B5EF4-FFF2-40B4-BE49-F238E27FC236}">
                <a16:creationId xmlns:a16="http://schemas.microsoft.com/office/drawing/2014/main" id="{48E05549-E672-59EB-0D6D-DA5BD5DB0EED}"/>
              </a:ext>
              <a:ext uri="{C183D7F6-B498-43B3-948B-1728B52AA6E4}">
                <adec:decorative xmlns:adec="http://schemas.microsoft.com/office/drawing/2017/decorative" val="1"/>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269408" y="4128724"/>
            <a:ext cx="1259314" cy="1259314"/>
          </a:xfrm>
          <a:prstGeom prst="rect">
            <a:avLst/>
          </a:prstGeom>
        </p:spPr>
      </p:pic>
      <p:pic>
        <p:nvPicPr>
          <p:cNvPr id="24" name="Graphic 23">
            <a:extLst>
              <a:ext uri="{FF2B5EF4-FFF2-40B4-BE49-F238E27FC236}">
                <a16:creationId xmlns:a16="http://schemas.microsoft.com/office/drawing/2014/main" id="{023D0878-BCE5-9D20-46E2-F390A155A5E2}"/>
              </a:ext>
              <a:ext uri="{C183D7F6-B498-43B3-948B-1728B52AA6E4}">
                <adec:decorative xmlns:adec="http://schemas.microsoft.com/office/drawing/2017/decorative" val="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1017149" y="1844869"/>
            <a:ext cx="1259314" cy="1259314"/>
          </a:xfrm>
          <a:prstGeom prst="rect">
            <a:avLst/>
          </a:prstGeom>
        </p:spPr>
      </p:pic>
    </p:spTree>
    <p:extLst>
      <p:ext uri="{BB962C8B-B14F-4D97-AF65-F5344CB8AC3E}">
        <p14:creationId xmlns:p14="http://schemas.microsoft.com/office/powerpoint/2010/main" val="40759490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ED3462-D94D-8946-829A-2ED759308094}"/>
              </a:ext>
            </a:extLst>
          </p:cNvPr>
          <p:cNvSpPr>
            <a:spLocks noGrp="1"/>
          </p:cNvSpPr>
          <p:nvPr>
            <p:ph type="title"/>
          </p:nvPr>
        </p:nvSpPr>
        <p:spPr>
          <a:xfrm>
            <a:off x="685800" y="340149"/>
            <a:ext cx="10789920" cy="1080438"/>
          </a:xfrm>
        </p:spPr>
        <p:txBody>
          <a:bodyPr/>
          <a:lstStyle/>
          <a:p>
            <a:r>
              <a:rPr lang="en-US" dirty="0"/>
              <a:t>Challenges of building an inclusive environment</a:t>
            </a:r>
          </a:p>
        </p:txBody>
      </p:sp>
      <p:sp>
        <p:nvSpPr>
          <p:cNvPr id="58" name="TextBox 57">
            <a:extLst>
              <a:ext uri="{FF2B5EF4-FFF2-40B4-BE49-F238E27FC236}">
                <a16:creationId xmlns:a16="http://schemas.microsoft.com/office/drawing/2014/main" id="{C78DDF66-6EBD-6846-A029-1C36E8D538DF}"/>
              </a:ext>
            </a:extLst>
          </p:cNvPr>
          <p:cNvSpPr txBox="1"/>
          <p:nvPr/>
        </p:nvSpPr>
        <p:spPr>
          <a:xfrm>
            <a:off x="2441663" y="1459745"/>
            <a:ext cx="2054916" cy="923330"/>
          </a:xfrm>
          <a:prstGeom prst="rect">
            <a:avLst/>
          </a:prstGeom>
          <a:noFill/>
        </p:spPr>
        <p:txBody>
          <a:bodyPr wrap="square" lIns="137160" tIns="137160" rIns="137160" bIns="137160" rtlCol="0">
            <a:spAutoFit/>
          </a:bodyPr>
          <a:lstStyle/>
          <a:p>
            <a:r>
              <a:rPr lang="en-US" sz="1400" dirty="0"/>
              <a:t>Limited or no insight into how institution is performing</a:t>
            </a:r>
          </a:p>
        </p:txBody>
      </p:sp>
      <p:sp>
        <p:nvSpPr>
          <p:cNvPr id="59" name="TextBox 58">
            <a:extLst>
              <a:ext uri="{FF2B5EF4-FFF2-40B4-BE49-F238E27FC236}">
                <a16:creationId xmlns:a16="http://schemas.microsoft.com/office/drawing/2014/main" id="{BB0E9199-F739-444C-B82A-7184913E143A}"/>
              </a:ext>
            </a:extLst>
          </p:cNvPr>
          <p:cNvSpPr txBox="1"/>
          <p:nvPr/>
        </p:nvSpPr>
        <p:spPr>
          <a:xfrm>
            <a:off x="3818388" y="5220439"/>
            <a:ext cx="2076162" cy="923330"/>
          </a:xfrm>
          <a:prstGeom prst="rect">
            <a:avLst/>
          </a:prstGeom>
          <a:noFill/>
        </p:spPr>
        <p:txBody>
          <a:bodyPr wrap="square" lIns="137160" tIns="137160" rIns="137160" bIns="137160" rtlCol="0">
            <a:spAutoFit/>
          </a:bodyPr>
          <a:lstStyle/>
          <a:p>
            <a:r>
              <a:rPr lang="en-US" sz="1400" dirty="0"/>
              <a:t>Increased legal requirements and expectations</a:t>
            </a:r>
          </a:p>
        </p:txBody>
      </p:sp>
      <p:sp>
        <p:nvSpPr>
          <p:cNvPr id="61" name="TextBox 60">
            <a:extLst>
              <a:ext uri="{FF2B5EF4-FFF2-40B4-BE49-F238E27FC236}">
                <a16:creationId xmlns:a16="http://schemas.microsoft.com/office/drawing/2014/main" id="{8346F6F3-F1FA-E647-8B14-270F976AF113}"/>
              </a:ext>
            </a:extLst>
          </p:cNvPr>
          <p:cNvSpPr txBox="1"/>
          <p:nvPr/>
        </p:nvSpPr>
        <p:spPr>
          <a:xfrm>
            <a:off x="4400247" y="1425209"/>
            <a:ext cx="2143488" cy="923330"/>
          </a:xfrm>
          <a:prstGeom prst="rect">
            <a:avLst/>
          </a:prstGeom>
          <a:noFill/>
        </p:spPr>
        <p:txBody>
          <a:bodyPr wrap="square" lIns="137160" tIns="137160" rIns="137160" bIns="137160" rtlCol="0">
            <a:spAutoFit/>
          </a:bodyPr>
          <a:lstStyle/>
          <a:p>
            <a:r>
              <a:rPr lang="en-US" sz="1400" dirty="0"/>
              <a:t>Lack of awareness and understanding on how it can affect users</a:t>
            </a:r>
          </a:p>
        </p:txBody>
      </p:sp>
      <p:sp>
        <p:nvSpPr>
          <p:cNvPr id="60" name="TextBox 59">
            <a:extLst>
              <a:ext uri="{FF2B5EF4-FFF2-40B4-BE49-F238E27FC236}">
                <a16:creationId xmlns:a16="http://schemas.microsoft.com/office/drawing/2014/main" id="{9197C9C5-7FD3-8E4B-9EBC-F76904E5239C}"/>
              </a:ext>
            </a:extLst>
          </p:cNvPr>
          <p:cNvSpPr txBox="1"/>
          <p:nvPr/>
        </p:nvSpPr>
        <p:spPr>
          <a:xfrm>
            <a:off x="5894551" y="5220439"/>
            <a:ext cx="2021970" cy="923330"/>
          </a:xfrm>
          <a:prstGeom prst="rect">
            <a:avLst/>
          </a:prstGeom>
          <a:noFill/>
        </p:spPr>
        <p:txBody>
          <a:bodyPr wrap="square" lIns="137160" tIns="137160" rIns="137160" bIns="137160" rtlCol="0">
            <a:spAutoFit/>
          </a:bodyPr>
          <a:lstStyle/>
          <a:p>
            <a:r>
              <a:rPr lang="en-US" sz="1400" dirty="0"/>
              <a:t>Lack of instructor guidance on how to improve accessibility</a:t>
            </a:r>
          </a:p>
        </p:txBody>
      </p:sp>
      <p:sp>
        <p:nvSpPr>
          <p:cNvPr id="62" name="TextBox 61">
            <a:extLst>
              <a:ext uri="{FF2B5EF4-FFF2-40B4-BE49-F238E27FC236}">
                <a16:creationId xmlns:a16="http://schemas.microsoft.com/office/drawing/2014/main" id="{708EB56C-86CA-5540-90D2-460F02A62EE8}"/>
              </a:ext>
            </a:extLst>
          </p:cNvPr>
          <p:cNvSpPr txBox="1"/>
          <p:nvPr/>
        </p:nvSpPr>
        <p:spPr>
          <a:xfrm>
            <a:off x="6789567" y="1351792"/>
            <a:ext cx="2356357" cy="1138773"/>
          </a:xfrm>
          <a:prstGeom prst="rect">
            <a:avLst/>
          </a:prstGeom>
          <a:noFill/>
        </p:spPr>
        <p:txBody>
          <a:bodyPr wrap="square" lIns="137160" tIns="137160" rIns="137160" bIns="137160" rtlCol="0">
            <a:spAutoFit/>
          </a:bodyPr>
          <a:lstStyle/>
          <a:p>
            <a:r>
              <a:rPr lang="en-US" sz="1400" dirty="0"/>
              <a:t>Explicit alternative format requests often exclude many students and include long delays</a:t>
            </a:r>
          </a:p>
        </p:txBody>
      </p:sp>
      <p:sp>
        <p:nvSpPr>
          <p:cNvPr id="43" name="TextBox 42">
            <a:extLst>
              <a:ext uri="{FF2B5EF4-FFF2-40B4-BE49-F238E27FC236}">
                <a16:creationId xmlns:a16="http://schemas.microsoft.com/office/drawing/2014/main" id="{289E127D-B5C6-5345-9D34-12EFE07D6CD9}"/>
              </a:ext>
            </a:extLst>
          </p:cNvPr>
          <p:cNvSpPr txBox="1"/>
          <p:nvPr/>
        </p:nvSpPr>
        <p:spPr>
          <a:xfrm>
            <a:off x="7916521" y="5220439"/>
            <a:ext cx="2454113" cy="923330"/>
          </a:xfrm>
          <a:prstGeom prst="rect">
            <a:avLst/>
          </a:prstGeom>
          <a:noFill/>
        </p:spPr>
        <p:txBody>
          <a:bodyPr wrap="square" lIns="137160" tIns="137160" rIns="137160" bIns="137160" rtlCol="0">
            <a:spAutoFit/>
          </a:bodyPr>
          <a:lstStyle/>
          <a:p>
            <a:r>
              <a:rPr lang="en-US" sz="1400" dirty="0"/>
              <a:t>Students are looking for more universally designed content and flexibility</a:t>
            </a:r>
          </a:p>
        </p:txBody>
      </p:sp>
      <p:sp>
        <p:nvSpPr>
          <p:cNvPr id="11" name="Freeform 4">
            <a:extLst>
              <a:ext uri="{FF2B5EF4-FFF2-40B4-BE49-F238E27FC236}">
                <a16:creationId xmlns:a16="http://schemas.microsoft.com/office/drawing/2014/main" id="{E48ED24B-18A3-7A4F-8F29-619BAA0D1EAA}"/>
              </a:ext>
              <a:ext uri="{C183D7F6-B498-43B3-948B-1728B52AA6E4}">
                <adec:decorative xmlns:adec="http://schemas.microsoft.com/office/drawing/2017/decorative" val="1"/>
              </a:ext>
            </a:extLst>
          </p:cNvPr>
          <p:cNvSpPr>
            <a:spLocks noChangeArrowheads="1"/>
          </p:cNvSpPr>
          <p:nvPr/>
        </p:nvSpPr>
        <p:spPr bwMode="auto">
          <a:xfrm>
            <a:off x="2480013" y="3698245"/>
            <a:ext cx="7165975" cy="246063"/>
          </a:xfrm>
          <a:custGeom>
            <a:avLst/>
            <a:gdLst>
              <a:gd name="T0" fmla="*/ 349 w 19906"/>
              <a:gd name="T1" fmla="*/ 681 h 682"/>
              <a:gd name="T2" fmla="*/ 0 w 19906"/>
              <a:gd name="T3" fmla="*/ 340 h 682"/>
              <a:gd name="T4" fmla="*/ 349 w 19906"/>
              <a:gd name="T5" fmla="*/ 0 h 682"/>
              <a:gd name="T6" fmla="*/ 19556 w 19906"/>
              <a:gd name="T7" fmla="*/ 0 h 682"/>
              <a:gd name="T8" fmla="*/ 19905 w 19906"/>
              <a:gd name="T9" fmla="*/ 340 h 682"/>
              <a:gd name="T10" fmla="*/ 19556 w 19906"/>
              <a:gd name="T11" fmla="*/ 681 h 682"/>
              <a:gd name="T12" fmla="*/ 349 w 19906"/>
              <a:gd name="T13" fmla="*/ 681 h 682"/>
            </a:gdLst>
            <a:ahLst/>
            <a:cxnLst>
              <a:cxn ang="0">
                <a:pos x="T0" y="T1"/>
              </a:cxn>
              <a:cxn ang="0">
                <a:pos x="T2" y="T3"/>
              </a:cxn>
              <a:cxn ang="0">
                <a:pos x="T4" y="T5"/>
              </a:cxn>
              <a:cxn ang="0">
                <a:pos x="T6" y="T7"/>
              </a:cxn>
              <a:cxn ang="0">
                <a:pos x="T8" y="T9"/>
              </a:cxn>
              <a:cxn ang="0">
                <a:pos x="T10" y="T11"/>
              </a:cxn>
              <a:cxn ang="0">
                <a:pos x="T12" y="T13"/>
              </a:cxn>
            </a:cxnLst>
            <a:rect l="0" t="0" r="r" b="b"/>
            <a:pathLst>
              <a:path w="19906" h="682">
                <a:moveTo>
                  <a:pt x="349" y="681"/>
                </a:moveTo>
                <a:cubicBezTo>
                  <a:pt x="156" y="681"/>
                  <a:pt x="0" y="529"/>
                  <a:pt x="0" y="340"/>
                </a:cubicBezTo>
                <a:cubicBezTo>
                  <a:pt x="0" y="152"/>
                  <a:pt x="156" y="0"/>
                  <a:pt x="349" y="0"/>
                </a:cubicBezTo>
                <a:lnTo>
                  <a:pt x="19556" y="0"/>
                </a:lnTo>
                <a:cubicBezTo>
                  <a:pt x="19749" y="0"/>
                  <a:pt x="19905" y="152"/>
                  <a:pt x="19905" y="340"/>
                </a:cubicBezTo>
                <a:cubicBezTo>
                  <a:pt x="19905" y="529"/>
                  <a:pt x="19749" y="681"/>
                  <a:pt x="19556" y="681"/>
                </a:cubicBezTo>
                <a:lnTo>
                  <a:pt x="349" y="681"/>
                </a:lnTo>
              </a:path>
            </a:pathLst>
          </a:custGeom>
          <a:solidFill>
            <a:schemeClr val="bg1">
              <a:lumMod val="85000"/>
            </a:schemeClr>
          </a:solidFill>
          <a:ln>
            <a:noFill/>
          </a:ln>
          <a:effectLst/>
        </p:spPr>
        <p:txBody>
          <a:bodyPr wrap="none" anchor="ctr"/>
          <a:lstStyle/>
          <a:p>
            <a:endParaRPr lang="en-US" sz="1800"/>
          </a:p>
        </p:txBody>
      </p:sp>
      <p:grpSp>
        <p:nvGrpSpPr>
          <p:cNvPr id="137" name="Group 136">
            <a:extLst>
              <a:ext uri="{FF2B5EF4-FFF2-40B4-BE49-F238E27FC236}">
                <a16:creationId xmlns:a16="http://schemas.microsoft.com/office/drawing/2014/main" id="{EB41C569-F3E4-1547-8F0F-F22BF11795FD}"/>
              </a:ext>
              <a:ext uri="{C183D7F6-B498-43B3-948B-1728B52AA6E4}">
                <adec:decorative xmlns:adec="http://schemas.microsoft.com/office/drawing/2017/decorative" val="1"/>
              </a:ext>
            </a:extLst>
          </p:cNvPr>
          <p:cNvGrpSpPr>
            <a:grpSpLocks noChangeAspect="1"/>
          </p:cNvGrpSpPr>
          <p:nvPr/>
        </p:nvGrpSpPr>
        <p:grpSpPr>
          <a:xfrm>
            <a:off x="2116475" y="3463291"/>
            <a:ext cx="702000" cy="702000"/>
            <a:chOff x="592474" y="3463291"/>
            <a:chExt cx="717551" cy="717551"/>
          </a:xfrm>
        </p:grpSpPr>
        <p:sp>
          <p:nvSpPr>
            <p:cNvPr id="37" name="Freeform 37">
              <a:extLst>
                <a:ext uri="{FF2B5EF4-FFF2-40B4-BE49-F238E27FC236}">
                  <a16:creationId xmlns:a16="http://schemas.microsoft.com/office/drawing/2014/main" id="{1E387559-D751-3549-BED2-EDECC4758411}"/>
                </a:ext>
              </a:extLst>
            </p:cNvPr>
            <p:cNvSpPr>
              <a:spLocks noChangeArrowheads="1"/>
            </p:cNvSpPr>
            <p:nvPr/>
          </p:nvSpPr>
          <p:spPr bwMode="auto">
            <a:xfrm>
              <a:off x="592474" y="3463291"/>
              <a:ext cx="717551" cy="717551"/>
            </a:xfrm>
            <a:custGeom>
              <a:avLst/>
              <a:gdLst>
                <a:gd name="T0" fmla="*/ 1994 w 1995"/>
                <a:gd name="T1" fmla="*/ 997 h 1995"/>
                <a:gd name="T2" fmla="*/ 1861 w 1995"/>
                <a:gd name="T3" fmla="*/ 1495 h 1995"/>
                <a:gd name="T4" fmla="*/ 1496 w 1995"/>
                <a:gd name="T5" fmla="*/ 1861 h 1995"/>
                <a:gd name="T6" fmla="*/ 997 w 1995"/>
                <a:gd name="T7" fmla="*/ 1994 h 1995"/>
                <a:gd name="T8" fmla="*/ 498 w 1995"/>
                <a:gd name="T9" fmla="*/ 1861 h 1995"/>
                <a:gd name="T10" fmla="*/ 133 w 1995"/>
                <a:gd name="T11" fmla="*/ 1495 h 1995"/>
                <a:gd name="T12" fmla="*/ 0 w 1995"/>
                <a:gd name="T13" fmla="*/ 997 h 1995"/>
                <a:gd name="T14" fmla="*/ 133 w 1995"/>
                <a:gd name="T15" fmla="*/ 499 h 1995"/>
                <a:gd name="T16" fmla="*/ 498 w 1995"/>
                <a:gd name="T17" fmla="*/ 134 h 1995"/>
                <a:gd name="T18" fmla="*/ 997 w 1995"/>
                <a:gd name="T19" fmla="*/ 0 h 1995"/>
                <a:gd name="T20" fmla="*/ 1496 w 1995"/>
                <a:gd name="T21" fmla="*/ 134 h 1995"/>
                <a:gd name="T22" fmla="*/ 1861 w 1995"/>
                <a:gd name="T23" fmla="*/ 499 h 1995"/>
                <a:gd name="T24" fmla="*/ 1994 w 1995"/>
                <a:gd name="T25" fmla="*/ 997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95" h="1995">
                  <a:moveTo>
                    <a:pt x="1994" y="997"/>
                  </a:moveTo>
                  <a:cubicBezTo>
                    <a:pt x="1994" y="1180"/>
                    <a:pt x="1952" y="1336"/>
                    <a:pt x="1861" y="1495"/>
                  </a:cubicBezTo>
                  <a:cubicBezTo>
                    <a:pt x="1769" y="1654"/>
                    <a:pt x="1655" y="1770"/>
                    <a:pt x="1496" y="1861"/>
                  </a:cubicBezTo>
                  <a:cubicBezTo>
                    <a:pt x="1337" y="1953"/>
                    <a:pt x="1181" y="1994"/>
                    <a:pt x="997" y="1994"/>
                  </a:cubicBezTo>
                  <a:cubicBezTo>
                    <a:pt x="813" y="1994"/>
                    <a:pt x="657" y="1953"/>
                    <a:pt x="498" y="1861"/>
                  </a:cubicBezTo>
                  <a:cubicBezTo>
                    <a:pt x="339" y="1770"/>
                    <a:pt x="225" y="1654"/>
                    <a:pt x="133" y="1495"/>
                  </a:cubicBezTo>
                  <a:cubicBezTo>
                    <a:pt x="41" y="1336"/>
                    <a:pt x="0" y="1181"/>
                    <a:pt x="0" y="997"/>
                  </a:cubicBezTo>
                  <a:cubicBezTo>
                    <a:pt x="0" y="814"/>
                    <a:pt x="41" y="658"/>
                    <a:pt x="133" y="499"/>
                  </a:cubicBezTo>
                  <a:cubicBezTo>
                    <a:pt x="225" y="340"/>
                    <a:pt x="339" y="226"/>
                    <a:pt x="498" y="134"/>
                  </a:cubicBezTo>
                  <a:cubicBezTo>
                    <a:pt x="657" y="42"/>
                    <a:pt x="813" y="0"/>
                    <a:pt x="997" y="0"/>
                  </a:cubicBezTo>
                  <a:cubicBezTo>
                    <a:pt x="1181" y="0"/>
                    <a:pt x="1337" y="42"/>
                    <a:pt x="1496" y="134"/>
                  </a:cubicBezTo>
                  <a:cubicBezTo>
                    <a:pt x="1655" y="226"/>
                    <a:pt x="1769" y="340"/>
                    <a:pt x="1861" y="499"/>
                  </a:cubicBezTo>
                  <a:cubicBezTo>
                    <a:pt x="1952" y="658"/>
                    <a:pt x="1994" y="814"/>
                    <a:pt x="1994" y="997"/>
                  </a:cubicBezTo>
                </a:path>
              </a:pathLst>
            </a:custGeom>
            <a:solidFill>
              <a:srgbClr val="4A90E2"/>
            </a:solidFill>
            <a:ln>
              <a:noFill/>
            </a:ln>
            <a:effectLst/>
            <a:extLst>
              <a:ext uri="{91240B29-F687-4F45-9708-019B960494DF}">
                <a14:hiddenLine xmlns:a14="http://schemas.microsoft.com/office/drawing/2010/main" w="9525" cap="rnd">
                  <a:solidFill>
                    <a:srgbClr val="FFFFFF"/>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81" name="Freeform 6">
              <a:extLst>
                <a:ext uri="{FF2B5EF4-FFF2-40B4-BE49-F238E27FC236}">
                  <a16:creationId xmlns:a16="http://schemas.microsoft.com/office/drawing/2014/main" id="{EA07BB99-39BA-5741-B71D-56AD1A1CBCDD}"/>
                </a:ext>
              </a:extLst>
            </p:cNvPr>
            <p:cNvSpPr>
              <a:spLocks noChangeArrowheads="1"/>
            </p:cNvSpPr>
            <p:nvPr/>
          </p:nvSpPr>
          <p:spPr bwMode="auto">
            <a:xfrm>
              <a:off x="753972" y="3567556"/>
              <a:ext cx="381000" cy="471487"/>
            </a:xfrm>
            <a:custGeom>
              <a:avLst/>
              <a:gdLst>
                <a:gd name="T0" fmla="*/ 755 w 1058"/>
                <a:gd name="T1" fmla="*/ 578 h 1308"/>
                <a:gd name="T2" fmla="*/ 755 w 1058"/>
                <a:gd name="T3" fmla="*/ 518 h 1308"/>
                <a:gd name="T4" fmla="*/ 516 w 1058"/>
                <a:gd name="T5" fmla="*/ 427 h 1308"/>
                <a:gd name="T6" fmla="*/ 277 w 1058"/>
                <a:gd name="T7" fmla="*/ 518 h 1308"/>
                <a:gd name="T8" fmla="*/ 277 w 1058"/>
                <a:gd name="T9" fmla="*/ 578 h 1308"/>
                <a:gd name="T10" fmla="*/ 0 w 1058"/>
                <a:gd name="T11" fmla="*/ 578 h 1308"/>
                <a:gd name="T12" fmla="*/ 0 w 1058"/>
                <a:gd name="T13" fmla="*/ 488 h 1308"/>
                <a:gd name="T14" fmla="*/ 529 w 1058"/>
                <a:gd name="T15" fmla="*/ 226 h 1308"/>
                <a:gd name="T16" fmla="*/ 1057 w 1058"/>
                <a:gd name="T17" fmla="*/ 488 h 1308"/>
                <a:gd name="T18" fmla="*/ 1057 w 1058"/>
                <a:gd name="T19" fmla="*/ 578 h 1308"/>
                <a:gd name="T20" fmla="*/ 755 w 1058"/>
                <a:gd name="T21" fmla="*/ 578 h 1308"/>
                <a:gd name="T22" fmla="*/ 603 w 1058"/>
                <a:gd name="T23" fmla="*/ 1131 h 1308"/>
                <a:gd name="T24" fmla="*/ 603 w 1058"/>
                <a:gd name="T25" fmla="*/ 904 h 1308"/>
                <a:gd name="T26" fmla="*/ 428 w 1058"/>
                <a:gd name="T27" fmla="*/ 904 h 1308"/>
                <a:gd name="T28" fmla="*/ 428 w 1058"/>
                <a:gd name="T29" fmla="*/ 1131 h 1308"/>
                <a:gd name="T30" fmla="*/ 76 w 1058"/>
                <a:gd name="T31" fmla="*/ 1131 h 1308"/>
                <a:gd name="T32" fmla="*/ 76 w 1058"/>
                <a:gd name="T33" fmla="*/ 629 h 1308"/>
                <a:gd name="T34" fmla="*/ 981 w 1058"/>
                <a:gd name="T35" fmla="*/ 629 h 1308"/>
                <a:gd name="T36" fmla="*/ 981 w 1058"/>
                <a:gd name="T37" fmla="*/ 1131 h 1308"/>
                <a:gd name="T38" fmla="*/ 603 w 1058"/>
                <a:gd name="T39" fmla="*/ 1131 h 1308"/>
                <a:gd name="T40" fmla="*/ 176 w 1058"/>
                <a:gd name="T41" fmla="*/ 1030 h 1308"/>
                <a:gd name="T42" fmla="*/ 176 w 1058"/>
                <a:gd name="T43" fmla="*/ 930 h 1308"/>
                <a:gd name="T44" fmla="*/ 277 w 1058"/>
                <a:gd name="T45" fmla="*/ 930 h 1308"/>
                <a:gd name="T46" fmla="*/ 277 w 1058"/>
                <a:gd name="T47" fmla="*/ 1030 h 1308"/>
                <a:gd name="T48" fmla="*/ 176 w 1058"/>
                <a:gd name="T49" fmla="*/ 1030 h 1308"/>
                <a:gd name="T50" fmla="*/ 176 w 1058"/>
                <a:gd name="T51" fmla="*/ 804 h 1308"/>
                <a:gd name="T52" fmla="*/ 176 w 1058"/>
                <a:gd name="T53" fmla="*/ 704 h 1308"/>
                <a:gd name="T54" fmla="*/ 277 w 1058"/>
                <a:gd name="T55" fmla="*/ 704 h 1308"/>
                <a:gd name="T56" fmla="*/ 277 w 1058"/>
                <a:gd name="T57" fmla="*/ 804 h 1308"/>
                <a:gd name="T58" fmla="*/ 176 w 1058"/>
                <a:gd name="T59" fmla="*/ 804 h 1308"/>
                <a:gd name="T60" fmla="*/ 780 w 1058"/>
                <a:gd name="T61" fmla="*/ 804 h 1308"/>
                <a:gd name="T62" fmla="*/ 780 w 1058"/>
                <a:gd name="T63" fmla="*/ 704 h 1308"/>
                <a:gd name="T64" fmla="*/ 880 w 1058"/>
                <a:gd name="T65" fmla="*/ 704 h 1308"/>
                <a:gd name="T66" fmla="*/ 880 w 1058"/>
                <a:gd name="T67" fmla="*/ 804 h 1308"/>
                <a:gd name="T68" fmla="*/ 780 w 1058"/>
                <a:gd name="T69" fmla="*/ 804 h 1308"/>
                <a:gd name="T70" fmla="*/ 478 w 1058"/>
                <a:gd name="T71" fmla="*/ 804 h 1308"/>
                <a:gd name="T72" fmla="*/ 478 w 1058"/>
                <a:gd name="T73" fmla="*/ 704 h 1308"/>
                <a:gd name="T74" fmla="*/ 578 w 1058"/>
                <a:gd name="T75" fmla="*/ 704 h 1308"/>
                <a:gd name="T76" fmla="*/ 578 w 1058"/>
                <a:gd name="T77" fmla="*/ 804 h 1308"/>
                <a:gd name="T78" fmla="*/ 478 w 1058"/>
                <a:gd name="T79" fmla="*/ 804 h 1308"/>
                <a:gd name="T80" fmla="*/ 780 w 1058"/>
                <a:gd name="T81" fmla="*/ 1030 h 1308"/>
                <a:gd name="T82" fmla="*/ 780 w 1058"/>
                <a:gd name="T83" fmla="*/ 930 h 1308"/>
                <a:gd name="T84" fmla="*/ 880 w 1058"/>
                <a:gd name="T85" fmla="*/ 930 h 1308"/>
                <a:gd name="T86" fmla="*/ 880 w 1058"/>
                <a:gd name="T87" fmla="*/ 1030 h 1308"/>
                <a:gd name="T88" fmla="*/ 780 w 1058"/>
                <a:gd name="T89" fmla="*/ 1030 h 1308"/>
                <a:gd name="T90" fmla="*/ 613 w 1058"/>
                <a:gd name="T91" fmla="*/ 23 h 1308"/>
                <a:gd name="T92" fmla="*/ 679 w 1058"/>
                <a:gd name="T93" fmla="*/ 23 h 1308"/>
                <a:gd name="T94" fmla="*/ 679 w 1058"/>
                <a:gd name="T95" fmla="*/ 142 h 1308"/>
                <a:gd name="T96" fmla="*/ 597 w 1058"/>
                <a:gd name="T97" fmla="*/ 142 h 1308"/>
                <a:gd name="T98" fmla="*/ 592 w 1058"/>
                <a:gd name="T99" fmla="*/ 118 h 1308"/>
                <a:gd name="T100" fmla="*/ 527 w 1058"/>
                <a:gd name="T101" fmla="*/ 118 h 1308"/>
                <a:gd name="T102" fmla="*/ 527 w 1058"/>
                <a:gd name="T103" fmla="*/ 201 h 1308"/>
                <a:gd name="T104" fmla="*/ 504 w 1058"/>
                <a:gd name="T105" fmla="*/ 201 h 1308"/>
                <a:gd name="T106" fmla="*/ 504 w 1058"/>
                <a:gd name="T107" fmla="*/ 0 h 1308"/>
                <a:gd name="T108" fmla="*/ 608 w 1058"/>
                <a:gd name="T109" fmla="*/ 0 h 1308"/>
                <a:gd name="T110" fmla="*/ 613 w 1058"/>
                <a:gd name="T111" fmla="*/ 23 h 1308"/>
                <a:gd name="T112" fmla="*/ 0 w 1058"/>
                <a:gd name="T113" fmla="*/ 1181 h 1308"/>
                <a:gd name="T114" fmla="*/ 1057 w 1058"/>
                <a:gd name="T115" fmla="*/ 1181 h 1308"/>
                <a:gd name="T116" fmla="*/ 1057 w 1058"/>
                <a:gd name="T117" fmla="*/ 1307 h 1308"/>
                <a:gd name="T118" fmla="*/ 0 w 1058"/>
                <a:gd name="T119" fmla="*/ 1307 h 1308"/>
                <a:gd name="T120" fmla="*/ 0 w 1058"/>
                <a:gd name="T121" fmla="*/ 1181 h 13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8" h="1308">
                  <a:moveTo>
                    <a:pt x="755" y="578"/>
                  </a:moveTo>
                  <a:lnTo>
                    <a:pt x="755" y="518"/>
                  </a:lnTo>
                  <a:lnTo>
                    <a:pt x="516" y="427"/>
                  </a:lnTo>
                  <a:lnTo>
                    <a:pt x="277" y="518"/>
                  </a:lnTo>
                  <a:lnTo>
                    <a:pt x="277" y="578"/>
                  </a:lnTo>
                  <a:lnTo>
                    <a:pt x="0" y="578"/>
                  </a:lnTo>
                  <a:lnTo>
                    <a:pt x="0" y="488"/>
                  </a:lnTo>
                  <a:lnTo>
                    <a:pt x="529" y="226"/>
                  </a:lnTo>
                  <a:lnTo>
                    <a:pt x="1057" y="488"/>
                  </a:lnTo>
                  <a:lnTo>
                    <a:pt x="1057" y="578"/>
                  </a:lnTo>
                  <a:lnTo>
                    <a:pt x="755" y="578"/>
                  </a:lnTo>
                  <a:close/>
                  <a:moveTo>
                    <a:pt x="603" y="1131"/>
                  </a:moveTo>
                  <a:lnTo>
                    <a:pt x="603" y="904"/>
                  </a:lnTo>
                  <a:lnTo>
                    <a:pt x="428" y="904"/>
                  </a:lnTo>
                  <a:lnTo>
                    <a:pt x="428" y="1131"/>
                  </a:lnTo>
                  <a:lnTo>
                    <a:pt x="76" y="1131"/>
                  </a:lnTo>
                  <a:lnTo>
                    <a:pt x="76" y="629"/>
                  </a:lnTo>
                  <a:lnTo>
                    <a:pt x="981" y="629"/>
                  </a:lnTo>
                  <a:lnTo>
                    <a:pt x="981" y="1131"/>
                  </a:lnTo>
                  <a:lnTo>
                    <a:pt x="603" y="1131"/>
                  </a:lnTo>
                  <a:close/>
                  <a:moveTo>
                    <a:pt x="176" y="1030"/>
                  </a:moveTo>
                  <a:lnTo>
                    <a:pt x="176" y="930"/>
                  </a:lnTo>
                  <a:lnTo>
                    <a:pt x="277" y="930"/>
                  </a:lnTo>
                  <a:lnTo>
                    <a:pt x="277" y="1030"/>
                  </a:lnTo>
                  <a:lnTo>
                    <a:pt x="176" y="1030"/>
                  </a:lnTo>
                  <a:close/>
                  <a:moveTo>
                    <a:pt x="176" y="804"/>
                  </a:moveTo>
                  <a:lnTo>
                    <a:pt x="176" y="704"/>
                  </a:lnTo>
                  <a:lnTo>
                    <a:pt x="277" y="704"/>
                  </a:lnTo>
                  <a:lnTo>
                    <a:pt x="277" y="804"/>
                  </a:lnTo>
                  <a:lnTo>
                    <a:pt x="176" y="804"/>
                  </a:lnTo>
                  <a:close/>
                  <a:moveTo>
                    <a:pt x="780" y="804"/>
                  </a:moveTo>
                  <a:lnTo>
                    <a:pt x="780" y="704"/>
                  </a:lnTo>
                  <a:lnTo>
                    <a:pt x="880" y="704"/>
                  </a:lnTo>
                  <a:lnTo>
                    <a:pt x="880" y="804"/>
                  </a:lnTo>
                  <a:lnTo>
                    <a:pt x="780" y="804"/>
                  </a:lnTo>
                  <a:close/>
                  <a:moveTo>
                    <a:pt x="478" y="804"/>
                  </a:moveTo>
                  <a:lnTo>
                    <a:pt x="478" y="704"/>
                  </a:lnTo>
                  <a:lnTo>
                    <a:pt x="578" y="704"/>
                  </a:lnTo>
                  <a:lnTo>
                    <a:pt x="578" y="804"/>
                  </a:lnTo>
                  <a:lnTo>
                    <a:pt x="478" y="804"/>
                  </a:lnTo>
                  <a:close/>
                  <a:moveTo>
                    <a:pt x="780" y="1030"/>
                  </a:moveTo>
                  <a:lnTo>
                    <a:pt x="780" y="930"/>
                  </a:lnTo>
                  <a:lnTo>
                    <a:pt x="880" y="930"/>
                  </a:lnTo>
                  <a:lnTo>
                    <a:pt x="880" y="1030"/>
                  </a:lnTo>
                  <a:lnTo>
                    <a:pt x="780" y="1030"/>
                  </a:lnTo>
                  <a:close/>
                  <a:moveTo>
                    <a:pt x="613" y="23"/>
                  </a:moveTo>
                  <a:lnTo>
                    <a:pt x="679" y="23"/>
                  </a:lnTo>
                  <a:lnTo>
                    <a:pt x="679" y="142"/>
                  </a:lnTo>
                  <a:lnTo>
                    <a:pt x="597" y="142"/>
                  </a:lnTo>
                  <a:lnTo>
                    <a:pt x="592" y="118"/>
                  </a:lnTo>
                  <a:lnTo>
                    <a:pt x="527" y="118"/>
                  </a:lnTo>
                  <a:lnTo>
                    <a:pt x="527" y="201"/>
                  </a:lnTo>
                  <a:lnTo>
                    <a:pt x="504" y="201"/>
                  </a:lnTo>
                  <a:lnTo>
                    <a:pt x="504" y="0"/>
                  </a:lnTo>
                  <a:lnTo>
                    <a:pt x="608" y="0"/>
                  </a:lnTo>
                  <a:lnTo>
                    <a:pt x="613" y="23"/>
                  </a:lnTo>
                  <a:close/>
                  <a:moveTo>
                    <a:pt x="0" y="1181"/>
                  </a:moveTo>
                  <a:lnTo>
                    <a:pt x="1057" y="1181"/>
                  </a:lnTo>
                  <a:lnTo>
                    <a:pt x="1057" y="1307"/>
                  </a:lnTo>
                  <a:lnTo>
                    <a:pt x="0" y="1307"/>
                  </a:lnTo>
                  <a:lnTo>
                    <a:pt x="0" y="1181"/>
                  </a:ln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grpSp>
      <p:grpSp>
        <p:nvGrpSpPr>
          <p:cNvPr id="3" name="Group 2">
            <a:extLst>
              <a:ext uri="{FF2B5EF4-FFF2-40B4-BE49-F238E27FC236}">
                <a16:creationId xmlns:a16="http://schemas.microsoft.com/office/drawing/2014/main" id="{FFBFFD85-7963-7E4D-A271-31B2BE44ECB5}"/>
              </a:ext>
              <a:ext uri="{C183D7F6-B498-43B3-948B-1728B52AA6E4}">
                <adec:decorative xmlns:adec="http://schemas.microsoft.com/office/drawing/2017/decorative" val="1"/>
              </a:ext>
            </a:extLst>
          </p:cNvPr>
          <p:cNvGrpSpPr/>
          <p:nvPr/>
        </p:nvGrpSpPr>
        <p:grpSpPr>
          <a:xfrm>
            <a:off x="3345199" y="2706057"/>
            <a:ext cx="246063" cy="1241425"/>
            <a:chOff x="1821198" y="2817341"/>
            <a:chExt cx="246062" cy="1241425"/>
          </a:xfrm>
        </p:grpSpPr>
        <p:sp>
          <p:nvSpPr>
            <p:cNvPr id="12" name="Freeform 5">
              <a:extLst>
                <a:ext uri="{FF2B5EF4-FFF2-40B4-BE49-F238E27FC236}">
                  <a16:creationId xmlns:a16="http://schemas.microsoft.com/office/drawing/2014/main" id="{ABC97ED8-DDD1-B446-A50A-A521E5FE2994}"/>
                </a:ext>
              </a:extLst>
            </p:cNvPr>
            <p:cNvSpPr>
              <a:spLocks noChangeArrowheads="1"/>
            </p:cNvSpPr>
            <p:nvPr/>
          </p:nvSpPr>
          <p:spPr bwMode="auto">
            <a:xfrm>
              <a:off x="1821198" y="2817341"/>
              <a:ext cx="246062" cy="1241425"/>
            </a:xfrm>
            <a:custGeom>
              <a:avLst/>
              <a:gdLst>
                <a:gd name="T0" fmla="*/ 682 w 684"/>
                <a:gd name="T1" fmla="*/ 3120 h 3449"/>
                <a:gd name="T2" fmla="*/ 341 w 684"/>
                <a:gd name="T3" fmla="*/ 3448 h 3449"/>
                <a:gd name="T4" fmla="*/ 0 w 684"/>
                <a:gd name="T5" fmla="*/ 3120 h 3449"/>
                <a:gd name="T6" fmla="*/ 0 w 684"/>
                <a:gd name="T7" fmla="*/ 3120 h 3449"/>
                <a:gd name="T8" fmla="*/ 0 w 684"/>
                <a:gd name="T9" fmla="*/ 0 h 3449"/>
                <a:gd name="T10" fmla="*/ 683 w 684"/>
                <a:gd name="T11" fmla="*/ 0 h 3449"/>
                <a:gd name="T12" fmla="*/ 683 w 684"/>
                <a:gd name="T13" fmla="*/ 3120 h 3449"/>
                <a:gd name="T14" fmla="*/ 682 w 684"/>
                <a:gd name="T15" fmla="*/ 3120 h 34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4" h="3449">
                  <a:moveTo>
                    <a:pt x="682" y="3120"/>
                  </a:moveTo>
                  <a:cubicBezTo>
                    <a:pt x="675" y="3302"/>
                    <a:pt x="525" y="3448"/>
                    <a:pt x="341" y="3448"/>
                  </a:cubicBezTo>
                  <a:cubicBezTo>
                    <a:pt x="157" y="3448"/>
                    <a:pt x="7" y="3302"/>
                    <a:pt x="0" y="3120"/>
                  </a:cubicBezTo>
                  <a:lnTo>
                    <a:pt x="0" y="3120"/>
                  </a:lnTo>
                  <a:lnTo>
                    <a:pt x="0" y="0"/>
                  </a:lnTo>
                  <a:lnTo>
                    <a:pt x="683" y="0"/>
                  </a:lnTo>
                  <a:lnTo>
                    <a:pt x="683" y="3120"/>
                  </a:lnTo>
                  <a:lnTo>
                    <a:pt x="682" y="3120"/>
                  </a:lnTo>
                </a:path>
              </a:pathLst>
            </a:custGeom>
            <a:solidFill>
              <a:srgbClr val="00C7D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dirty="0"/>
            </a:p>
          </p:txBody>
        </p:sp>
        <p:sp>
          <p:nvSpPr>
            <p:cNvPr id="13" name="Rectangle 12">
              <a:extLst>
                <a:ext uri="{FF2B5EF4-FFF2-40B4-BE49-F238E27FC236}">
                  <a16:creationId xmlns:a16="http://schemas.microsoft.com/office/drawing/2014/main" id="{C2BE66B7-5C8E-4D40-985D-86892CD492F0}"/>
                </a:ext>
              </a:extLst>
            </p:cNvPr>
            <p:cNvSpPr/>
            <p:nvPr/>
          </p:nvSpPr>
          <p:spPr bwMode="auto">
            <a:xfrm>
              <a:off x="1821198" y="3809528"/>
              <a:ext cx="246062" cy="142875"/>
            </a:xfrm>
            <a:prstGeom prst="rect">
              <a:avLst/>
            </a:prstGeom>
            <a:solidFill>
              <a:srgbClr val="01B5D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449239" fontAlgn="base" hangingPunct="0">
                <a:lnSpc>
                  <a:spcPct val="93000"/>
                </a:lnSpc>
                <a:spcBef>
                  <a:spcPct val="0"/>
                </a:spcBef>
                <a:spcAft>
                  <a:spcPct val="0"/>
                </a:spcAft>
                <a:buClr>
                  <a:srgbClr val="000000"/>
                </a:buClr>
                <a:buSzPct val="100000"/>
              </a:pPr>
              <a:endParaRPr lang="en-US" sz="1800">
                <a:latin typeface="Arial" panose="020B0604020202020204" pitchFamily="34" charset="0"/>
                <a:ea typeface="Arial Unicode MS" panose="020B0604020202020204" pitchFamily="34" charset="-128"/>
                <a:cs typeface="Arial Unicode MS" panose="020B0604020202020204" pitchFamily="34" charset="-128"/>
              </a:endParaRPr>
            </a:p>
          </p:txBody>
        </p:sp>
        <p:sp>
          <p:nvSpPr>
            <p:cNvPr id="14" name="Freeform 6">
              <a:extLst>
                <a:ext uri="{FF2B5EF4-FFF2-40B4-BE49-F238E27FC236}">
                  <a16:creationId xmlns:a16="http://schemas.microsoft.com/office/drawing/2014/main" id="{782D679F-06AC-2C4C-9933-A68496758248}"/>
                </a:ext>
              </a:extLst>
            </p:cNvPr>
            <p:cNvSpPr>
              <a:spLocks noChangeArrowheads="1"/>
            </p:cNvSpPr>
            <p:nvPr/>
          </p:nvSpPr>
          <p:spPr bwMode="auto">
            <a:xfrm>
              <a:off x="1821198" y="3809528"/>
              <a:ext cx="246062" cy="246063"/>
            </a:xfrm>
            <a:custGeom>
              <a:avLst/>
              <a:gdLst>
                <a:gd name="T0" fmla="*/ 683 w 684"/>
                <a:gd name="T1" fmla="*/ 340 h 682"/>
                <a:gd name="T2" fmla="*/ 637 w 684"/>
                <a:gd name="T3" fmla="*/ 511 h 682"/>
                <a:gd name="T4" fmla="*/ 512 w 684"/>
                <a:gd name="T5" fmla="*/ 636 h 682"/>
                <a:gd name="T6" fmla="*/ 341 w 684"/>
                <a:gd name="T7" fmla="*/ 681 h 682"/>
                <a:gd name="T8" fmla="*/ 171 w 684"/>
                <a:gd name="T9" fmla="*/ 636 h 682"/>
                <a:gd name="T10" fmla="*/ 46 w 684"/>
                <a:gd name="T11" fmla="*/ 511 h 682"/>
                <a:gd name="T12" fmla="*/ 0 w 684"/>
                <a:gd name="T13" fmla="*/ 340 h 682"/>
                <a:gd name="T14" fmla="*/ 46 w 684"/>
                <a:gd name="T15" fmla="*/ 170 h 682"/>
                <a:gd name="T16" fmla="*/ 171 w 684"/>
                <a:gd name="T17" fmla="*/ 46 h 682"/>
                <a:gd name="T18" fmla="*/ 341 w 684"/>
                <a:gd name="T19" fmla="*/ 0 h 682"/>
                <a:gd name="T20" fmla="*/ 512 w 684"/>
                <a:gd name="T21" fmla="*/ 46 h 682"/>
                <a:gd name="T22" fmla="*/ 637 w 684"/>
                <a:gd name="T23" fmla="*/ 170 h 682"/>
                <a:gd name="T24" fmla="*/ 683 w 684"/>
                <a:gd name="T25" fmla="*/ 34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4" h="682">
                  <a:moveTo>
                    <a:pt x="683" y="340"/>
                  </a:moveTo>
                  <a:cubicBezTo>
                    <a:pt x="683" y="403"/>
                    <a:pt x="668" y="457"/>
                    <a:pt x="637" y="511"/>
                  </a:cubicBezTo>
                  <a:cubicBezTo>
                    <a:pt x="605" y="566"/>
                    <a:pt x="566" y="605"/>
                    <a:pt x="512" y="636"/>
                  </a:cubicBezTo>
                  <a:cubicBezTo>
                    <a:pt x="458" y="668"/>
                    <a:pt x="404" y="681"/>
                    <a:pt x="341" y="681"/>
                  </a:cubicBezTo>
                  <a:cubicBezTo>
                    <a:pt x="278" y="681"/>
                    <a:pt x="225" y="668"/>
                    <a:pt x="171" y="636"/>
                  </a:cubicBezTo>
                  <a:cubicBezTo>
                    <a:pt x="116" y="605"/>
                    <a:pt x="77" y="566"/>
                    <a:pt x="46" y="511"/>
                  </a:cubicBezTo>
                  <a:cubicBezTo>
                    <a:pt x="14" y="457"/>
                    <a:pt x="0" y="403"/>
                    <a:pt x="0" y="340"/>
                  </a:cubicBezTo>
                  <a:cubicBezTo>
                    <a:pt x="0" y="278"/>
                    <a:pt x="14" y="224"/>
                    <a:pt x="46" y="170"/>
                  </a:cubicBezTo>
                  <a:cubicBezTo>
                    <a:pt x="77" y="115"/>
                    <a:pt x="116" y="77"/>
                    <a:pt x="171" y="46"/>
                  </a:cubicBezTo>
                  <a:cubicBezTo>
                    <a:pt x="225" y="14"/>
                    <a:pt x="278" y="0"/>
                    <a:pt x="341" y="0"/>
                  </a:cubicBezTo>
                  <a:cubicBezTo>
                    <a:pt x="404" y="0"/>
                    <a:pt x="458" y="14"/>
                    <a:pt x="512" y="46"/>
                  </a:cubicBezTo>
                  <a:cubicBezTo>
                    <a:pt x="566" y="77"/>
                    <a:pt x="605" y="115"/>
                    <a:pt x="637" y="170"/>
                  </a:cubicBezTo>
                  <a:cubicBezTo>
                    <a:pt x="668" y="224"/>
                    <a:pt x="683" y="278"/>
                    <a:pt x="683" y="340"/>
                  </a:cubicBezTo>
                </a:path>
              </a:pathLst>
            </a:custGeom>
            <a:solidFill>
              <a:srgbClr val="0191AE"/>
            </a:solidFill>
            <a:ln>
              <a:noFill/>
            </a:ln>
            <a:effectLst/>
          </p:spPr>
          <p:txBody>
            <a:bodyPr wrap="none" anchor="ctr"/>
            <a:lstStyle/>
            <a:p>
              <a:endParaRPr lang="en-US" sz="1800" dirty="0"/>
            </a:p>
          </p:txBody>
        </p:sp>
      </p:grpSp>
      <p:grpSp>
        <p:nvGrpSpPr>
          <p:cNvPr id="44" name="Group 43">
            <a:extLst>
              <a:ext uri="{FF2B5EF4-FFF2-40B4-BE49-F238E27FC236}">
                <a16:creationId xmlns:a16="http://schemas.microsoft.com/office/drawing/2014/main" id="{7F575FBD-263A-4D4C-92B0-788B2CE8A652}"/>
              </a:ext>
              <a:ext uri="{C183D7F6-B498-43B3-948B-1728B52AA6E4}">
                <adec:decorative xmlns:adec="http://schemas.microsoft.com/office/drawing/2017/decorative" val="1"/>
              </a:ext>
            </a:extLst>
          </p:cNvPr>
          <p:cNvGrpSpPr>
            <a:grpSpLocks noChangeAspect="1"/>
          </p:cNvGrpSpPr>
          <p:nvPr/>
        </p:nvGrpSpPr>
        <p:grpSpPr>
          <a:xfrm>
            <a:off x="3116387" y="2433801"/>
            <a:ext cx="702000" cy="701999"/>
            <a:chOff x="1586249" y="2194880"/>
            <a:chExt cx="728663" cy="728662"/>
          </a:xfrm>
        </p:grpSpPr>
        <p:sp>
          <p:nvSpPr>
            <p:cNvPr id="15" name="Freeform 7">
              <a:extLst>
                <a:ext uri="{FF2B5EF4-FFF2-40B4-BE49-F238E27FC236}">
                  <a16:creationId xmlns:a16="http://schemas.microsoft.com/office/drawing/2014/main" id="{61B53571-8475-AE41-BF09-707E15189436}"/>
                </a:ext>
              </a:extLst>
            </p:cNvPr>
            <p:cNvSpPr>
              <a:spLocks noChangeArrowheads="1"/>
            </p:cNvSpPr>
            <p:nvPr/>
          </p:nvSpPr>
          <p:spPr bwMode="auto">
            <a:xfrm>
              <a:off x="1586249" y="2194880"/>
              <a:ext cx="728663" cy="728662"/>
            </a:xfrm>
            <a:custGeom>
              <a:avLst/>
              <a:gdLst>
                <a:gd name="T0" fmla="*/ 2021 w 2022"/>
                <a:gd name="T1" fmla="*/ 1011 h 2023"/>
                <a:gd name="T2" fmla="*/ 1886 w 2022"/>
                <a:gd name="T3" fmla="*/ 1516 h 2023"/>
                <a:gd name="T4" fmla="*/ 1516 w 2022"/>
                <a:gd name="T5" fmla="*/ 1886 h 2023"/>
                <a:gd name="T6" fmla="*/ 1010 w 2022"/>
                <a:gd name="T7" fmla="*/ 2022 h 2023"/>
                <a:gd name="T8" fmla="*/ 505 w 2022"/>
                <a:gd name="T9" fmla="*/ 1886 h 2023"/>
                <a:gd name="T10" fmla="*/ 135 w 2022"/>
                <a:gd name="T11" fmla="*/ 1516 h 2023"/>
                <a:gd name="T12" fmla="*/ 0 w 2022"/>
                <a:gd name="T13" fmla="*/ 1011 h 2023"/>
                <a:gd name="T14" fmla="*/ 135 w 2022"/>
                <a:gd name="T15" fmla="*/ 505 h 2023"/>
                <a:gd name="T16" fmla="*/ 505 w 2022"/>
                <a:gd name="T17" fmla="*/ 135 h 2023"/>
                <a:gd name="T18" fmla="*/ 1010 w 2022"/>
                <a:gd name="T19" fmla="*/ 0 h 2023"/>
                <a:gd name="T20" fmla="*/ 1516 w 2022"/>
                <a:gd name="T21" fmla="*/ 135 h 2023"/>
                <a:gd name="T22" fmla="*/ 1886 w 2022"/>
                <a:gd name="T23" fmla="*/ 505 h 2023"/>
                <a:gd name="T24" fmla="*/ 2021 w 2022"/>
                <a:gd name="T25" fmla="*/ 1011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2" h="2023">
                  <a:moveTo>
                    <a:pt x="2021" y="1011"/>
                  </a:moveTo>
                  <a:cubicBezTo>
                    <a:pt x="2021" y="1197"/>
                    <a:pt x="1979" y="1355"/>
                    <a:pt x="1886" y="1516"/>
                  </a:cubicBezTo>
                  <a:cubicBezTo>
                    <a:pt x="1793" y="1677"/>
                    <a:pt x="1677" y="1793"/>
                    <a:pt x="1516" y="1886"/>
                  </a:cubicBezTo>
                  <a:cubicBezTo>
                    <a:pt x="1355" y="1979"/>
                    <a:pt x="1196" y="2022"/>
                    <a:pt x="1010" y="2022"/>
                  </a:cubicBezTo>
                  <a:cubicBezTo>
                    <a:pt x="824" y="2022"/>
                    <a:pt x="666" y="1979"/>
                    <a:pt x="505" y="1886"/>
                  </a:cubicBezTo>
                  <a:cubicBezTo>
                    <a:pt x="344" y="1793"/>
                    <a:pt x="228" y="1677"/>
                    <a:pt x="135" y="1516"/>
                  </a:cubicBezTo>
                  <a:cubicBezTo>
                    <a:pt x="42" y="1355"/>
                    <a:pt x="0" y="1197"/>
                    <a:pt x="0" y="1011"/>
                  </a:cubicBezTo>
                  <a:cubicBezTo>
                    <a:pt x="0" y="825"/>
                    <a:pt x="42" y="666"/>
                    <a:pt x="135" y="505"/>
                  </a:cubicBezTo>
                  <a:cubicBezTo>
                    <a:pt x="228" y="344"/>
                    <a:pt x="344" y="228"/>
                    <a:pt x="505" y="135"/>
                  </a:cubicBezTo>
                  <a:cubicBezTo>
                    <a:pt x="666" y="42"/>
                    <a:pt x="824" y="0"/>
                    <a:pt x="1010" y="0"/>
                  </a:cubicBezTo>
                  <a:cubicBezTo>
                    <a:pt x="1196" y="0"/>
                    <a:pt x="1355" y="42"/>
                    <a:pt x="1516" y="135"/>
                  </a:cubicBezTo>
                  <a:cubicBezTo>
                    <a:pt x="1677" y="228"/>
                    <a:pt x="1793" y="344"/>
                    <a:pt x="1886" y="505"/>
                  </a:cubicBezTo>
                  <a:cubicBezTo>
                    <a:pt x="1979" y="666"/>
                    <a:pt x="2021" y="825"/>
                    <a:pt x="2021" y="1011"/>
                  </a:cubicBezTo>
                </a:path>
              </a:pathLst>
            </a:custGeom>
            <a:solidFill>
              <a:srgbClr val="12151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dirty="0"/>
            </a:p>
          </p:txBody>
        </p:sp>
        <p:grpSp>
          <p:nvGrpSpPr>
            <p:cNvPr id="42" name="Group 41">
              <a:extLst>
                <a:ext uri="{FF2B5EF4-FFF2-40B4-BE49-F238E27FC236}">
                  <a16:creationId xmlns:a16="http://schemas.microsoft.com/office/drawing/2014/main" id="{DE282C7F-C768-AF4F-BCAD-01E669E03FE0}"/>
                </a:ext>
              </a:extLst>
            </p:cNvPr>
            <p:cNvGrpSpPr/>
            <p:nvPr/>
          </p:nvGrpSpPr>
          <p:grpSpPr>
            <a:xfrm>
              <a:off x="1734991" y="2361566"/>
              <a:ext cx="411646" cy="389444"/>
              <a:chOff x="1734991" y="2361566"/>
              <a:chExt cx="411646" cy="389444"/>
            </a:xfrm>
          </p:grpSpPr>
          <p:sp>
            <p:nvSpPr>
              <p:cNvPr id="16" name="Freeform 8">
                <a:extLst>
                  <a:ext uri="{FF2B5EF4-FFF2-40B4-BE49-F238E27FC236}">
                    <a16:creationId xmlns:a16="http://schemas.microsoft.com/office/drawing/2014/main" id="{87B8A975-D39C-3445-B715-B314120F08AD}"/>
                  </a:ext>
                </a:extLst>
              </p:cNvPr>
              <p:cNvSpPr>
                <a:spLocks noChangeArrowheads="1"/>
              </p:cNvSpPr>
              <p:nvPr/>
            </p:nvSpPr>
            <p:spPr bwMode="auto">
              <a:xfrm>
                <a:off x="1734991" y="2366835"/>
                <a:ext cx="390525" cy="384175"/>
              </a:xfrm>
              <a:custGeom>
                <a:avLst/>
                <a:gdLst>
                  <a:gd name="T0" fmla="*/ 245 w 1085"/>
                  <a:gd name="T1" fmla="*/ 738 h 1066"/>
                  <a:gd name="T2" fmla="*/ 298 w 1085"/>
                  <a:gd name="T3" fmla="*/ 738 h 1066"/>
                  <a:gd name="T4" fmla="*/ 317 w 1085"/>
                  <a:gd name="T5" fmla="*/ 720 h 1066"/>
                  <a:gd name="T6" fmla="*/ 212 w 1085"/>
                  <a:gd name="T7" fmla="*/ 436 h 1066"/>
                  <a:gd name="T8" fmla="*/ 648 w 1085"/>
                  <a:gd name="T9" fmla="*/ 0 h 1066"/>
                  <a:gd name="T10" fmla="*/ 1084 w 1085"/>
                  <a:gd name="T11" fmla="*/ 436 h 1066"/>
                  <a:gd name="T12" fmla="*/ 648 w 1085"/>
                  <a:gd name="T13" fmla="*/ 872 h 1066"/>
                  <a:gd name="T14" fmla="*/ 364 w 1085"/>
                  <a:gd name="T15" fmla="*/ 767 h 1066"/>
                  <a:gd name="T16" fmla="*/ 346 w 1085"/>
                  <a:gd name="T17" fmla="*/ 786 h 1066"/>
                  <a:gd name="T18" fmla="*/ 346 w 1085"/>
                  <a:gd name="T19" fmla="*/ 839 h 1066"/>
                  <a:gd name="T20" fmla="*/ 100 w 1085"/>
                  <a:gd name="T21" fmla="*/ 1065 h 1066"/>
                  <a:gd name="T22" fmla="*/ 0 w 1085"/>
                  <a:gd name="T23" fmla="*/ 965 h 1066"/>
                  <a:gd name="T24" fmla="*/ 245 w 1085"/>
                  <a:gd name="T25" fmla="*/ 738 h 1066"/>
                  <a:gd name="T26" fmla="*/ 648 w 1085"/>
                  <a:gd name="T27" fmla="*/ 737 h 1066"/>
                  <a:gd name="T28" fmla="*/ 948 w 1085"/>
                  <a:gd name="T29" fmla="*/ 437 h 1066"/>
                  <a:gd name="T30" fmla="*/ 648 w 1085"/>
                  <a:gd name="T31" fmla="*/ 136 h 1066"/>
                  <a:gd name="T32" fmla="*/ 347 w 1085"/>
                  <a:gd name="T33" fmla="*/ 437 h 1066"/>
                  <a:gd name="T34" fmla="*/ 648 w 1085"/>
                  <a:gd name="T35" fmla="*/ 737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85" h="1066">
                    <a:moveTo>
                      <a:pt x="245" y="738"/>
                    </a:moveTo>
                    <a:lnTo>
                      <a:pt x="298" y="738"/>
                    </a:lnTo>
                    <a:lnTo>
                      <a:pt x="317" y="720"/>
                    </a:lnTo>
                    <a:cubicBezTo>
                      <a:pt x="251" y="644"/>
                      <a:pt x="212" y="544"/>
                      <a:pt x="212" y="436"/>
                    </a:cubicBezTo>
                    <a:cubicBezTo>
                      <a:pt x="212" y="195"/>
                      <a:pt x="407" y="0"/>
                      <a:pt x="648" y="0"/>
                    </a:cubicBezTo>
                    <a:cubicBezTo>
                      <a:pt x="889" y="0"/>
                      <a:pt x="1084" y="195"/>
                      <a:pt x="1084" y="436"/>
                    </a:cubicBezTo>
                    <a:cubicBezTo>
                      <a:pt x="1084" y="677"/>
                      <a:pt x="889" y="872"/>
                      <a:pt x="648" y="872"/>
                    </a:cubicBezTo>
                    <a:cubicBezTo>
                      <a:pt x="540" y="872"/>
                      <a:pt x="441" y="833"/>
                      <a:pt x="364" y="767"/>
                    </a:cubicBezTo>
                    <a:lnTo>
                      <a:pt x="346" y="786"/>
                    </a:lnTo>
                    <a:lnTo>
                      <a:pt x="346" y="839"/>
                    </a:lnTo>
                    <a:lnTo>
                      <a:pt x="100" y="1065"/>
                    </a:lnTo>
                    <a:lnTo>
                      <a:pt x="0" y="965"/>
                    </a:lnTo>
                    <a:lnTo>
                      <a:pt x="245" y="738"/>
                    </a:lnTo>
                    <a:close/>
                    <a:moveTo>
                      <a:pt x="648" y="737"/>
                    </a:moveTo>
                    <a:cubicBezTo>
                      <a:pt x="814" y="737"/>
                      <a:pt x="948" y="603"/>
                      <a:pt x="948" y="437"/>
                    </a:cubicBezTo>
                    <a:cubicBezTo>
                      <a:pt x="948" y="270"/>
                      <a:pt x="814" y="136"/>
                      <a:pt x="648" y="136"/>
                    </a:cubicBezTo>
                    <a:cubicBezTo>
                      <a:pt x="481" y="136"/>
                      <a:pt x="347" y="270"/>
                      <a:pt x="347" y="437"/>
                    </a:cubicBezTo>
                    <a:cubicBezTo>
                      <a:pt x="347" y="603"/>
                      <a:pt x="481" y="737"/>
                      <a:pt x="648" y="737"/>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17" name="Freeform 9">
                <a:extLst>
                  <a:ext uri="{FF2B5EF4-FFF2-40B4-BE49-F238E27FC236}">
                    <a16:creationId xmlns:a16="http://schemas.microsoft.com/office/drawing/2014/main" id="{8B74A3A4-C660-3D47-875C-0589B0A71994}"/>
                  </a:ext>
                </a:extLst>
              </p:cNvPr>
              <p:cNvSpPr>
                <a:spLocks noChangeArrowheads="1"/>
              </p:cNvSpPr>
              <p:nvPr/>
            </p:nvSpPr>
            <p:spPr bwMode="auto">
              <a:xfrm>
                <a:off x="1802150" y="2361566"/>
                <a:ext cx="344487" cy="344488"/>
              </a:xfrm>
              <a:custGeom>
                <a:avLst/>
                <a:gdLst>
                  <a:gd name="T0" fmla="*/ 97 w 959"/>
                  <a:gd name="T1" fmla="*/ 0 h 959"/>
                  <a:gd name="T2" fmla="*/ 0 w 959"/>
                  <a:gd name="T3" fmla="*/ 97 h 959"/>
                  <a:gd name="T4" fmla="*/ 861 w 959"/>
                  <a:gd name="T5" fmla="*/ 958 h 959"/>
                  <a:gd name="T6" fmla="*/ 958 w 959"/>
                  <a:gd name="T7" fmla="*/ 861 h 959"/>
                  <a:gd name="T8" fmla="*/ 97 w 959"/>
                  <a:gd name="T9" fmla="*/ 0 h 959"/>
                </a:gdLst>
                <a:ahLst/>
                <a:cxnLst>
                  <a:cxn ang="0">
                    <a:pos x="T0" y="T1"/>
                  </a:cxn>
                  <a:cxn ang="0">
                    <a:pos x="T2" y="T3"/>
                  </a:cxn>
                  <a:cxn ang="0">
                    <a:pos x="T4" y="T5"/>
                  </a:cxn>
                  <a:cxn ang="0">
                    <a:pos x="T6" y="T7"/>
                  </a:cxn>
                  <a:cxn ang="0">
                    <a:pos x="T8" y="T9"/>
                  </a:cxn>
                </a:cxnLst>
                <a:rect l="0" t="0" r="r" b="b"/>
                <a:pathLst>
                  <a:path w="959" h="959">
                    <a:moveTo>
                      <a:pt x="97" y="0"/>
                    </a:moveTo>
                    <a:lnTo>
                      <a:pt x="0" y="97"/>
                    </a:lnTo>
                    <a:lnTo>
                      <a:pt x="861" y="958"/>
                    </a:lnTo>
                    <a:lnTo>
                      <a:pt x="958" y="861"/>
                    </a:lnTo>
                    <a:lnTo>
                      <a:pt x="97" y="0"/>
                    </a:lnTo>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dirty="0"/>
              </a:p>
            </p:txBody>
          </p:sp>
          <p:sp>
            <p:nvSpPr>
              <p:cNvPr id="18" name="Freeform 10">
                <a:extLst>
                  <a:ext uri="{FF2B5EF4-FFF2-40B4-BE49-F238E27FC236}">
                    <a16:creationId xmlns:a16="http://schemas.microsoft.com/office/drawing/2014/main" id="{81725C12-6C49-D543-9F3F-07B0C65D56CE}"/>
                  </a:ext>
                </a:extLst>
              </p:cNvPr>
              <p:cNvSpPr>
                <a:spLocks noChangeArrowheads="1"/>
              </p:cNvSpPr>
              <p:nvPr/>
            </p:nvSpPr>
            <p:spPr bwMode="auto">
              <a:xfrm>
                <a:off x="1771985" y="2380616"/>
                <a:ext cx="355600" cy="355600"/>
              </a:xfrm>
              <a:custGeom>
                <a:avLst/>
                <a:gdLst>
                  <a:gd name="T0" fmla="*/ 97 w 986"/>
                  <a:gd name="T1" fmla="*/ 0 h 986"/>
                  <a:gd name="T2" fmla="*/ 0 w 986"/>
                  <a:gd name="T3" fmla="*/ 96 h 986"/>
                  <a:gd name="T4" fmla="*/ 889 w 986"/>
                  <a:gd name="T5" fmla="*/ 985 h 986"/>
                  <a:gd name="T6" fmla="*/ 985 w 986"/>
                  <a:gd name="T7" fmla="*/ 888 h 986"/>
                  <a:gd name="T8" fmla="*/ 97 w 986"/>
                  <a:gd name="T9" fmla="*/ 0 h 986"/>
                </a:gdLst>
                <a:ahLst/>
                <a:cxnLst>
                  <a:cxn ang="0">
                    <a:pos x="T0" y="T1"/>
                  </a:cxn>
                  <a:cxn ang="0">
                    <a:pos x="T2" y="T3"/>
                  </a:cxn>
                  <a:cxn ang="0">
                    <a:pos x="T4" y="T5"/>
                  </a:cxn>
                  <a:cxn ang="0">
                    <a:pos x="T6" y="T7"/>
                  </a:cxn>
                  <a:cxn ang="0">
                    <a:pos x="T8" y="T9"/>
                  </a:cxn>
                </a:cxnLst>
                <a:rect l="0" t="0" r="r" b="b"/>
                <a:pathLst>
                  <a:path w="986" h="986">
                    <a:moveTo>
                      <a:pt x="97" y="0"/>
                    </a:moveTo>
                    <a:lnTo>
                      <a:pt x="0" y="96"/>
                    </a:lnTo>
                    <a:lnTo>
                      <a:pt x="889" y="985"/>
                    </a:lnTo>
                    <a:lnTo>
                      <a:pt x="985" y="888"/>
                    </a:lnTo>
                    <a:lnTo>
                      <a:pt x="97" y="0"/>
                    </a:lnTo>
                  </a:path>
                </a:pathLst>
              </a:custGeom>
              <a:solidFill>
                <a:srgbClr val="12151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grpSp>
      </p:grpSp>
      <p:sp>
        <p:nvSpPr>
          <p:cNvPr id="21" name="Freeform 20">
            <a:extLst>
              <a:ext uri="{FF2B5EF4-FFF2-40B4-BE49-F238E27FC236}">
                <a16:creationId xmlns:a16="http://schemas.microsoft.com/office/drawing/2014/main" id="{F3D909F1-49D7-1E4E-8C2A-B278CD323F89}"/>
              </a:ext>
              <a:ext uri="{C183D7F6-B498-43B3-948B-1728B52AA6E4}">
                <adec:decorative xmlns:adec="http://schemas.microsoft.com/office/drawing/2017/decorative" val="1"/>
              </a:ext>
            </a:extLst>
          </p:cNvPr>
          <p:cNvSpPr>
            <a:spLocks noChangeArrowheads="1"/>
          </p:cNvSpPr>
          <p:nvPr/>
        </p:nvSpPr>
        <p:spPr bwMode="auto">
          <a:xfrm>
            <a:off x="4683463" y="3698244"/>
            <a:ext cx="246063" cy="1241425"/>
          </a:xfrm>
          <a:custGeom>
            <a:avLst/>
            <a:gdLst>
              <a:gd name="T0" fmla="*/ 682 w 683"/>
              <a:gd name="T1" fmla="*/ 327 h 3449"/>
              <a:gd name="T2" fmla="*/ 341 w 683"/>
              <a:gd name="T3" fmla="*/ 0 h 3449"/>
              <a:gd name="T4" fmla="*/ 0 w 683"/>
              <a:gd name="T5" fmla="*/ 327 h 3449"/>
              <a:gd name="T6" fmla="*/ 0 w 683"/>
              <a:gd name="T7" fmla="*/ 327 h 3449"/>
              <a:gd name="T8" fmla="*/ 0 w 683"/>
              <a:gd name="T9" fmla="*/ 3448 h 3449"/>
              <a:gd name="T10" fmla="*/ 682 w 683"/>
              <a:gd name="T11" fmla="*/ 3448 h 3449"/>
              <a:gd name="T12" fmla="*/ 682 w 683"/>
              <a:gd name="T13" fmla="*/ 327 h 3449"/>
            </a:gdLst>
            <a:ahLst/>
            <a:cxnLst>
              <a:cxn ang="0">
                <a:pos x="T0" y="T1"/>
              </a:cxn>
              <a:cxn ang="0">
                <a:pos x="T2" y="T3"/>
              </a:cxn>
              <a:cxn ang="0">
                <a:pos x="T4" y="T5"/>
              </a:cxn>
              <a:cxn ang="0">
                <a:pos x="T6" y="T7"/>
              </a:cxn>
              <a:cxn ang="0">
                <a:pos x="T8" y="T9"/>
              </a:cxn>
              <a:cxn ang="0">
                <a:pos x="T10" y="T11"/>
              </a:cxn>
              <a:cxn ang="0">
                <a:pos x="T12" y="T13"/>
              </a:cxn>
            </a:cxnLst>
            <a:rect l="0" t="0" r="r" b="b"/>
            <a:pathLst>
              <a:path w="683" h="3449">
                <a:moveTo>
                  <a:pt x="682" y="327"/>
                </a:moveTo>
                <a:cubicBezTo>
                  <a:pt x="675" y="145"/>
                  <a:pt x="525" y="0"/>
                  <a:pt x="341" y="0"/>
                </a:cubicBezTo>
                <a:cubicBezTo>
                  <a:pt x="157" y="0"/>
                  <a:pt x="7" y="145"/>
                  <a:pt x="0" y="327"/>
                </a:cubicBezTo>
                <a:lnTo>
                  <a:pt x="0" y="327"/>
                </a:lnTo>
                <a:lnTo>
                  <a:pt x="0" y="3448"/>
                </a:lnTo>
                <a:lnTo>
                  <a:pt x="682" y="3448"/>
                </a:lnTo>
                <a:lnTo>
                  <a:pt x="682" y="327"/>
                </a:lnTo>
              </a:path>
            </a:pathLst>
          </a:custGeom>
          <a:solidFill>
            <a:srgbClr val="70CF00"/>
          </a:solidFill>
          <a:ln>
            <a:noFill/>
          </a:ln>
          <a:effectLst/>
          <a:extLst>
            <a:ext uri="{91240B29-F687-4F45-9708-019B960494DF}">
              <a14:hiddenLine xmlns:a14="http://schemas.microsoft.com/office/drawing/2010/main" w="9525" cap="rnd">
                <a:solidFill>
                  <a:srgbClr val="FFFFFF"/>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2" name="Freeform 21">
            <a:extLst>
              <a:ext uri="{FF2B5EF4-FFF2-40B4-BE49-F238E27FC236}">
                <a16:creationId xmlns:a16="http://schemas.microsoft.com/office/drawing/2014/main" id="{E12F5BEF-D03D-2F46-B53C-984436D84992}"/>
              </a:ext>
              <a:ext uri="{C183D7F6-B498-43B3-948B-1728B52AA6E4}">
                <adec:decorative xmlns:adec="http://schemas.microsoft.com/office/drawing/2017/decorative" val="1"/>
              </a:ext>
            </a:extLst>
          </p:cNvPr>
          <p:cNvSpPr>
            <a:spLocks noChangeArrowheads="1"/>
          </p:cNvSpPr>
          <p:nvPr/>
        </p:nvSpPr>
        <p:spPr bwMode="auto">
          <a:xfrm>
            <a:off x="4683463" y="3698245"/>
            <a:ext cx="246063" cy="246063"/>
          </a:xfrm>
          <a:custGeom>
            <a:avLst/>
            <a:gdLst>
              <a:gd name="T0" fmla="*/ 682 w 683"/>
              <a:gd name="T1" fmla="*/ 340 h 682"/>
              <a:gd name="T2" fmla="*/ 637 w 683"/>
              <a:gd name="T3" fmla="*/ 511 h 682"/>
              <a:gd name="T4" fmla="*/ 512 w 683"/>
              <a:gd name="T5" fmla="*/ 636 h 682"/>
              <a:gd name="T6" fmla="*/ 341 w 683"/>
              <a:gd name="T7" fmla="*/ 681 h 682"/>
              <a:gd name="T8" fmla="*/ 170 w 683"/>
              <a:gd name="T9" fmla="*/ 636 h 682"/>
              <a:gd name="T10" fmla="*/ 45 w 683"/>
              <a:gd name="T11" fmla="*/ 511 h 682"/>
              <a:gd name="T12" fmla="*/ 0 w 683"/>
              <a:gd name="T13" fmla="*/ 340 h 682"/>
              <a:gd name="T14" fmla="*/ 45 w 683"/>
              <a:gd name="T15" fmla="*/ 170 h 682"/>
              <a:gd name="T16" fmla="*/ 170 w 683"/>
              <a:gd name="T17" fmla="*/ 46 h 682"/>
              <a:gd name="T18" fmla="*/ 341 w 683"/>
              <a:gd name="T19" fmla="*/ 0 h 682"/>
              <a:gd name="T20" fmla="*/ 512 w 683"/>
              <a:gd name="T21" fmla="*/ 46 h 682"/>
              <a:gd name="T22" fmla="*/ 637 w 683"/>
              <a:gd name="T23" fmla="*/ 170 h 682"/>
              <a:gd name="T24" fmla="*/ 682 w 683"/>
              <a:gd name="T25" fmla="*/ 34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3" h="682">
                <a:moveTo>
                  <a:pt x="682" y="340"/>
                </a:moveTo>
                <a:cubicBezTo>
                  <a:pt x="682" y="403"/>
                  <a:pt x="668" y="457"/>
                  <a:pt x="637" y="511"/>
                </a:cubicBezTo>
                <a:cubicBezTo>
                  <a:pt x="605" y="566"/>
                  <a:pt x="566" y="605"/>
                  <a:pt x="512" y="636"/>
                </a:cubicBezTo>
                <a:cubicBezTo>
                  <a:pt x="457" y="668"/>
                  <a:pt x="404" y="681"/>
                  <a:pt x="341" y="681"/>
                </a:cubicBezTo>
                <a:cubicBezTo>
                  <a:pt x="278" y="681"/>
                  <a:pt x="224" y="668"/>
                  <a:pt x="170" y="636"/>
                </a:cubicBezTo>
                <a:cubicBezTo>
                  <a:pt x="115" y="605"/>
                  <a:pt x="76" y="566"/>
                  <a:pt x="45" y="511"/>
                </a:cubicBezTo>
                <a:cubicBezTo>
                  <a:pt x="13" y="457"/>
                  <a:pt x="0" y="403"/>
                  <a:pt x="0" y="340"/>
                </a:cubicBezTo>
                <a:cubicBezTo>
                  <a:pt x="0" y="278"/>
                  <a:pt x="13" y="224"/>
                  <a:pt x="45" y="170"/>
                </a:cubicBezTo>
                <a:cubicBezTo>
                  <a:pt x="76" y="115"/>
                  <a:pt x="115" y="77"/>
                  <a:pt x="170" y="46"/>
                </a:cubicBezTo>
                <a:cubicBezTo>
                  <a:pt x="224" y="14"/>
                  <a:pt x="278" y="0"/>
                  <a:pt x="341" y="0"/>
                </a:cubicBezTo>
                <a:cubicBezTo>
                  <a:pt x="404" y="0"/>
                  <a:pt x="457" y="14"/>
                  <a:pt x="512" y="46"/>
                </a:cubicBezTo>
                <a:cubicBezTo>
                  <a:pt x="566" y="77"/>
                  <a:pt x="605" y="115"/>
                  <a:pt x="637" y="170"/>
                </a:cubicBezTo>
                <a:cubicBezTo>
                  <a:pt x="668" y="224"/>
                  <a:pt x="682" y="278"/>
                  <a:pt x="682" y="340"/>
                </a:cubicBezTo>
              </a:path>
            </a:pathLst>
          </a:custGeom>
          <a:solidFill>
            <a:srgbClr val="2A9C00"/>
          </a:solidFill>
          <a:ln>
            <a:noFill/>
          </a:ln>
          <a:effectLst/>
        </p:spPr>
        <p:txBody>
          <a:bodyPr wrap="none" anchor="ctr"/>
          <a:lstStyle/>
          <a:p>
            <a:endParaRPr lang="en-US" sz="1800"/>
          </a:p>
        </p:txBody>
      </p:sp>
      <p:grpSp>
        <p:nvGrpSpPr>
          <p:cNvPr id="47" name="Group 46">
            <a:extLst>
              <a:ext uri="{FF2B5EF4-FFF2-40B4-BE49-F238E27FC236}">
                <a16:creationId xmlns:a16="http://schemas.microsoft.com/office/drawing/2014/main" id="{ACA3109A-CC47-334B-976C-DF23F3C4B2C7}"/>
              </a:ext>
              <a:ext uri="{C183D7F6-B498-43B3-948B-1728B52AA6E4}">
                <adec:decorative xmlns:adec="http://schemas.microsoft.com/office/drawing/2017/decorative" val="1"/>
              </a:ext>
            </a:extLst>
          </p:cNvPr>
          <p:cNvGrpSpPr>
            <a:grpSpLocks noChangeAspect="1"/>
          </p:cNvGrpSpPr>
          <p:nvPr/>
        </p:nvGrpSpPr>
        <p:grpSpPr>
          <a:xfrm>
            <a:off x="4463584" y="4495167"/>
            <a:ext cx="702000" cy="702000"/>
            <a:chOff x="2913398" y="4809492"/>
            <a:chExt cx="728663" cy="728663"/>
          </a:xfrm>
        </p:grpSpPr>
        <p:sp>
          <p:nvSpPr>
            <p:cNvPr id="23" name="Freeform 22">
              <a:extLst>
                <a:ext uri="{FF2B5EF4-FFF2-40B4-BE49-F238E27FC236}">
                  <a16:creationId xmlns:a16="http://schemas.microsoft.com/office/drawing/2014/main" id="{5BB4FD62-C5DF-E845-B4EE-6053D93F9B23}"/>
                </a:ext>
              </a:extLst>
            </p:cNvPr>
            <p:cNvSpPr>
              <a:spLocks noChangeArrowheads="1"/>
            </p:cNvSpPr>
            <p:nvPr/>
          </p:nvSpPr>
          <p:spPr bwMode="auto">
            <a:xfrm>
              <a:off x="2913398" y="4809492"/>
              <a:ext cx="728663" cy="728663"/>
            </a:xfrm>
            <a:custGeom>
              <a:avLst/>
              <a:gdLst>
                <a:gd name="T0" fmla="*/ 2021 w 2022"/>
                <a:gd name="T1" fmla="*/ 1011 h 2023"/>
                <a:gd name="T2" fmla="*/ 1886 w 2022"/>
                <a:gd name="T3" fmla="*/ 1517 h 2023"/>
                <a:gd name="T4" fmla="*/ 1516 w 2022"/>
                <a:gd name="T5" fmla="*/ 1887 h 2023"/>
                <a:gd name="T6" fmla="*/ 1011 w 2022"/>
                <a:gd name="T7" fmla="*/ 2022 h 2023"/>
                <a:gd name="T8" fmla="*/ 505 w 2022"/>
                <a:gd name="T9" fmla="*/ 1887 h 2023"/>
                <a:gd name="T10" fmla="*/ 135 w 2022"/>
                <a:gd name="T11" fmla="*/ 1517 h 2023"/>
                <a:gd name="T12" fmla="*/ 0 w 2022"/>
                <a:gd name="T13" fmla="*/ 1011 h 2023"/>
                <a:gd name="T14" fmla="*/ 135 w 2022"/>
                <a:gd name="T15" fmla="*/ 506 h 2023"/>
                <a:gd name="T16" fmla="*/ 505 w 2022"/>
                <a:gd name="T17" fmla="*/ 136 h 2023"/>
                <a:gd name="T18" fmla="*/ 1011 w 2022"/>
                <a:gd name="T19" fmla="*/ 0 h 2023"/>
                <a:gd name="T20" fmla="*/ 1516 w 2022"/>
                <a:gd name="T21" fmla="*/ 136 h 2023"/>
                <a:gd name="T22" fmla="*/ 1886 w 2022"/>
                <a:gd name="T23" fmla="*/ 506 h 2023"/>
                <a:gd name="T24" fmla="*/ 2021 w 2022"/>
                <a:gd name="T25" fmla="*/ 1011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2" h="2023">
                  <a:moveTo>
                    <a:pt x="2021" y="1011"/>
                  </a:moveTo>
                  <a:cubicBezTo>
                    <a:pt x="2021" y="1197"/>
                    <a:pt x="1979" y="1356"/>
                    <a:pt x="1886" y="1517"/>
                  </a:cubicBezTo>
                  <a:cubicBezTo>
                    <a:pt x="1793" y="1678"/>
                    <a:pt x="1677" y="1794"/>
                    <a:pt x="1516" y="1887"/>
                  </a:cubicBezTo>
                  <a:cubicBezTo>
                    <a:pt x="1355" y="1980"/>
                    <a:pt x="1197" y="2022"/>
                    <a:pt x="1011" y="2022"/>
                  </a:cubicBezTo>
                  <a:cubicBezTo>
                    <a:pt x="825" y="2022"/>
                    <a:pt x="666" y="1980"/>
                    <a:pt x="505" y="1887"/>
                  </a:cubicBezTo>
                  <a:cubicBezTo>
                    <a:pt x="344" y="1794"/>
                    <a:pt x="228" y="1678"/>
                    <a:pt x="135" y="1517"/>
                  </a:cubicBezTo>
                  <a:cubicBezTo>
                    <a:pt x="42" y="1356"/>
                    <a:pt x="0" y="1197"/>
                    <a:pt x="0" y="1011"/>
                  </a:cubicBezTo>
                  <a:cubicBezTo>
                    <a:pt x="0" y="825"/>
                    <a:pt x="42" y="667"/>
                    <a:pt x="135" y="506"/>
                  </a:cubicBezTo>
                  <a:cubicBezTo>
                    <a:pt x="228" y="345"/>
                    <a:pt x="344" y="229"/>
                    <a:pt x="505" y="136"/>
                  </a:cubicBezTo>
                  <a:cubicBezTo>
                    <a:pt x="666" y="43"/>
                    <a:pt x="825" y="0"/>
                    <a:pt x="1011" y="0"/>
                  </a:cubicBezTo>
                  <a:cubicBezTo>
                    <a:pt x="1197" y="0"/>
                    <a:pt x="1355" y="43"/>
                    <a:pt x="1516" y="136"/>
                  </a:cubicBezTo>
                  <a:cubicBezTo>
                    <a:pt x="1677" y="229"/>
                    <a:pt x="1793" y="345"/>
                    <a:pt x="1886" y="506"/>
                  </a:cubicBezTo>
                  <a:cubicBezTo>
                    <a:pt x="1979" y="667"/>
                    <a:pt x="2021" y="825"/>
                    <a:pt x="2021" y="1011"/>
                  </a:cubicBezTo>
                </a:path>
              </a:pathLst>
            </a:custGeom>
            <a:solidFill>
              <a:srgbClr val="121519"/>
            </a:solidFill>
            <a:ln>
              <a:noFill/>
            </a:ln>
            <a:effectLst/>
            <a:extLst>
              <a:ext uri="{91240B29-F687-4F45-9708-019B960494DF}">
                <a14:hiddenLine xmlns:a14="http://schemas.microsoft.com/office/drawing/2010/main" w="9525" cap="rnd">
                  <a:solidFill>
                    <a:srgbClr val="FFFFFF"/>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24" name="Freeform 23">
              <a:extLst>
                <a:ext uri="{FF2B5EF4-FFF2-40B4-BE49-F238E27FC236}">
                  <a16:creationId xmlns:a16="http://schemas.microsoft.com/office/drawing/2014/main" id="{2AA6A06B-4C54-824B-8703-6F48FEAD3666}"/>
                </a:ext>
              </a:extLst>
            </p:cNvPr>
            <p:cNvSpPr>
              <a:spLocks noChangeArrowheads="1"/>
            </p:cNvSpPr>
            <p:nvPr/>
          </p:nvSpPr>
          <p:spPr bwMode="auto">
            <a:xfrm>
              <a:off x="3091199" y="4965067"/>
              <a:ext cx="365125" cy="376239"/>
            </a:xfrm>
            <a:custGeom>
              <a:avLst/>
              <a:gdLst>
                <a:gd name="T0" fmla="*/ 481 w 1014"/>
                <a:gd name="T1" fmla="*/ 459 h 1044"/>
                <a:gd name="T2" fmla="*/ 408 w 1014"/>
                <a:gd name="T3" fmla="*/ 386 h 1044"/>
                <a:gd name="T4" fmla="*/ 372 w 1014"/>
                <a:gd name="T5" fmla="*/ 422 h 1044"/>
                <a:gd name="T6" fmla="*/ 299 w 1014"/>
                <a:gd name="T7" fmla="*/ 422 h 1044"/>
                <a:gd name="T8" fmla="*/ 262 w 1014"/>
                <a:gd name="T9" fmla="*/ 386 h 1044"/>
                <a:gd name="T10" fmla="*/ 262 w 1014"/>
                <a:gd name="T11" fmla="*/ 313 h 1044"/>
                <a:gd name="T12" fmla="*/ 554 w 1014"/>
                <a:gd name="T13" fmla="*/ 21 h 1044"/>
                <a:gd name="T14" fmla="*/ 627 w 1014"/>
                <a:gd name="T15" fmla="*/ 21 h 1044"/>
                <a:gd name="T16" fmla="*/ 664 w 1014"/>
                <a:gd name="T17" fmla="*/ 57 h 1044"/>
                <a:gd name="T18" fmla="*/ 664 w 1014"/>
                <a:gd name="T19" fmla="*/ 130 h 1044"/>
                <a:gd name="T20" fmla="*/ 627 w 1014"/>
                <a:gd name="T21" fmla="*/ 167 h 1044"/>
                <a:gd name="T22" fmla="*/ 701 w 1014"/>
                <a:gd name="T23" fmla="*/ 240 h 1044"/>
                <a:gd name="T24" fmla="*/ 774 w 1014"/>
                <a:gd name="T25" fmla="*/ 240 h 1044"/>
                <a:gd name="T26" fmla="*/ 774 w 1014"/>
                <a:gd name="T27" fmla="*/ 313 h 1044"/>
                <a:gd name="T28" fmla="*/ 847 w 1014"/>
                <a:gd name="T29" fmla="*/ 386 h 1044"/>
                <a:gd name="T30" fmla="*/ 883 w 1014"/>
                <a:gd name="T31" fmla="*/ 349 h 1044"/>
                <a:gd name="T32" fmla="*/ 956 w 1014"/>
                <a:gd name="T33" fmla="*/ 349 h 1044"/>
                <a:gd name="T34" fmla="*/ 993 w 1014"/>
                <a:gd name="T35" fmla="*/ 386 h 1044"/>
                <a:gd name="T36" fmla="*/ 993 w 1014"/>
                <a:gd name="T37" fmla="*/ 459 h 1044"/>
                <a:gd name="T38" fmla="*/ 701 w 1014"/>
                <a:gd name="T39" fmla="*/ 751 h 1044"/>
                <a:gd name="T40" fmla="*/ 627 w 1014"/>
                <a:gd name="T41" fmla="*/ 751 h 1044"/>
                <a:gd name="T42" fmla="*/ 591 w 1014"/>
                <a:gd name="T43" fmla="*/ 714 h 1044"/>
                <a:gd name="T44" fmla="*/ 591 w 1014"/>
                <a:gd name="T45" fmla="*/ 641 h 1044"/>
                <a:gd name="T46" fmla="*/ 627 w 1014"/>
                <a:gd name="T47" fmla="*/ 605 h 1044"/>
                <a:gd name="T48" fmla="*/ 554 w 1014"/>
                <a:gd name="T49" fmla="*/ 532 h 1044"/>
                <a:gd name="T50" fmla="*/ 93 w 1014"/>
                <a:gd name="T51" fmla="*/ 988 h 1044"/>
                <a:gd name="T52" fmla="*/ 20 w 1014"/>
                <a:gd name="T53" fmla="*/ 988 h 1044"/>
                <a:gd name="T54" fmla="*/ 20 w 1014"/>
                <a:gd name="T55" fmla="*/ 915 h 1044"/>
                <a:gd name="T56" fmla="*/ 481 w 1014"/>
                <a:gd name="T57" fmla="*/ 459 h 1044"/>
                <a:gd name="T58" fmla="*/ 909 w 1014"/>
                <a:gd name="T59" fmla="*/ 879 h 1044"/>
                <a:gd name="T60" fmla="*/ 1008 w 1014"/>
                <a:gd name="T61" fmla="*/ 988 h 1044"/>
                <a:gd name="T62" fmla="*/ 1008 w 1014"/>
                <a:gd name="T63" fmla="*/ 1043 h 1044"/>
                <a:gd name="T64" fmla="*/ 516 w 1014"/>
                <a:gd name="T65" fmla="*/ 1043 h 1044"/>
                <a:gd name="T66" fmla="*/ 516 w 1014"/>
                <a:gd name="T67" fmla="*/ 988 h 1044"/>
                <a:gd name="T68" fmla="*/ 615 w 1014"/>
                <a:gd name="T69" fmla="*/ 879 h 1044"/>
                <a:gd name="T70" fmla="*/ 909 w 1014"/>
                <a:gd name="T71" fmla="*/ 879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14" h="1044">
                  <a:moveTo>
                    <a:pt x="481" y="459"/>
                  </a:moveTo>
                  <a:lnTo>
                    <a:pt x="408" y="386"/>
                  </a:lnTo>
                  <a:lnTo>
                    <a:pt x="372" y="422"/>
                  </a:lnTo>
                  <a:cubicBezTo>
                    <a:pt x="352" y="442"/>
                    <a:pt x="319" y="442"/>
                    <a:pt x="299" y="422"/>
                  </a:cubicBezTo>
                  <a:lnTo>
                    <a:pt x="262" y="386"/>
                  </a:lnTo>
                  <a:cubicBezTo>
                    <a:pt x="242" y="366"/>
                    <a:pt x="242" y="333"/>
                    <a:pt x="262" y="313"/>
                  </a:cubicBezTo>
                  <a:lnTo>
                    <a:pt x="554" y="21"/>
                  </a:lnTo>
                  <a:cubicBezTo>
                    <a:pt x="575" y="0"/>
                    <a:pt x="607" y="0"/>
                    <a:pt x="627" y="21"/>
                  </a:cubicBezTo>
                  <a:lnTo>
                    <a:pt x="664" y="57"/>
                  </a:lnTo>
                  <a:cubicBezTo>
                    <a:pt x="684" y="77"/>
                    <a:pt x="684" y="110"/>
                    <a:pt x="664" y="130"/>
                  </a:cubicBezTo>
                  <a:lnTo>
                    <a:pt x="627" y="167"/>
                  </a:lnTo>
                  <a:lnTo>
                    <a:pt x="701" y="240"/>
                  </a:lnTo>
                  <a:cubicBezTo>
                    <a:pt x="721" y="219"/>
                    <a:pt x="753" y="219"/>
                    <a:pt x="774" y="240"/>
                  </a:cubicBezTo>
                  <a:cubicBezTo>
                    <a:pt x="794" y="260"/>
                    <a:pt x="794" y="293"/>
                    <a:pt x="774" y="313"/>
                  </a:cubicBezTo>
                  <a:lnTo>
                    <a:pt x="847" y="386"/>
                  </a:lnTo>
                  <a:lnTo>
                    <a:pt x="883" y="349"/>
                  </a:lnTo>
                  <a:cubicBezTo>
                    <a:pt x="903" y="329"/>
                    <a:pt x="936" y="329"/>
                    <a:pt x="956" y="349"/>
                  </a:cubicBezTo>
                  <a:lnTo>
                    <a:pt x="993" y="386"/>
                  </a:lnTo>
                  <a:cubicBezTo>
                    <a:pt x="1013" y="406"/>
                    <a:pt x="1013" y="439"/>
                    <a:pt x="993" y="459"/>
                  </a:cubicBezTo>
                  <a:lnTo>
                    <a:pt x="701" y="751"/>
                  </a:lnTo>
                  <a:cubicBezTo>
                    <a:pt x="680" y="771"/>
                    <a:pt x="648" y="771"/>
                    <a:pt x="627" y="751"/>
                  </a:cubicBezTo>
                  <a:lnTo>
                    <a:pt x="591" y="714"/>
                  </a:lnTo>
                  <a:cubicBezTo>
                    <a:pt x="571" y="694"/>
                    <a:pt x="571" y="662"/>
                    <a:pt x="591" y="641"/>
                  </a:cubicBezTo>
                  <a:lnTo>
                    <a:pt x="627" y="605"/>
                  </a:lnTo>
                  <a:lnTo>
                    <a:pt x="554" y="532"/>
                  </a:lnTo>
                  <a:lnTo>
                    <a:pt x="93" y="988"/>
                  </a:lnTo>
                  <a:cubicBezTo>
                    <a:pt x="73" y="1009"/>
                    <a:pt x="40" y="1009"/>
                    <a:pt x="20" y="988"/>
                  </a:cubicBezTo>
                  <a:cubicBezTo>
                    <a:pt x="0" y="968"/>
                    <a:pt x="0" y="936"/>
                    <a:pt x="20" y="915"/>
                  </a:cubicBezTo>
                  <a:lnTo>
                    <a:pt x="481" y="459"/>
                  </a:lnTo>
                  <a:close/>
                  <a:moveTo>
                    <a:pt x="909" y="879"/>
                  </a:moveTo>
                  <a:cubicBezTo>
                    <a:pt x="964" y="879"/>
                    <a:pt x="1008" y="928"/>
                    <a:pt x="1008" y="988"/>
                  </a:cubicBezTo>
                  <a:lnTo>
                    <a:pt x="1008" y="1043"/>
                  </a:lnTo>
                  <a:lnTo>
                    <a:pt x="516" y="1043"/>
                  </a:lnTo>
                  <a:lnTo>
                    <a:pt x="516" y="988"/>
                  </a:lnTo>
                  <a:cubicBezTo>
                    <a:pt x="516" y="928"/>
                    <a:pt x="560" y="879"/>
                    <a:pt x="615" y="879"/>
                  </a:cubicBezTo>
                  <a:lnTo>
                    <a:pt x="909" y="879"/>
                  </a:lnTo>
                  <a:close/>
                </a:path>
              </a:pathLst>
            </a:custGeom>
            <a:solidFill>
              <a:srgbClr val="FFFFFF"/>
            </a:solidFill>
            <a:ln>
              <a:noFill/>
            </a:ln>
            <a:effectLst/>
            <a:extLst>
              <a:ext uri="{91240B29-F687-4F45-9708-019B960494DF}">
                <a14:hiddenLine xmlns:a14="http://schemas.microsoft.com/office/drawing/2010/main" w="9525" cap="rnd">
                  <a:solidFill>
                    <a:srgbClr val="FFFFFF"/>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grpSp>
      <p:grpSp>
        <p:nvGrpSpPr>
          <p:cNvPr id="51" name="Group 50">
            <a:extLst>
              <a:ext uri="{FF2B5EF4-FFF2-40B4-BE49-F238E27FC236}">
                <a16:creationId xmlns:a16="http://schemas.microsoft.com/office/drawing/2014/main" id="{92ABFA7E-A9FF-D346-A906-347F9ADF8F9A}"/>
              </a:ext>
              <a:ext uri="{C183D7F6-B498-43B3-948B-1728B52AA6E4}">
                <adec:decorative xmlns:adec="http://schemas.microsoft.com/office/drawing/2017/decorative" val="1"/>
              </a:ext>
            </a:extLst>
          </p:cNvPr>
          <p:cNvGrpSpPr/>
          <p:nvPr/>
        </p:nvGrpSpPr>
        <p:grpSpPr>
          <a:xfrm>
            <a:off x="5186110" y="2706057"/>
            <a:ext cx="246063" cy="1241425"/>
            <a:chOff x="1821198" y="2817341"/>
            <a:chExt cx="246062" cy="1241425"/>
          </a:xfrm>
        </p:grpSpPr>
        <p:sp>
          <p:nvSpPr>
            <p:cNvPr id="53" name="Freeform 5">
              <a:extLst>
                <a:ext uri="{FF2B5EF4-FFF2-40B4-BE49-F238E27FC236}">
                  <a16:creationId xmlns:a16="http://schemas.microsoft.com/office/drawing/2014/main" id="{EB6C8F09-1E82-4040-825B-0828A091BB71}"/>
                </a:ext>
              </a:extLst>
            </p:cNvPr>
            <p:cNvSpPr>
              <a:spLocks noChangeArrowheads="1"/>
            </p:cNvSpPr>
            <p:nvPr/>
          </p:nvSpPr>
          <p:spPr bwMode="auto">
            <a:xfrm>
              <a:off x="1821198" y="2817341"/>
              <a:ext cx="246062" cy="1241425"/>
            </a:xfrm>
            <a:custGeom>
              <a:avLst/>
              <a:gdLst>
                <a:gd name="T0" fmla="*/ 682 w 684"/>
                <a:gd name="T1" fmla="*/ 3120 h 3449"/>
                <a:gd name="T2" fmla="*/ 341 w 684"/>
                <a:gd name="T3" fmla="*/ 3448 h 3449"/>
                <a:gd name="T4" fmla="*/ 0 w 684"/>
                <a:gd name="T5" fmla="*/ 3120 h 3449"/>
                <a:gd name="T6" fmla="*/ 0 w 684"/>
                <a:gd name="T7" fmla="*/ 3120 h 3449"/>
                <a:gd name="T8" fmla="*/ 0 w 684"/>
                <a:gd name="T9" fmla="*/ 0 h 3449"/>
                <a:gd name="T10" fmla="*/ 683 w 684"/>
                <a:gd name="T11" fmla="*/ 0 h 3449"/>
                <a:gd name="T12" fmla="*/ 683 w 684"/>
                <a:gd name="T13" fmla="*/ 3120 h 3449"/>
                <a:gd name="T14" fmla="*/ 682 w 684"/>
                <a:gd name="T15" fmla="*/ 3120 h 34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4" h="3449">
                  <a:moveTo>
                    <a:pt x="682" y="3120"/>
                  </a:moveTo>
                  <a:cubicBezTo>
                    <a:pt x="675" y="3302"/>
                    <a:pt x="525" y="3448"/>
                    <a:pt x="341" y="3448"/>
                  </a:cubicBezTo>
                  <a:cubicBezTo>
                    <a:pt x="157" y="3448"/>
                    <a:pt x="7" y="3302"/>
                    <a:pt x="0" y="3120"/>
                  </a:cubicBezTo>
                  <a:lnTo>
                    <a:pt x="0" y="3120"/>
                  </a:lnTo>
                  <a:lnTo>
                    <a:pt x="0" y="0"/>
                  </a:lnTo>
                  <a:lnTo>
                    <a:pt x="683" y="0"/>
                  </a:lnTo>
                  <a:lnTo>
                    <a:pt x="683" y="3120"/>
                  </a:lnTo>
                  <a:lnTo>
                    <a:pt x="682" y="3120"/>
                  </a:lnTo>
                </a:path>
              </a:pathLst>
            </a:custGeom>
            <a:solidFill>
              <a:srgbClr val="00C7D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dirty="0"/>
            </a:p>
          </p:txBody>
        </p:sp>
        <p:sp>
          <p:nvSpPr>
            <p:cNvPr id="54" name="Rectangle 53">
              <a:extLst>
                <a:ext uri="{FF2B5EF4-FFF2-40B4-BE49-F238E27FC236}">
                  <a16:creationId xmlns:a16="http://schemas.microsoft.com/office/drawing/2014/main" id="{7EB5BE69-EEB3-C545-BB40-B326F8A38BCC}"/>
                </a:ext>
              </a:extLst>
            </p:cNvPr>
            <p:cNvSpPr/>
            <p:nvPr/>
          </p:nvSpPr>
          <p:spPr bwMode="auto">
            <a:xfrm>
              <a:off x="1821198" y="3809528"/>
              <a:ext cx="246062" cy="142875"/>
            </a:xfrm>
            <a:prstGeom prst="rect">
              <a:avLst/>
            </a:prstGeom>
            <a:solidFill>
              <a:srgbClr val="01B5D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449239" fontAlgn="base" hangingPunct="0">
                <a:lnSpc>
                  <a:spcPct val="93000"/>
                </a:lnSpc>
                <a:spcBef>
                  <a:spcPct val="0"/>
                </a:spcBef>
                <a:spcAft>
                  <a:spcPct val="0"/>
                </a:spcAft>
                <a:buClr>
                  <a:srgbClr val="000000"/>
                </a:buClr>
                <a:buSzPct val="100000"/>
              </a:pPr>
              <a:endParaRPr lang="en-US" sz="1800">
                <a:latin typeface="Arial" panose="020B0604020202020204" pitchFamily="34" charset="0"/>
                <a:ea typeface="Arial Unicode MS" panose="020B0604020202020204" pitchFamily="34" charset="-128"/>
                <a:cs typeface="Arial Unicode MS" panose="020B0604020202020204" pitchFamily="34" charset="-128"/>
              </a:endParaRPr>
            </a:p>
          </p:txBody>
        </p:sp>
        <p:sp>
          <p:nvSpPr>
            <p:cNvPr id="55" name="Freeform 6">
              <a:extLst>
                <a:ext uri="{FF2B5EF4-FFF2-40B4-BE49-F238E27FC236}">
                  <a16:creationId xmlns:a16="http://schemas.microsoft.com/office/drawing/2014/main" id="{9920BC1F-721B-284A-8F86-96E720A96C13}"/>
                </a:ext>
              </a:extLst>
            </p:cNvPr>
            <p:cNvSpPr>
              <a:spLocks noChangeArrowheads="1"/>
            </p:cNvSpPr>
            <p:nvPr/>
          </p:nvSpPr>
          <p:spPr bwMode="auto">
            <a:xfrm>
              <a:off x="1821198" y="3809528"/>
              <a:ext cx="246062" cy="246063"/>
            </a:xfrm>
            <a:custGeom>
              <a:avLst/>
              <a:gdLst>
                <a:gd name="T0" fmla="*/ 683 w 684"/>
                <a:gd name="T1" fmla="*/ 340 h 682"/>
                <a:gd name="T2" fmla="*/ 637 w 684"/>
                <a:gd name="T3" fmla="*/ 511 h 682"/>
                <a:gd name="T4" fmla="*/ 512 w 684"/>
                <a:gd name="T5" fmla="*/ 636 h 682"/>
                <a:gd name="T6" fmla="*/ 341 w 684"/>
                <a:gd name="T7" fmla="*/ 681 h 682"/>
                <a:gd name="T8" fmla="*/ 171 w 684"/>
                <a:gd name="T9" fmla="*/ 636 h 682"/>
                <a:gd name="T10" fmla="*/ 46 w 684"/>
                <a:gd name="T11" fmla="*/ 511 h 682"/>
                <a:gd name="T12" fmla="*/ 0 w 684"/>
                <a:gd name="T13" fmla="*/ 340 h 682"/>
                <a:gd name="T14" fmla="*/ 46 w 684"/>
                <a:gd name="T15" fmla="*/ 170 h 682"/>
                <a:gd name="T16" fmla="*/ 171 w 684"/>
                <a:gd name="T17" fmla="*/ 46 h 682"/>
                <a:gd name="T18" fmla="*/ 341 w 684"/>
                <a:gd name="T19" fmla="*/ 0 h 682"/>
                <a:gd name="T20" fmla="*/ 512 w 684"/>
                <a:gd name="T21" fmla="*/ 46 h 682"/>
                <a:gd name="T22" fmla="*/ 637 w 684"/>
                <a:gd name="T23" fmla="*/ 170 h 682"/>
                <a:gd name="T24" fmla="*/ 683 w 684"/>
                <a:gd name="T25" fmla="*/ 34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4" h="682">
                  <a:moveTo>
                    <a:pt x="683" y="340"/>
                  </a:moveTo>
                  <a:cubicBezTo>
                    <a:pt x="683" y="403"/>
                    <a:pt x="668" y="457"/>
                    <a:pt x="637" y="511"/>
                  </a:cubicBezTo>
                  <a:cubicBezTo>
                    <a:pt x="605" y="566"/>
                    <a:pt x="566" y="605"/>
                    <a:pt x="512" y="636"/>
                  </a:cubicBezTo>
                  <a:cubicBezTo>
                    <a:pt x="458" y="668"/>
                    <a:pt x="404" y="681"/>
                    <a:pt x="341" y="681"/>
                  </a:cubicBezTo>
                  <a:cubicBezTo>
                    <a:pt x="278" y="681"/>
                    <a:pt x="225" y="668"/>
                    <a:pt x="171" y="636"/>
                  </a:cubicBezTo>
                  <a:cubicBezTo>
                    <a:pt x="116" y="605"/>
                    <a:pt x="77" y="566"/>
                    <a:pt x="46" y="511"/>
                  </a:cubicBezTo>
                  <a:cubicBezTo>
                    <a:pt x="14" y="457"/>
                    <a:pt x="0" y="403"/>
                    <a:pt x="0" y="340"/>
                  </a:cubicBezTo>
                  <a:cubicBezTo>
                    <a:pt x="0" y="278"/>
                    <a:pt x="14" y="224"/>
                    <a:pt x="46" y="170"/>
                  </a:cubicBezTo>
                  <a:cubicBezTo>
                    <a:pt x="77" y="115"/>
                    <a:pt x="116" y="77"/>
                    <a:pt x="171" y="46"/>
                  </a:cubicBezTo>
                  <a:cubicBezTo>
                    <a:pt x="225" y="14"/>
                    <a:pt x="278" y="0"/>
                    <a:pt x="341" y="0"/>
                  </a:cubicBezTo>
                  <a:cubicBezTo>
                    <a:pt x="404" y="0"/>
                    <a:pt x="458" y="14"/>
                    <a:pt x="512" y="46"/>
                  </a:cubicBezTo>
                  <a:cubicBezTo>
                    <a:pt x="566" y="77"/>
                    <a:pt x="605" y="115"/>
                    <a:pt x="637" y="170"/>
                  </a:cubicBezTo>
                  <a:cubicBezTo>
                    <a:pt x="668" y="224"/>
                    <a:pt x="683" y="278"/>
                    <a:pt x="683" y="340"/>
                  </a:cubicBezTo>
                </a:path>
              </a:pathLst>
            </a:custGeom>
            <a:solidFill>
              <a:srgbClr val="0191AE"/>
            </a:solidFill>
            <a:ln>
              <a:noFill/>
            </a:ln>
            <a:effectLst/>
          </p:spPr>
          <p:txBody>
            <a:bodyPr wrap="none" anchor="ctr"/>
            <a:lstStyle/>
            <a:p>
              <a:endParaRPr lang="en-US" sz="1800" dirty="0"/>
            </a:p>
          </p:txBody>
        </p:sp>
      </p:grpSp>
      <p:grpSp>
        <p:nvGrpSpPr>
          <p:cNvPr id="45" name="Group 44">
            <a:extLst>
              <a:ext uri="{FF2B5EF4-FFF2-40B4-BE49-F238E27FC236}">
                <a16:creationId xmlns:a16="http://schemas.microsoft.com/office/drawing/2014/main" id="{33F6C13E-54FC-4B4A-8001-AD41824E104E}"/>
              </a:ext>
              <a:ext uri="{C183D7F6-B498-43B3-948B-1728B52AA6E4}">
                <adec:decorative xmlns:adec="http://schemas.microsoft.com/office/drawing/2017/decorative" val="1"/>
              </a:ext>
            </a:extLst>
          </p:cNvPr>
          <p:cNvGrpSpPr>
            <a:grpSpLocks noChangeAspect="1"/>
          </p:cNvGrpSpPr>
          <p:nvPr/>
        </p:nvGrpSpPr>
        <p:grpSpPr>
          <a:xfrm>
            <a:off x="4954711" y="2433801"/>
            <a:ext cx="702000" cy="701999"/>
            <a:chOff x="3424574" y="2194880"/>
            <a:chExt cx="728663" cy="728662"/>
          </a:xfrm>
        </p:grpSpPr>
        <p:sp>
          <p:nvSpPr>
            <p:cNvPr id="39" name="Freeform 13">
              <a:extLst>
                <a:ext uri="{FF2B5EF4-FFF2-40B4-BE49-F238E27FC236}">
                  <a16:creationId xmlns:a16="http://schemas.microsoft.com/office/drawing/2014/main" id="{77C79E78-3386-2A49-8F5E-1F0E3623F566}"/>
                </a:ext>
              </a:extLst>
            </p:cNvPr>
            <p:cNvSpPr>
              <a:spLocks noChangeArrowheads="1"/>
            </p:cNvSpPr>
            <p:nvPr/>
          </p:nvSpPr>
          <p:spPr bwMode="auto">
            <a:xfrm>
              <a:off x="3424574" y="2194880"/>
              <a:ext cx="728663" cy="728662"/>
            </a:xfrm>
            <a:custGeom>
              <a:avLst/>
              <a:gdLst>
                <a:gd name="T0" fmla="*/ 2021 w 2022"/>
                <a:gd name="T1" fmla="*/ 1011 h 2023"/>
                <a:gd name="T2" fmla="*/ 1886 w 2022"/>
                <a:gd name="T3" fmla="*/ 1516 h 2023"/>
                <a:gd name="T4" fmla="*/ 1516 w 2022"/>
                <a:gd name="T5" fmla="*/ 1886 h 2023"/>
                <a:gd name="T6" fmla="*/ 1011 w 2022"/>
                <a:gd name="T7" fmla="*/ 2022 h 2023"/>
                <a:gd name="T8" fmla="*/ 505 w 2022"/>
                <a:gd name="T9" fmla="*/ 1886 h 2023"/>
                <a:gd name="T10" fmla="*/ 135 w 2022"/>
                <a:gd name="T11" fmla="*/ 1516 h 2023"/>
                <a:gd name="T12" fmla="*/ 0 w 2022"/>
                <a:gd name="T13" fmla="*/ 1011 h 2023"/>
                <a:gd name="T14" fmla="*/ 135 w 2022"/>
                <a:gd name="T15" fmla="*/ 505 h 2023"/>
                <a:gd name="T16" fmla="*/ 505 w 2022"/>
                <a:gd name="T17" fmla="*/ 135 h 2023"/>
                <a:gd name="T18" fmla="*/ 1011 w 2022"/>
                <a:gd name="T19" fmla="*/ 0 h 2023"/>
                <a:gd name="T20" fmla="*/ 1516 w 2022"/>
                <a:gd name="T21" fmla="*/ 135 h 2023"/>
                <a:gd name="T22" fmla="*/ 1886 w 2022"/>
                <a:gd name="T23" fmla="*/ 505 h 2023"/>
                <a:gd name="T24" fmla="*/ 2021 w 2022"/>
                <a:gd name="T25" fmla="*/ 1011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2" h="2023">
                  <a:moveTo>
                    <a:pt x="2021" y="1011"/>
                  </a:moveTo>
                  <a:cubicBezTo>
                    <a:pt x="2021" y="1197"/>
                    <a:pt x="1979" y="1355"/>
                    <a:pt x="1886" y="1516"/>
                  </a:cubicBezTo>
                  <a:cubicBezTo>
                    <a:pt x="1793" y="1677"/>
                    <a:pt x="1677" y="1793"/>
                    <a:pt x="1516" y="1886"/>
                  </a:cubicBezTo>
                  <a:cubicBezTo>
                    <a:pt x="1355" y="1979"/>
                    <a:pt x="1197" y="2022"/>
                    <a:pt x="1011" y="2022"/>
                  </a:cubicBezTo>
                  <a:cubicBezTo>
                    <a:pt x="825" y="2022"/>
                    <a:pt x="666" y="1979"/>
                    <a:pt x="505" y="1886"/>
                  </a:cubicBezTo>
                  <a:cubicBezTo>
                    <a:pt x="344" y="1793"/>
                    <a:pt x="228" y="1677"/>
                    <a:pt x="135" y="1516"/>
                  </a:cubicBezTo>
                  <a:cubicBezTo>
                    <a:pt x="42" y="1355"/>
                    <a:pt x="0" y="1197"/>
                    <a:pt x="0" y="1011"/>
                  </a:cubicBezTo>
                  <a:cubicBezTo>
                    <a:pt x="0" y="825"/>
                    <a:pt x="42" y="666"/>
                    <a:pt x="135" y="505"/>
                  </a:cubicBezTo>
                  <a:cubicBezTo>
                    <a:pt x="228" y="344"/>
                    <a:pt x="344" y="228"/>
                    <a:pt x="505" y="135"/>
                  </a:cubicBezTo>
                  <a:cubicBezTo>
                    <a:pt x="666" y="42"/>
                    <a:pt x="825" y="0"/>
                    <a:pt x="1011" y="0"/>
                  </a:cubicBezTo>
                  <a:cubicBezTo>
                    <a:pt x="1197" y="0"/>
                    <a:pt x="1355" y="42"/>
                    <a:pt x="1516" y="135"/>
                  </a:cubicBezTo>
                  <a:cubicBezTo>
                    <a:pt x="1677" y="228"/>
                    <a:pt x="1793" y="344"/>
                    <a:pt x="1886" y="505"/>
                  </a:cubicBezTo>
                  <a:cubicBezTo>
                    <a:pt x="1979" y="666"/>
                    <a:pt x="2021" y="825"/>
                    <a:pt x="2021" y="1011"/>
                  </a:cubicBezTo>
                </a:path>
              </a:pathLst>
            </a:custGeom>
            <a:solidFill>
              <a:srgbClr val="12151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83" name="Freeform 4">
              <a:extLst>
                <a:ext uri="{FF2B5EF4-FFF2-40B4-BE49-F238E27FC236}">
                  <a16:creationId xmlns:a16="http://schemas.microsoft.com/office/drawing/2014/main" id="{A75404A3-81BC-D74D-9747-4A1360AFE809}"/>
                </a:ext>
              </a:extLst>
            </p:cNvPr>
            <p:cNvSpPr>
              <a:spLocks noChangeAspect="1" noChangeArrowheads="1"/>
            </p:cNvSpPr>
            <p:nvPr/>
          </p:nvSpPr>
          <p:spPr bwMode="auto">
            <a:xfrm>
              <a:off x="3567604" y="2384600"/>
              <a:ext cx="513355" cy="468000"/>
            </a:xfrm>
            <a:custGeom>
              <a:avLst/>
              <a:gdLst>
                <a:gd name="T0" fmla="*/ 289 w 1479"/>
                <a:gd name="T1" fmla="*/ 1278 h 1344"/>
                <a:gd name="T2" fmla="*/ 289 w 1479"/>
                <a:gd name="T3" fmla="*/ 1026 h 1344"/>
                <a:gd name="T4" fmla="*/ 194 w 1479"/>
                <a:gd name="T5" fmla="*/ 1231 h 1344"/>
                <a:gd name="T6" fmla="*/ 0 w 1479"/>
                <a:gd name="T7" fmla="*/ 1078 h 1344"/>
                <a:gd name="T8" fmla="*/ 278 w 1479"/>
                <a:gd name="T9" fmla="*/ 645 h 1344"/>
                <a:gd name="T10" fmla="*/ 347 w 1479"/>
                <a:gd name="T11" fmla="*/ 617 h 1344"/>
                <a:gd name="T12" fmla="*/ 352 w 1479"/>
                <a:gd name="T13" fmla="*/ 617 h 1344"/>
                <a:gd name="T14" fmla="*/ 353 w 1479"/>
                <a:gd name="T15" fmla="*/ 617 h 1344"/>
                <a:gd name="T16" fmla="*/ 355 w 1479"/>
                <a:gd name="T17" fmla="*/ 617 h 1344"/>
                <a:gd name="T18" fmla="*/ 864 w 1479"/>
                <a:gd name="T19" fmla="*/ 617 h 1344"/>
                <a:gd name="T20" fmla="*/ 873 w 1479"/>
                <a:gd name="T21" fmla="*/ 610 h 1344"/>
                <a:gd name="T22" fmla="*/ 1229 w 1479"/>
                <a:gd name="T23" fmla="*/ 88 h 1344"/>
                <a:gd name="T24" fmla="*/ 1393 w 1479"/>
                <a:gd name="T25" fmla="*/ 30 h 1344"/>
                <a:gd name="T26" fmla="*/ 1448 w 1479"/>
                <a:gd name="T27" fmla="*/ 199 h 1344"/>
                <a:gd name="T28" fmla="*/ 1008 w 1479"/>
                <a:gd name="T29" fmla="*/ 819 h 1344"/>
                <a:gd name="T30" fmla="*/ 974 w 1479"/>
                <a:gd name="T31" fmla="*/ 836 h 1344"/>
                <a:gd name="T32" fmla="*/ 974 w 1479"/>
                <a:gd name="T33" fmla="*/ 1263 h 1344"/>
                <a:gd name="T34" fmla="*/ 616 w 1479"/>
                <a:gd name="T35" fmla="*/ 1343 h 1344"/>
                <a:gd name="T36" fmla="*/ 289 w 1479"/>
                <a:gd name="T37" fmla="*/ 1278 h 1344"/>
                <a:gd name="T38" fmla="*/ 611 w 1479"/>
                <a:gd name="T39" fmla="*/ 532 h 1344"/>
                <a:gd name="T40" fmla="*/ 378 w 1479"/>
                <a:gd name="T41" fmla="*/ 292 h 1344"/>
                <a:gd name="T42" fmla="*/ 611 w 1479"/>
                <a:gd name="T43" fmla="*/ 51 h 1344"/>
                <a:gd name="T44" fmla="*/ 844 w 1479"/>
                <a:gd name="T45" fmla="*/ 292 h 1344"/>
                <a:gd name="T46" fmla="*/ 611 w 1479"/>
                <a:gd name="T47" fmla="*/ 532 h 1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79" h="1344">
                  <a:moveTo>
                    <a:pt x="289" y="1278"/>
                  </a:moveTo>
                  <a:lnTo>
                    <a:pt x="289" y="1026"/>
                  </a:lnTo>
                  <a:cubicBezTo>
                    <a:pt x="258" y="1084"/>
                    <a:pt x="226" y="1152"/>
                    <a:pt x="194" y="1231"/>
                  </a:cubicBezTo>
                  <a:cubicBezTo>
                    <a:pt x="122" y="1189"/>
                    <a:pt x="57" y="1138"/>
                    <a:pt x="0" y="1078"/>
                  </a:cubicBezTo>
                  <a:cubicBezTo>
                    <a:pt x="89" y="873"/>
                    <a:pt x="180" y="729"/>
                    <a:pt x="278" y="645"/>
                  </a:cubicBezTo>
                  <a:cubicBezTo>
                    <a:pt x="298" y="628"/>
                    <a:pt x="322" y="619"/>
                    <a:pt x="347" y="617"/>
                  </a:cubicBezTo>
                  <a:cubicBezTo>
                    <a:pt x="349" y="617"/>
                    <a:pt x="350" y="617"/>
                    <a:pt x="352" y="617"/>
                  </a:cubicBezTo>
                  <a:lnTo>
                    <a:pt x="353" y="617"/>
                  </a:lnTo>
                  <a:cubicBezTo>
                    <a:pt x="354" y="617"/>
                    <a:pt x="354" y="617"/>
                    <a:pt x="355" y="617"/>
                  </a:cubicBezTo>
                  <a:lnTo>
                    <a:pt x="864" y="617"/>
                  </a:lnTo>
                  <a:cubicBezTo>
                    <a:pt x="867" y="615"/>
                    <a:pt x="870" y="612"/>
                    <a:pt x="873" y="610"/>
                  </a:cubicBezTo>
                  <a:cubicBezTo>
                    <a:pt x="972" y="541"/>
                    <a:pt x="1094" y="367"/>
                    <a:pt x="1229" y="88"/>
                  </a:cubicBezTo>
                  <a:cubicBezTo>
                    <a:pt x="1259" y="25"/>
                    <a:pt x="1333" y="0"/>
                    <a:pt x="1393" y="30"/>
                  </a:cubicBezTo>
                  <a:cubicBezTo>
                    <a:pt x="1454" y="61"/>
                    <a:pt x="1478" y="137"/>
                    <a:pt x="1448" y="199"/>
                  </a:cubicBezTo>
                  <a:cubicBezTo>
                    <a:pt x="1295" y="514"/>
                    <a:pt x="1152" y="720"/>
                    <a:pt x="1008" y="819"/>
                  </a:cubicBezTo>
                  <a:cubicBezTo>
                    <a:pt x="998" y="827"/>
                    <a:pt x="986" y="832"/>
                    <a:pt x="974" y="836"/>
                  </a:cubicBezTo>
                  <a:lnTo>
                    <a:pt x="974" y="1263"/>
                  </a:lnTo>
                  <a:cubicBezTo>
                    <a:pt x="865" y="1315"/>
                    <a:pt x="743" y="1343"/>
                    <a:pt x="616" y="1343"/>
                  </a:cubicBezTo>
                  <a:cubicBezTo>
                    <a:pt x="500" y="1343"/>
                    <a:pt x="389" y="1320"/>
                    <a:pt x="289" y="1278"/>
                  </a:cubicBezTo>
                  <a:close/>
                  <a:moveTo>
                    <a:pt x="611" y="532"/>
                  </a:moveTo>
                  <a:cubicBezTo>
                    <a:pt x="482" y="532"/>
                    <a:pt x="378" y="425"/>
                    <a:pt x="378" y="292"/>
                  </a:cubicBezTo>
                  <a:cubicBezTo>
                    <a:pt x="378" y="159"/>
                    <a:pt x="482" y="51"/>
                    <a:pt x="611" y="51"/>
                  </a:cubicBezTo>
                  <a:cubicBezTo>
                    <a:pt x="739" y="51"/>
                    <a:pt x="844" y="159"/>
                    <a:pt x="844" y="292"/>
                  </a:cubicBezTo>
                  <a:cubicBezTo>
                    <a:pt x="844" y="425"/>
                    <a:pt x="739" y="532"/>
                    <a:pt x="611" y="532"/>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grpSp>
      <p:grpSp>
        <p:nvGrpSpPr>
          <p:cNvPr id="138" name="Group 137">
            <a:extLst>
              <a:ext uri="{FF2B5EF4-FFF2-40B4-BE49-F238E27FC236}">
                <a16:creationId xmlns:a16="http://schemas.microsoft.com/office/drawing/2014/main" id="{5A5FFA24-509E-574B-905E-979C99BA8646}"/>
              </a:ext>
              <a:ext uri="{C183D7F6-B498-43B3-948B-1728B52AA6E4}">
                <adec:decorative xmlns:adec="http://schemas.microsoft.com/office/drawing/2017/decorative" val="1"/>
              </a:ext>
            </a:extLst>
          </p:cNvPr>
          <p:cNvGrpSpPr>
            <a:grpSpLocks noChangeAspect="1"/>
          </p:cNvGrpSpPr>
          <p:nvPr/>
        </p:nvGrpSpPr>
        <p:grpSpPr>
          <a:xfrm>
            <a:off x="5645487" y="3463291"/>
            <a:ext cx="702000" cy="702000"/>
            <a:chOff x="4121486" y="3463291"/>
            <a:chExt cx="717551" cy="717551"/>
          </a:xfrm>
        </p:grpSpPr>
        <p:sp>
          <p:nvSpPr>
            <p:cNvPr id="19" name="Freeform 16">
              <a:extLst>
                <a:ext uri="{FF2B5EF4-FFF2-40B4-BE49-F238E27FC236}">
                  <a16:creationId xmlns:a16="http://schemas.microsoft.com/office/drawing/2014/main" id="{C8BC695B-799D-B34B-9741-C74C932CEAF4}"/>
                </a:ext>
              </a:extLst>
            </p:cNvPr>
            <p:cNvSpPr>
              <a:spLocks noChangeArrowheads="1"/>
            </p:cNvSpPr>
            <p:nvPr/>
          </p:nvSpPr>
          <p:spPr bwMode="auto">
            <a:xfrm>
              <a:off x="4121486" y="3463291"/>
              <a:ext cx="717551" cy="717551"/>
            </a:xfrm>
            <a:custGeom>
              <a:avLst/>
              <a:gdLst>
                <a:gd name="T0" fmla="*/ 1993 w 1994"/>
                <a:gd name="T1" fmla="*/ 997 h 1995"/>
                <a:gd name="T2" fmla="*/ 1860 w 1994"/>
                <a:gd name="T3" fmla="*/ 1495 h 1995"/>
                <a:gd name="T4" fmla="*/ 1495 w 1994"/>
                <a:gd name="T5" fmla="*/ 1861 h 1995"/>
                <a:gd name="T6" fmla="*/ 997 w 1994"/>
                <a:gd name="T7" fmla="*/ 1994 h 1995"/>
                <a:gd name="T8" fmla="*/ 498 w 1994"/>
                <a:gd name="T9" fmla="*/ 1861 h 1995"/>
                <a:gd name="T10" fmla="*/ 133 w 1994"/>
                <a:gd name="T11" fmla="*/ 1495 h 1995"/>
                <a:gd name="T12" fmla="*/ 0 w 1994"/>
                <a:gd name="T13" fmla="*/ 997 h 1995"/>
                <a:gd name="T14" fmla="*/ 133 w 1994"/>
                <a:gd name="T15" fmla="*/ 499 h 1995"/>
                <a:gd name="T16" fmla="*/ 498 w 1994"/>
                <a:gd name="T17" fmla="*/ 134 h 1995"/>
                <a:gd name="T18" fmla="*/ 997 w 1994"/>
                <a:gd name="T19" fmla="*/ 0 h 1995"/>
                <a:gd name="T20" fmla="*/ 1495 w 1994"/>
                <a:gd name="T21" fmla="*/ 134 h 1995"/>
                <a:gd name="T22" fmla="*/ 1860 w 1994"/>
                <a:gd name="T23" fmla="*/ 499 h 1995"/>
                <a:gd name="T24" fmla="*/ 1993 w 1994"/>
                <a:gd name="T25" fmla="*/ 997 h 1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94" h="1995">
                  <a:moveTo>
                    <a:pt x="1993" y="997"/>
                  </a:moveTo>
                  <a:cubicBezTo>
                    <a:pt x="1993" y="1180"/>
                    <a:pt x="1952" y="1336"/>
                    <a:pt x="1860" y="1495"/>
                  </a:cubicBezTo>
                  <a:cubicBezTo>
                    <a:pt x="1769" y="1654"/>
                    <a:pt x="1654" y="1770"/>
                    <a:pt x="1495" y="1861"/>
                  </a:cubicBezTo>
                  <a:cubicBezTo>
                    <a:pt x="1336" y="1953"/>
                    <a:pt x="1180" y="1994"/>
                    <a:pt x="997" y="1994"/>
                  </a:cubicBezTo>
                  <a:cubicBezTo>
                    <a:pt x="813" y="1994"/>
                    <a:pt x="657" y="1953"/>
                    <a:pt x="498" y="1861"/>
                  </a:cubicBezTo>
                  <a:cubicBezTo>
                    <a:pt x="339" y="1770"/>
                    <a:pt x="225" y="1654"/>
                    <a:pt x="133" y="1495"/>
                  </a:cubicBezTo>
                  <a:cubicBezTo>
                    <a:pt x="41" y="1336"/>
                    <a:pt x="0" y="1181"/>
                    <a:pt x="0" y="997"/>
                  </a:cubicBezTo>
                  <a:cubicBezTo>
                    <a:pt x="0" y="814"/>
                    <a:pt x="41" y="658"/>
                    <a:pt x="133" y="499"/>
                  </a:cubicBezTo>
                  <a:cubicBezTo>
                    <a:pt x="225" y="340"/>
                    <a:pt x="339" y="226"/>
                    <a:pt x="498" y="134"/>
                  </a:cubicBezTo>
                  <a:cubicBezTo>
                    <a:pt x="657" y="42"/>
                    <a:pt x="813" y="0"/>
                    <a:pt x="997" y="0"/>
                  </a:cubicBezTo>
                  <a:cubicBezTo>
                    <a:pt x="1179" y="0"/>
                    <a:pt x="1336" y="42"/>
                    <a:pt x="1495" y="134"/>
                  </a:cubicBezTo>
                  <a:cubicBezTo>
                    <a:pt x="1654" y="226"/>
                    <a:pt x="1769" y="340"/>
                    <a:pt x="1860" y="499"/>
                  </a:cubicBezTo>
                  <a:cubicBezTo>
                    <a:pt x="1952" y="658"/>
                    <a:pt x="1993" y="814"/>
                    <a:pt x="1993" y="997"/>
                  </a:cubicBezTo>
                </a:path>
              </a:pathLst>
            </a:custGeom>
            <a:solidFill>
              <a:srgbClr val="4A90E2"/>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grpSp>
          <p:nvGrpSpPr>
            <p:cNvPr id="10" name="Group 9">
              <a:extLst>
                <a:ext uri="{FF2B5EF4-FFF2-40B4-BE49-F238E27FC236}">
                  <a16:creationId xmlns:a16="http://schemas.microsoft.com/office/drawing/2014/main" id="{A5FCAFB1-06DE-5146-9F4B-838CEB85DE8D}"/>
                </a:ext>
              </a:extLst>
            </p:cNvPr>
            <p:cNvGrpSpPr>
              <a:grpSpLocks noChangeAspect="1"/>
            </p:cNvGrpSpPr>
            <p:nvPr/>
          </p:nvGrpSpPr>
          <p:grpSpPr>
            <a:xfrm>
              <a:off x="4178051" y="3518407"/>
              <a:ext cx="575907" cy="612000"/>
              <a:chOff x="4188682" y="3534355"/>
              <a:chExt cx="582612" cy="619125"/>
            </a:xfrm>
          </p:grpSpPr>
          <p:sp>
            <p:nvSpPr>
              <p:cNvPr id="89" name="Freeform 7">
                <a:extLst>
                  <a:ext uri="{FF2B5EF4-FFF2-40B4-BE49-F238E27FC236}">
                    <a16:creationId xmlns:a16="http://schemas.microsoft.com/office/drawing/2014/main" id="{684903F2-3EEA-BA47-A7E9-FF653BE40E09}"/>
                  </a:ext>
                </a:extLst>
              </p:cNvPr>
              <p:cNvSpPr>
                <a:spLocks noChangeArrowheads="1"/>
              </p:cNvSpPr>
              <p:nvPr/>
            </p:nvSpPr>
            <p:spPr bwMode="auto">
              <a:xfrm>
                <a:off x="4282859" y="3695402"/>
                <a:ext cx="468312" cy="439738"/>
              </a:xfrm>
              <a:custGeom>
                <a:avLst/>
                <a:gdLst>
                  <a:gd name="T0" fmla="*/ 342 w 1300"/>
                  <a:gd name="T1" fmla="*/ 742 h 1222"/>
                  <a:gd name="T2" fmla="*/ 37 w 1300"/>
                  <a:gd name="T3" fmla="*/ 244 h 1222"/>
                  <a:gd name="T4" fmla="*/ 104 w 1300"/>
                  <a:gd name="T5" fmla="*/ 38 h 1222"/>
                  <a:gd name="T6" fmla="*/ 306 w 1300"/>
                  <a:gd name="T7" fmla="*/ 108 h 1222"/>
                  <a:gd name="T8" fmla="*/ 488 w 1300"/>
                  <a:gd name="T9" fmla="*/ 433 h 1222"/>
                  <a:gd name="T10" fmla="*/ 990 w 1300"/>
                  <a:gd name="T11" fmla="*/ 433 h 1222"/>
                  <a:gd name="T12" fmla="*/ 992 w 1300"/>
                  <a:gd name="T13" fmla="*/ 433 h 1222"/>
                  <a:gd name="T14" fmla="*/ 993 w 1300"/>
                  <a:gd name="T15" fmla="*/ 433 h 1222"/>
                  <a:gd name="T16" fmla="*/ 1000 w 1300"/>
                  <a:gd name="T17" fmla="*/ 434 h 1222"/>
                  <a:gd name="T18" fmla="*/ 1085 w 1300"/>
                  <a:gd name="T19" fmla="*/ 468 h 1222"/>
                  <a:gd name="T20" fmla="*/ 1291 w 1300"/>
                  <a:gd name="T21" fmla="*/ 746 h 1222"/>
                  <a:gd name="T22" fmla="*/ 1299 w 1300"/>
                  <a:gd name="T23" fmla="*/ 760 h 1222"/>
                  <a:gd name="T24" fmla="*/ 1291 w 1300"/>
                  <a:gd name="T25" fmla="*/ 774 h 1222"/>
                  <a:gd name="T26" fmla="*/ 529 w 1300"/>
                  <a:gd name="T27" fmla="*/ 1221 h 1222"/>
                  <a:gd name="T28" fmla="*/ 365 w 1300"/>
                  <a:gd name="T29" fmla="*/ 1205 h 1222"/>
                  <a:gd name="T30" fmla="*/ 342 w 1300"/>
                  <a:gd name="T31" fmla="*/ 1201 h 1222"/>
                  <a:gd name="T32" fmla="*/ 342 w 1300"/>
                  <a:gd name="T33" fmla="*/ 74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0" h="1222">
                    <a:moveTo>
                      <a:pt x="342" y="742"/>
                    </a:moveTo>
                    <a:cubicBezTo>
                      <a:pt x="243" y="627"/>
                      <a:pt x="143" y="462"/>
                      <a:pt x="37" y="244"/>
                    </a:cubicBezTo>
                    <a:cubicBezTo>
                      <a:pt x="0" y="168"/>
                      <a:pt x="30" y="76"/>
                      <a:pt x="104" y="38"/>
                    </a:cubicBezTo>
                    <a:cubicBezTo>
                      <a:pt x="179" y="0"/>
                      <a:pt x="269" y="32"/>
                      <a:pt x="306" y="108"/>
                    </a:cubicBezTo>
                    <a:cubicBezTo>
                      <a:pt x="370" y="239"/>
                      <a:pt x="431" y="348"/>
                      <a:pt x="488" y="433"/>
                    </a:cubicBezTo>
                    <a:lnTo>
                      <a:pt x="990" y="433"/>
                    </a:lnTo>
                    <a:cubicBezTo>
                      <a:pt x="991" y="433"/>
                      <a:pt x="991" y="433"/>
                      <a:pt x="992" y="433"/>
                    </a:cubicBezTo>
                    <a:lnTo>
                      <a:pt x="993" y="433"/>
                    </a:lnTo>
                    <a:cubicBezTo>
                      <a:pt x="995" y="433"/>
                      <a:pt x="998" y="433"/>
                      <a:pt x="1000" y="434"/>
                    </a:cubicBezTo>
                    <a:cubicBezTo>
                      <a:pt x="1031" y="435"/>
                      <a:pt x="1061" y="447"/>
                      <a:pt x="1085" y="468"/>
                    </a:cubicBezTo>
                    <a:cubicBezTo>
                      <a:pt x="1157" y="531"/>
                      <a:pt x="1225" y="623"/>
                      <a:pt x="1291" y="746"/>
                    </a:cubicBezTo>
                    <a:lnTo>
                      <a:pt x="1299" y="760"/>
                    </a:lnTo>
                    <a:lnTo>
                      <a:pt x="1291" y="774"/>
                    </a:lnTo>
                    <a:cubicBezTo>
                      <a:pt x="1137" y="1047"/>
                      <a:pt x="848" y="1221"/>
                      <a:pt x="529" y="1221"/>
                    </a:cubicBezTo>
                    <a:cubicBezTo>
                      <a:pt x="474" y="1221"/>
                      <a:pt x="419" y="1216"/>
                      <a:pt x="365" y="1205"/>
                    </a:cubicBezTo>
                    <a:lnTo>
                      <a:pt x="342" y="1201"/>
                    </a:lnTo>
                    <a:lnTo>
                      <a:pt x="342" y="742"/>
                    </a:lnTo>
                  </a:path>
                </a:pathLst>
              </a:custGeom>
              <a:noFill/>
              <a:ln w="20160" cap="flat">
                <a:solidFill>
                  <a:srgbClr val="4A90E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90" name="Freeform 8">
                <a:extLst>
                  <a:ext uri="{FF2B5EF4-FFF2-40B4-BE49-F238E27FC236}">
                    <a16:creationId xmlns:a16="http://schemas.microsoft.com/office/drawing/2014/main" id="{8B6DCBB1-49C0-AC44-8ACF-A3BD5F79E498}"/>
                  </a:ext>
                </a:extLst>
              </p:cNvPr>
              <p:cNvSpPr>
                <a:spLocks noChangeArrowheads="1"/>
              </p:cNvSpPr>
              <p:nvPr/>
            </p:nvSpPr>
            <p:spPr bwMode="auto">
              <a:xfrm>
                <a:off x="4454309" y="3647777"/>
                <a:ext cx="188912" cy="193675"/>
              </a:xfrm>
              <a:custGeom>
                <a:avLst/>
                <a:gdLst>
                  <a:gd name="T0" fmla="*/ 261 w 523"/>
                  <a:gd name="T1" fmla="*/ 537 h 538"/>
                  <a:gd name="T2" fmla="*/ 0 w 523"/>
                  <a:gd name="T3" fmla="*/ 269 h 538"/>
                  <a:gd name="T4" fmla="*/ 261 w 523"/>
                  <a:gd name="T5" fmla="*/ 0 h 538"/>
                  <a:gd name="T6" fmla="*/ 522 w 523"/>
                  <a:gd name="T7" fmla="*/ 269 h 538"/>
                  <a:gd name="T8" fmla="*/ 261 w 523"/>
                  <a:gd name="T9" fmla="*/ 537 h 538"/>
                </a:gdLst>
                <a:ahLst/>
                <a:cxnLst>
                  <a:cxn ang="0">
                    <a:pos x="T0" y="T1"/>
                  </a:cxn>
                  <a:cxn ang="0">
                    <a:pos x="T2" y="T3"/>
                  </a:cxn>
                  <a:cxn ang="0">
                    <a:pos x="T4" y="T5"/>
                  </a:cxn>
                  <a:cxn ang="0">
                    <a:pos x="T6" y="T7"/>
                  </a:cxn>
                  <a:cxn ang="0">
                    <a:pos x="T8" y="T9"/>
                  </a:cxn>
                </a:cxnLst>
                <a:rect l="0" t="0" r="r" b="b"/>
                <a:pathLst>
                  <a:path w="523" h="538">
                    <a:moveTo>
                      <a:pt x="261" y="537"/>
                    </a:moveTo>
                    <a:cubicBezTo>
                      <a:pt x="116" y="537"/>
                      <a:pt x="0" y="418"/>
                      <a:pt x="0" y="269"/>
                    </a:cubicBezTo>
                    <a:cubicBezTo>
                      <a:pt x="0" y="121"/>
                      <a:pt x="117" y="0"/>
                      <a:pt x="261" y="0"/>
                    </a:cubicBezTo>
                    <a:cubicBezTo>
                      <a:pt x="406" y="0"/>
                      <a:pt x="522" y="121"/>
                      <a:pt x="522" y="269"/>
                    </a:cubicBezTo>
                    <a:cubicBezTo>
                      <a:pt x="522" y="418"/>
                      <a:pt x="405" y="537"/>
                      <a:pt x="261" y="537"/>
                    </a:cubicBezTo>
                  </a:path>
                </a:pathLst>
              </a:custGeom>
              <a:noFill/>
              <a:ln w="20160" cap="flat">
                <a:solidFill>
                  <a:srgbClr val="4A90E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93" name="Freeform 4">
                <a:extLst>
                  <a:ext uri="{FF2B5EF4-FFF2-40B4-BE49-F238E27FC236}">
                    <a16:creationId xmlns:a16="http://schemas.microsoft.com/office/drawing/2014/main" id="{AADA14FB-B72A-E246-AEB7-876AE2FB6567}"/>
                  </a:ext>
                </a:extLst>
              </p:cNvPr>
              <p:cNvSpPr>
                <a:spLocks noChangeArrowheads="1"/>
              </p:cNvSpPr>
              <p:nvPr/>
            </p:nvSpPr>
            <p:spPr bwMode="auto">
              <a:xfrm>
                <a:off x="4188682" y="3534355"/>
                <a:ext cx="517525" cy="517525"/>
              </a:xfrm>
              <a:custGeom>
                <a:avLst/>
                <a:gdLst>
                  <a:gd name="T0" fmla="*/ 241 w 1438"/>
                  <a:gd name="T1" fmla="*/ 1437 h 1438"/>
                  <a:gd name="T2" fmla="*/ 0 w 1438"/>
                  <a:gd name="T3" fmla="*/ 846 h 1438"/>
                  <a:gd name="T4" fmla="*/ 846 w 1438"/>
                  <a:gd name="T5" fmla="*/ 0 h 1438"/>
                  <a:gd name="T6" fmla="*/ 1437 w 1438"/>
                  <a:gd name="T7" fmla="*/ 242 h 1438"/>
                  <a:gd name="T8" fmla="*/ 1437 w 1438"/>
                  <a:gd name="T9" fmla="*/ 1437 h 1438"/>
                  <a:gd name="T10" fmla="*/ 241 w 1438"/>
                  <a:gd name="T11" fmla="*/ 1437 h 1438"/>
                </a:gdLst>
                <a:ahLst/>
                <a:cxnLst>
                  <a:cxn ang="0">
                    <a:pos x="T0" y="T1"/>
                  </a:cxn>
                  <a:cxn ang="0">
                    <a:pos x="T2" y="T3"/>
                  </a:cxn>
                  <a:cxn ang="0">
                    <a:pos x="T4" y="T5"/>
                  </a:cxn>
                  <a:cxn ang="0">
                    <a:pos x="T6" y="T7"/>
                  </a:cxn>
                  <a:cxn ang="0">
                    <a:pos x="T8" y="T9"/>
                  </a:cxn>
                  <a:cxn ang="0">
                    <a:pos x="T10" y="T11"/>
                  </a:cxn>
                </a:cxnLst>
                <a:rect l="0" t="0" r="r" b="b"/>
                <a:pathLst>
                  <a:path w="1438" h="1438">
                    <a:moveTo>
                      <a:pt x="241" y="1437"/>
                    </a:moveTo>
                    <a:cubicBezTo>
                      <a:pt x="92" y="1285"/>
                      <a:pt x="0" y="1076"/>
                      <a:pt x="0" y="846"/>
                    </a:cubicBezTo>
                    <a:cubicBezTo>
                      <a:pt x="0" y="379"/>
                      <a:pt x="379" y="0"/>
                      <a:pt x="846" y="0"/>
                    </a:cubicBezTo>
                    <a:cubicBezTo>
                      <a:pt x="1076" y="0"/>
                      <a:pt x="1285" y="92"/>
                      <a:pt x="1437" y="242"/>
                    </a:cubicBezTo>
                    <a:lnTo>
                      <a:pt x="1437" y="1437"/>
                    </a:lnTo>
                    <a:lnTo>
                      <a:pt x="241" y="1437"/>
                    </a:lnTo>
                  </a:path>
                </a:pathLst>
              </a:custGeom>
              <a:solidFill>
                <a:srgbClr val="C8DDF6">
                  <a:alpha val="29999"/>
                </a:srgbClr>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dirty="0"/>
              </a:p>
            </p:txBody>
          </p:sp>
          <p:sp>
            <p:nvSpPr>
              <p:cNvPr id="95" name="Freeform 6">
                <a:extLst>
                  <a:ext uri="{FF2B5EF4-FFF2-40B4-BE49-F238E27FC236}">
                    <a16:creationId xmlns:a16="http://schemas.microsoft.com/office/drawing/2014/main" id="{9398BC77-5EC7-F14F-AC8A-CA97D922DB22}"/>
                  </a:ext>
                </a:extLst>
              </p:cNvPr>
              <p:cNvSpPr>
                <a:spLocks noChangeArrowheads="1"/>
              </p:cNvSpPr>
              <p:nvPr/>
            </p:nvSpPr>
            <p:spPr bwMode="auto">
              <a:xfrm>
                <a:off x="4302982" y="3666117"/>
                <a:ext cx="468312" cy="487363"/>
              </a:xfrm>
              <a:custGeom>
                <a:avLst/>
                <a:gdLst>
                  <a:gd name="T0" fmla="*/ 342 w 1300"/>
                  <a:gd name="T1" fmla="*/ 875 h 1355"/>
                  <a:gd name="T2" fmla="*/ 37 w 1300"/>
                  <a:gd name="T3" fmla="*/ 377 h 1355"/>
                  <a:gd name="T4" fmla="*/ 104 w 1300"/>
                  <a:gd name="T5" fmla="*/ 171 h 1355"/>
                  <a:gd name="T6" fmla="*/ 306 w 1300"/>
                  <a:gd name="T7" fmla="*/ 241 h 1355"/>
                  <a:gd name="T8" fmla="*/ 488 w 1300"/>
                  <a:gd name="T9" fmla="*/ 566 h 1355"/>
                  <a:gd name="T10" fmla="*/ 990 w 1300"/>
                  <a:gd name="T11" fmla="*/ 566 h 1355"/>
                  <a:gd name="T12" fmla="*/ 992 w 1300"/>
                  <a:gd name="T13" fmla="*/ 566 h 1355"/>
                  <a:gd name="T14" fmla="*/ 993 w 1300"/>
                  <a:gd name="T15" fmla="*/ 566 h 1355"/>
                  <a:gd name="T16" fmla="*/ 1000 w 1300"/>
                  <a:gd name="T17" fmla="*/ 567 h 1355"/>
                  <a:gd name="T18" fmla="*/ 1085 w 1300"/>
                  <a:gd name="T19" fmla="*/ 601 h 1355"/>
                  <a:gd name="T20" fmla="*/ 1291 w 1300"/>
                  <a:gd name="T21" fmla="*/ 879 h 1355"/>
                  <a:gd name="T22" fmla="*/ 1299 w 1300"/>
                  <a:gd name="T23" fmla="*/ 893 h 1355"/>
                  <a:gd name="T24" fmla="*/ 1291 w 1300"/>
                  <a:gd name="T25" fmla="*/ 907 h 1355"/>
                  <a:gd name="T26" fmla="*/ 529 w 1300"/>
                  <a:gd name="T27" fmla="*/ 1354 h 1355"/>
                  <a:gd name="T28" fmla="*/ 365 w 1300"/>
                  <a:gd name="T29" fmla="*/ 1338 h 1355"/>
                  <a:gd name="T30" fmla="*/ 342 w 1300"/>
                  <a:gd name="T31" fmla="*/ 1334 h 1355"/>
                  <a:gd name="T32" fmla="*/ 342 w 1300"/>
                  <a:gd name="T33" fmla="*/ 875 h 1355"/>
                  <a:gd name="T34" fmla="*/ 734 w 1300"/>
                  <a:gd name="T35" fmla="*/ 537 h 1355"/>
                  <a:gd name="T36" fmla="*/ 473 w 1300"/>
                  <a:gd name="T37" fmla="*/ 269 h 1355"/>
                  <a:gd name="T38" fmla="*/ 734 w 1300"/>
                  <a:gd name="T39" fmla="*/ 0 h 1355"/>
                  <a:gd name="T40" fmla="*/ 995 w 1300"/>
                  <a:gd name="T41" fmla="*/ 269 h 1355"/>
                  <a:gd name="T42" fmla="*/ 734 w 1300"/>
                  <a:gd name="T43" fmla="*/ 537 h 1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300" h="1355">
                    <a:moveTo>
                      <a:pt x="342" y="875"/>
                    </a:moveTo>
                    <a:cubicBezTo>
                      <a:pt x="243" y="760"/>
                      <a:pt x="143" y="595"/>
                      <a:pt x="37" y="377"/>
                    </a:cubicBezTo>
                    <a:cubicBezTo>
                      <a:pt x="0" y="301"/>
                      <a:pt x="30" y="209"/>
                      <a:pt x="104" y="171"/>
                    </a:cubicBezTo>
                    <a:cubicBezTo>
                      <a:pt x="179" y="133"/>
                      <a:pt x="269" y="165"/>
                      <a:pt x="306" y="241"/>
                    </a:cubicBezTo>
                    <a:cubicBezTo>
                      <a:pt x="370" y="372"/>
                      <a:pt x="431" y="481"/>
                      <a:pt x="488" y="566"/>
                    </a:cubicBezTo>
                    <a:lnTo>
                      <a:pt x="990" y="566"/>
                    </a:lnTo>
                    <a:cubicBezTo>
                      <a:pt x="991" y="566"/>
                      <a:pt x="991" y="566"/>
                      <a:pt x="992" y="566"/>
                    </a:cubicBezTo>
                    <a:lnTo>
                      <a:pt x="993" y="566"/>
                    </a:lnTo>
                    <a:cubicBezTo>
                      <a:pt x="995" y="566"/>
                      <a:pt x="998" y="566"/>
                      <a:pt x="1000" y="567"/>
                    </a:cubicBezTo>
                    <a:cubicBezTo>
                      <a:pt x="1031" y="568"/>
                      <a:pt x="1061" y="580"/>
                      <a:pt x="1085" y="601"/>
                    </a:cubicBezTo>
                    <a:cubicBezTo>
                      <a:pt x="1157" y="664"/>
                      <a:pt x="1225" y="756"/>
                      <a:pt x="1291" y="879"/>
                    </a:cubicBezTo>
                    <a:lnTo>
                      <a:pt x="1299" y="893"/>
                    </a:lnTo>
                    <a:lnTo>
                      <a:pt x="1291" y="907"/>
                    </a:lnTo>
                    <a:cubicBezTo>
                      <a:pt x="1137" y="1180"/>
                      <a:pt x="848" y="1354"/>
                      <a:pt x="529" y="1354"/>
                    </a:cubicBezTo>
                    <a:cubicBezTo>
                      <a:pt x="474" y="1354"/>
                      <a:pt x="419" y="1349"/>
                      <a:pt x="365" y="1338"/>
                    </a:cubicBezTo>
                    <a:lnTo>
                      <a:pt x="342" y="1334"/>
                    </a:lnTo>
                    <a:lnTo>
                      <a:pt x="342" y="875"/>
                    </a:lnTo>
                    <a:close/>
                    <a:moveTo>
                      <a:pt x="734" y="537"/>
                    </a:moveTo>
                    <a:cubicBezTo>
                      <a:pt x="589" y="537"/>
                      <a:pt x="473" y="418"/>
                      <a:pt x="473" y="269"/>
                    </a:cubicBezTo>
                    <a:cubicBezTo>
                      <a:pt x="473" y="121"/>
                      <a:pt x="590" y="0"/>
                      <a:pt x="734" y="0"/>
                    </a:cubicBezTo>
                    <a:cubicBezTo>
                      <a:pt x="879" y="0"/>
                      <a:pt x="995" y="121"/>
                      <a:pt x="995" y="269"/>
                    </a:cubicBezTo>
                    <a:cubicBezTo>
                      <a:pt x="995" y="418"/>
                      <a:pt x="878" y="537"/>
                      <a:pt x="734" y="537"/>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96" name="Freeform 7">
                <a:extLst>
                  <a:ext uri="{FF2B5EF4-FFF2-40B4-BE49-F238E27FC236}">
                    <a16:creationId xmlns:a16="http://schemas.microsoft.com/office/drawing/2014/main" id="{1A966617-A2B6-3E4F-AD77-64AAFF9A4197}"/>
                  </a:ext>
                </a:extLst>
              </p:cNvPr>
              <p:cNvSpPr>
                <a:spLocks noChangeArrowheads="1"/>
              </p:cNvSpPr>
              <p:nvPr/>
            </p:nvSpPr>
            <p:spPr bwMode="auto">
              <a:xfrm>
                <a:off x="4302982" y="3713742"/>
                <a:ext cx="468312" cy="439738"/>
              </a:xfrm>
              <a:custGeom>
                <a:avLst/>
                <a:gdLst>
                  <a:gd name="T0" fmla="*/ 342 w 1300"/>
                  <a:gd name="T1" fmla="*/ 742 h 1222"/>
                  <a:gd name="T2" fmla="*/ 37 w 1300"/>
                  <a:gd name="T3" fmla="*/ 244 h 1222"/>
                  <a:gd name="T4" fmla="*/ 104 w 1300"/>
                  <a:gd name="T5" fmla="*/ 38 h 1222"/>
                  <a:gd name="T6" fmla="*/ 306 w 1300"/>
                  <a:gd name="T7" fmla="*/ 108 h 1222"/>
                  <a:gd name="T8" fmla="*/ 488 w 1300"/>
                  <a:gd name="T9" fmla="*/ 433 h 1222"/>
                  <a:gd name="T10" fmla="*/ 990 w 1300"/>
                  <a:gd name="T11" fmla="*/ 433 h 1222"/>
                  <a:gd name="T12" fmla="*/ 992 w 1300"/>
                  <a:gd name="T13" fmla="*/ 433 h 1222"/>
                  <a:gd name="T14" fmla="*/ 993 w 1300"/>
                  <a:gd name="T15" fmla="*/ 433 h 1222"/>
                  <a:gd name="T16" fmla="*/ 1000 w 1300"/>
                  <a:gd name="T17" fmla="*/ 434 h 1222"/>
                  <a:gd name="T18" fmla="*/ 1085 w 1300"/>
                  <a:gd name="T19" fmla="*/ 468 h 1222"/>
                  <a:gd name="T20" fmla="*/ 1291 w 1300"/>
                  <a:gd name="T21" fmla="*/ 746 h 1222"/>
                  <a:gd name="T22" fmla="*/ 1299 w 1300"/>
                  <a:gd name="T23" fmla="*/ 760 h 1222"/>
                  <a:gd name="T24" fmla="*/ 1291 w 1300"/>
                  <a:gd name="T25" fmla="*/ 774 h 1222"/>
                  <a:gd name="T26" fmla="*/ 529 w 1300"/>
                  <a:gd name="T27" fmla="*/ 1221 h 1222"/>
                  <a:gd name="T28" fmla="*/ 365 w 1300"/>
                  <a:gd name="T29" fmla="*/ 1205 h 1222"/>
                  <a:gd name="T30" fmla="*/ 342 w 1300"/>
                  <a:gd name="T31" fmla="*/ 1201 h 1222"/>
                  <a:gd name="T32" fmla="*/ 342 w 1300"/>
                  <a:gd name="T33" fmla="*/ 742 h 1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300" h="1222">
                    <a:moveTo>
                      <a:pt x="342" y="742"/>
                    </a:moveTo>
                    <a:cubicBezTo>
                      <a:pt x="243" y="627"/>
                      <a:pt x="143" y="462"/>
                      <a:pt x="37" y="244"/>
                    </a:cubicBezTo>
                    <a:cubicBezTo>
                      <a:pt x="0" y="168"/>
                      <a:pt x="30" y="76"/>
                      <a:pt x="104" y="38"/>
                    </a:cubicBezTo>
                    <a:cubicBezTo>
                      <a:pt x="179" y="0"/>
                      <a:pt x="269" y="32"/>
                      <a:pt x="306" y="108"/>
                    </a:cubicBezTo>
                    <a:cubicBezTo>
                      <a:pt x="370" y="239"/>
                      <a:pt x="431" y="348"/>
                      <a:pt x="488" y="433"/>
                    </a:cubicBezTo>
                    <a:lnTo>
                      <a:pt x="990" y="433"/>
                    </a:lnTo>
                    <a:cubicBezTo>
                      <a:pt x="991" y="433"/>
                      <a:pt x="991" y="433"/>
                      <a:pt x="992" y="433"/>
                    </a:cubicBezTo>
                    <a:lnTo>
                      <a:pt x="993" y="433"/>
                    </a:lnTo>
                    <a:cubicBezTo>
                      <a:pt x="995" y="433"/>
                      <a:pt x="998" y="433"/>
                      <a:pt x="1000" y="434"/>
                    </a:cubicBezTo>
                    <a:cubicBezTo>
                      <a:pt x="1031" y="435"/>
                      <a:pt x="1061" y="447"/>
                      <a:pt x="1085" y="468"/>
                    </a:cubicBezTo>
                    <a:cubicBezTo>
                      <a:pt x="1157" y="531"/>
                      <a:pt x="1225" y="623"/>
                      <a:pt x="1291" y="746"/>
                    </a:cubicBezTo>
                    <a:lnTo>
                      <a:pt x="1299" y="760"/>
                    </a:lnTo>
                    <a:lnTo>
                      <a:pt x="1291" y="774"/>
                    </a:lnTo>
                    <a:cubicBezTo>
                      <a:pt x="1137" y="1047"/>
                      <a:pt x="848" y="1221"/>
                      <a:pt x="529" y="1221"/>
                    </a:cubicBezTo>
                    <a:cubicBezTo>
                      <a:pt x="474" y="1221"/>
                      <a:pt x="419" y="1216"/>
                      <a:pt x="365" y="1205"/>
                    </a:cubicBezTo>
                    <a:lnTo>
                      <a:pt x="342" y="1201"/>
                    </a:lnTo>
                    <a:lnTo>
                      <a:pt x="342" y="742"/>
                    </a:lnTo>
                  </a:path>
                </a:pathLst>
              </a:custGeom>
              <a:noFill/>
              <a:ln w="20160" cap="flat">
                <a:solidFill>
                  <a:srgbClr val="4A90E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97" name="Freeform 8">
                <a:extLst>
                  <a:ext uri="{FF2B5EF4-FFF2-40B4-BE49-F238E27FC236}">
                    <a16:creationId xmlns:a16="http://schemas.microsoft.com/office/drawing/2014/main" id="{B44DE144-3931-ED4E-86EE-CE622FBDB3B1}"/>
                  </a:ext>
                </a:extLst>
              </p:cNvPr>
              <p:cNvSpPr>
                <a:spLocks noChangeArrowheads="1"/>
              </p:cNvSpPr>
              <p:nvPr/>
            </p:nvSpPr>
            <p:spPr bwMode="auto">
              <a:xfrm>
                <a:off x="4474432" y="3666117"/>
                <a:ext cx="188912" cy="193675"/>
              </a:xfrm>
              <a:custGeom>
                <a:avLst/>
                <a:gdLst>
                  <a:gd name="T0" fmla="*/ 261 w 523"/>
                  <a:gd name="T1" fmla="*/ 537 h 538"/>
                  <a:gd name="T2" fmla="*/ 0 w 523"/>
                  <a:gd name="T3" fmla="*/ 269 h 538"/>
                  <a:gd name="T4" fmla="*/ 261 w 523"/>
                  <a:gd name="T5" fmla="*/ 0 h 538"/>
                  <a:gd name="T6" fmla="*/ 522 w 523"/>
                  <a:gd name="T7" fmla="*/ 269 h 538"/>
                  <a:gd name="T8" fmla="*/ 261 w 523"/>
                  <a:gd name="T9" fmla="*/ 537 h 538"/>
                </a:gdLst>
                <a:ahLst/>
                <a:cxnLst>
                  <a:cxn ang="0">
                    <a:pos x="T0" y="T1"/>
                  </a:cxn>
                  <a:cxn ang="0">
                    <a:pos x="T2" y="T3"/>
                  </a:cxn>
                  <a:cxn ang="0">
                    <a:pos x="T4" y="T5"/>
                  </a:cxn>
                  <a:cxn ang="0">
                    <a:pos x="T6" y="T7"/>
                  </a:cxn>
                  <a:cxn ang="0">
                    <a:pos x="T8" y="T9"/>
                  </a:cxn>
                </a:cxnLst>
                <a:rect l="0" t="0" r="r" b="b"/>
                <a:pathLst>
                  <a:path w="523" h="538">
                    <a:moveTo>
                      <a:pt x="261" y="537"/>
                    </a:moveTo>
                    <a:cubicBezTo>
                      <a:pt x="116" y="537"/>
                      <a:pt x="0" y="418"/>
                      <a:pt x="0" y="269"/>
                    </a:cubicBezTo>
                    <a:cubicBezTo>
                      <a:pt x="0" y="121"/>
                      <a:pt x="117" y="0"/>
                      <a:pt x="261" y="0"/>
                    </a:cubicBezTo>
                    <a:cubicBezTo>
                      <a:pt x="406" y="0"/>
                      <a:pt x="522" y="121"/>
                      <a:pt x="522" y="269"/>
                    </a:cubicBezTo>
                    <a:cubicBezTo>
                      <a:pt x="522" y="418"/>
                      <a:pt x="405" y="537"/>
                      <a:pt x="261" y="537"/>
                    </a:cubicBezTo>
                  </a:path>
                </a:pathLst>
              </a:custGeom>
              <a:noFill/>
              <a:ln w="20160" cap="flat">
                <a:solidFill>
                  <a:srgbClr val="4A90E2"/>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98" name="Line 9">
                <a:extLst>
                  <a:ext uri="{FF2B5EF4-FFF2-40B4-BE49-F238E27FC236}">
                    <a16:creationId xmlns:a16="http://schemas.microsoft.com/office/drawing/2014/main" id="{08927BB0-CCCA-2741-B62E-31390377FC9B}"/>
                  </a:ext>
                </a:extLst>
              </p:cNvPr>
              <p:cNvSpPr>
                <a:spLocks noChangeShapeType="1"/>
              </p:cNvSpPr>
              <p:nvPr/>
            </p:nvSpPr>
            <p:spPr bwMode="auto">
              <a:xfrm flipH="1" flipV="1">
                <a:off x="4282859" y="3615095"/>
                <a:ext cx="51873" cy="85947"/>
              </a:xfrm>
              <a:prstGeom prst="line">
                <a:avLst/>
              </a:prstGeom>
              <a:noFill/>
              <a:ln w="29520" cap="rnd">
                <a:solidFill>
                  <a:srgbClr val="FFFFFF"/>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US" sz="1800"/>
              </a:p>
            </p:txBody>
          </p:sp>
        </p:grpSp>
      </p:grpSp>
      <p:grpSp>
        <p:nvGrpSpPr>
          <p:cNvPr id="140" name="Group 139">
            <a:extLst>
              <a:ext uri="{FF2B5EF4-FFF2-40B4-BE49-F238E27FC236}">
                <a16:creationId xmlns:a16="http://schemas.microsoft.com/office/drawing/2014/main" id="{546463C5-FD0A-9D4C-BD86-11A7501C945A}"/>
              </a:ext>
              <a:ext uri="{C183D7F6-B498-43B3-948B-1728B52AA6E4}">
                <adec:decorative xmlns:adec="http://schemas.microsoft.com/office/drawing/2017/decorative" val="1"/>
              </a:ext>
            </a:extLst>
          </p:cNvPr>
          <p:cNvGrpSpPr/>
          <p:nvPr/>
        </p:nvGrpSpPr>
        <p:grpSpPr>
          <a:xfrm>
            <a:off x="6517907" y="3698244"/>
            <a:ext cx="246768" cy="1241425"/>
            <a:chOff x="4993907" y="3698242"/>
            <a:chExt cx="246768" cy="1241425"/>
          </a:xfrm>
        </p:grpSpPr>
        <p:sp>
          <p:nvSpPr>
            <p:cNvPr id="67" name="Freeform 66">
              <a:extLst>
                <a:ext uri="{FF2B5EF4-FFF2-40B4-BE49-F238E27FC236}">
                  <a16:creationId xmlns:a16="http://schemas.microsoft.com/office/drawing/2014/main" id="{EEE18EBA-CC01-834B-9EF7-571F806E45AD}"/>
                </a:ext>
              </a:extLst>
            </p:cNvPr>
            <p:cNvSpPr>
              <a:spLocks noChangeArrowheads="1"/>
            </p:cNvSpPr>
            <p:nvPr/>
          </p:nvSpPr>
          <p:spPr bwMode="auto">
            <a:xfrm>
              <a:off x="4994612" y="3698242"/>
              <a:ext cx="246063" cy="1241425"/>
            </a:xfrm>
            <a:custGeom>
              <a:avLst/>
              <a:gdLst>
                <a:gd name="T0" fmla="*/ 682 w 683"/>
                <a:gd name="T1" fmla="*/ 327 h 3449"/>
                <a:gd name="T2" fmla="*/ 341 w 683"/>
                <a:gd name="T3" fmla="*/ 0 h 3449"/>
                <a:gd name="T4" fmla="*/ 0 w 683"/>
                <a:gd name="T5" fmla="*/ 327 h 3449"/>
                <a:gd name="T6" fmla="*/ 0 w 683"/>
                <a:gd name="T7" fmla="*/ 327 h 3449"/>
                <a:gd name="T8" fmla="*/ 0 w 683"/>
                <a:gd name="T9" fmla="*/ 3448 h 3449"/>
                <a:gd name="T10" fmla="*/ 682 w 683"/>
                <a:gd name="T11" fmla="*/ 3448 h 3449"/>
                <a:gd name="T12" fmla="*/ 682 w 683"/>
                <a:gd name="T13" fmla="*/ 327 h 3449"/>
              </a:gdLst>
              <a:ahLst/>
              <a:cxnLst>
                <a:cxn ang="0">
                  <a:pos x="T0" y="T1"/>
                </a:cxn>
                <a:cxn ang="0">
                  <a:pos x="T2" y="T3"/>
                </a:cxn>
                <a:cxn ang="0">
                  <a:pos x="T4" y="T5"/>
                </a:cxn>
                <a:cxn ang="0">
                  <a:pos x="T6" y="T7"/>
                </a:cxn>
                <a:cxn ang="0">
                  <a:pos x="T8" y="T9"/>
                </a:cxn>
                <a:cxn ang="0">
                  <a:pos x="T10" y="T11"/>
                </a:cxn>
                <a:cxn ang="0">
                  <a:pos x="T12" y="T13"/>
                </a:cxn>
              </a:cxnLst>
              <a:rect l="0" t="0" r="r" b="b"/>
              <a:pathLst>
                <a:path w="683" h="3449">
                  <a:moveTo>
                    <a:pt x="682" y="327"/>
                  </a:moveTo>
                  <a:cubicBezTo>
                    <a:pt x="675" y="145"/>
                    <a:pt x="525" y="0"/>
                    <a:pt x="341" y="0"/>
                  </a:cubicBezTo>
                  <a:cubicBezTo>
                    <a:pt x="157" y="0"/>
                    <a:pt x="7" y="145"/>
                    <a:pt x="0" y="327"/>
                  </a:cubicBezTo>
                  <a:lnTo>
                    <a:pt x="0" y="327"/>
                  </a:lnTo>
                  <a:lnTo>
                    <a:pt x="0" y="3448"/>
                  </a:lnTo>
                  <a:lnTo>
                    <a:pt x="682" y="3448"/>
                  </a:lnTo>
                  <a:lnTo>
                    <a:pt x="682" y="327"/>
                  </a:lnTo>
                </a:path>
              </a:pathLst>
            </a:custGeom>
            <a:solidFill>
              <a:srgbClr val="70CF00"/>
            </a:solidFill>
            <a:ln>
              <a:noFill/>
            </a:ln>
            <a:effectLst/>
            <a:extLst>
              <a:ext uri="{91240B29-F687-4F45-9708-019B960494DF}">
                <a14:hiddenLine xmlns:a14="http://schemas.microsoft.com/office/drawing/2010/main" w="9525" cap="rnd">
                  <a:solidFill>
                    <a:srgbClr val="FFFFFF"/>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68" name="Rectangle 67">
              <a:extLst>
                <a:ext uri="{FF2B5EF4-FFF2-40B4-BE49-F238E27FC236}">
                  <a16:creationId xmlns:a16="http://schemas.microsoft.com/office/drawing/2014/main" id="{E407FAC5-CFE9-694E-8DE2-FCB92EAB223B}"/>
                </a:ext>
              </a:extLst>
            </p:cNvPr>
            <p:cNvSpPr/>
            <p:nvPr/>
          </p:nvSpPr>
          <p:spPr>
            <a:xfrm>
              <a:off x="4993907" y="3841116"/>
              <a:ext cx="245179" cy="103189"/>
            </a:xfrm>
            <a:prstGeom prst="rect">
              <a:avLst/>
            </a:prstGeom>
            <a:solidFill>
              <a:srgbClr val="61BC00"/>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gn="ctr"/>
              <a:endParaRPr lang="en-US" sz="1800" dirty="0">
                <a:solidFill>
                  <a:schemeClr val="tx1"/>
                </a:solidFill>
              </a:endParaRPr>
            </a:p>
          </p:txBody>
        </p:sp>
        <p:sp>
          <p:nvSpPr>
            <p:cNvPr id="71" name="Freeform 70">
              <a:extLst>
                <a:ext uri="{FF2B5EF4-FFF2-40B4-BE49-F238E27FC236}">
                  <a16:creationId xmlns:a16="http://schemas.microsoft.com/office/drawing/2014/main" id="{A765345B-D048-494A-9FB4-86231CB37BB4}"/>
                </a:ext>
              </a:extLst>
            </p:cNvPr>
            <p:cNvSpPr>
              <a:spLocks noChangeArrowheads="1"/>
            </p:cNvSpPr>
            <p:nvPr/>
          </p:nvSpPr>
          <p:spPr bwMode="auto">
            <a:xfrm>
              <a:off x="4994612" y="3698243"/>
              <a:ext cx="246063" cy="246063"/>
            </a:xfrm>
            <a:custGeom>
              <a:avLst/>
              <a:gdLst>
                <a:gd name="T0" fmla="*/ 682 w 683"/>
                <a:gd name="T1" fmla="*/ 340 h 682"/>
                <a:gd name="T2" fmla="*/ 637 w 683"/>
                <a:gd name="T3" fmla="*/ 511 h 682"/>
                <a:gd name="T4" fmla="*/ 512 w 683"/>
                <a:gd name="T5" fmla="*/ 636 h 682"/>
                <a:gd name="T6" fmla="*/ 341 w 683"/>
                <a:gd name="T7" fmla="*/ 681 h 682"/>
                <a:gd name="T8" fmla="*/ 170 w 683"/>
                <a:gd name="T9" fmla="*/ 636 h 682"/>
                <a:gd name="T10" fmla="*/ 45 w 683"/>
                <a:gd name="T11" fmla="*/ 511 h 682"/>
                <a:gd name="T12" fmla="*/ 0 w 683"/>
                <a:gd name="T13" fmla="*/ 340 h 682"/>
                <a:gd name="T14" fmla="*/ 45 w 683"/>
                <a:gd name="T15" fmla="*/ 170 h 682"/>
                <a:gd name="T16" fmla="*/ 170 w 683"/>
                <a:gd name="T17" fmla="*/ 46 h 682"/>
                <a:gd name="T18" fmla="*/ 341 w 683"/>
                <a:gd name="T19" fmla="*/ 0 h 682"/>
                <a:gd name="T20" fmla="*/ 512 w 683"/>
                <a:gd name="T21" fmla="*/ 46 h 682"/>
                <a:gd name="T22" fmla="*/ 637 w 683"/>
                <a:gd name="T23" fmla="*/ 170 h 682"/>
                <a:gd name="T24" fmla="*/ 682 w 683"/>
                <a:gd name="T25" fmla="*/ 34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3" h="682">
                  <a:moveTo>
                    <a:pt x="682" y="340"/>
                  </a:moveTo>
                  <a:cubicBezTo>
                    <a:pt x="682" y="403"/>
                    <a:pt x="668" y="457"/>
                    <a:pt x="637" y="511"/>
                  </a:cubicBezTo>
                  <a:cubicBezTo>
                    <a:pt x="605" y="566"/>
                    <a:pt x="566" y="605"/>
                    <a:pt x="512" y="636"/>
                  </a:cubicBezTo>
                  <a:cubicBezTo>
                    <a:pt x="457" y="668"/>
                    <a:pt x="404" y="681"/>
                    <a:pt x="341" y="681"/>
                  </a:cubicBezTo>
                  <a:cubicBezTo>
                    <a:pt x="278" y="681"/>
                    <a:pt x="224" y="668"/>
                    <a:pt x="170" y="636"/>
                  </a:cubicBezTo>
                  <a:cubicBezTo>
                    <a:pt x="115" y="605"/>
                    <a:pt x="76" y="566"/>
                    <a:pt x="45" y="511"/>
                  </a:cubicBezTo>
                  <a:cubicBezTo>
                    <a:pt x="13" y="457"/>
                    <a:pt x="0" y="403"/>
                    <a:pt x="0" y="340"/>
                  </a:cubicBezTo>
                  <a:cubicBezTo>
                    <a:pt x="0" y="278"/>
                    <a:pt x="13" y="224"/>
                    <a:pt x="45" y="170"/>
                  </a:cubicBezTo>
                  <a:cubicBezTo>
                    <a:pt x="76" y="115"/>
                    <a:pt x="115" y="77"/>
                    <a:pt x="170" y="46"/>
                  </a:cubicBezTo>
                  <a:cubicBezTo>
                    <a:pt x="224" y="14"/>
                    <a:pt x="278" y="0"/>
                    <a:pt x="341" y="0"/>
                  </a:cubicBezTo>
                  <a:cubicBezTo>
                    <a:pt x="404" y="0"/>
                    <a:pt x="457" y="14"/>
                    <a:pt x="512" y="46"/>
                  </a:cubicBezTo>
                  <a:cubicBezTo>
                    <a:pt x="566" y="77"/>
                    <a:pt x="605" y="115"/>
                    <a:pt x="637" y="170"/>
                  </a:cubicBezTo>
                  <a:cubicBezTo>
                    <a:pt x="668" y="224"/>
                    <a:pt x="682" y="278"/>
                    <a:pt x="682" y="340"/>
                  </a:cubicBezTo>
                </a:path>
              </a:pathLst>
            </a:custGeom>
            <a:solidFill>
              <a:srgbClr val="2A9C00"/>
            </a:solidFill>
            <a:ln>
              <a:noFill/>
            </a:ln>
            <a:effectLst/>
          </p:spPr>
          <p:txBody>
            <a:bodyPr wrap="none" anchor="ctr"/>
            <a:lstStyle/>
            <a:p>
              <a:endParaRPr lang="en-US" sz="1800"/>
            </a:p>
          </p:txBody>
        </p:sp>
      </p:grpSp>
      <p:grpSp>
        <p:nvGrpSpPr>
          <p:cNvPr id="48" name="Group 47">
            <a:extLst>
              <a:ext uri="{FF2B5EF4-FFF2-40B4-BE49-F238E27FC236}">
                <a16:creationId xmlns:a16="http://schemas.microsoft.com/office/drawing/2014/main" id="{D6FA3EC4-4E4D-E343-84F9-89C2507FDEDF}"/>
              </a:ext>
              <a:ext uri="{C183D7F6-B498-43B3-948B-1728B52AA6E4}">
                <adec:decorative xmlns:adec="http://schemas.microsoft.com/office/drawing/2017/decorative" val="1"/>
              </a:ext>
            </a:extLst>
          </p:cNvPr>
          <p:cNvGrpSpPr>
            <a:grpSpLocks noChangeAspect="1"/>
          </p:cNvGrpSpPr>
          <p:nvPr/>
        </p:nvGrpSpPr>
        <p:grpSpPr>
          <a:xfrm>
            <a:off x="6298735" y="4495167"/>
            <a:ext cx="702000" cy="702000"/>
            <a:chOff x="4748548" y="4809492"/>
            <a:chExt cx="728663" cy="728663"/>
          </a:xfrm>
        </p:grpSpPr>
        <p:sp>
          <p:nvSpPr>
            <p:cNvPr id="69" name="Freeform 68">
              <a:extLst>
                <a:ext uri="{FF2B5EF4-FFF2-40B4-BE49-F238E27FC236}">
                  <a16:creationId xmlns:a16="http://schemas.microsoft.com/office/drawing/2014/main" id="{DB7424B8-8FF4-1C4A-9DF6-D31A5E6E87B2}"/>
                </a:ext>
              </a:extLst>
            </p:cNvPr>
            <p:cNvSpPr>
              <a:spLocks noChangeArrowheads="1"/>
            </p:cNvSpPr>
            <p:nvPr/>
          </p:nvSpPr>
          <p:spPr bwMode="auto">
            <a:xfrm>
              <a:off x="4748548" y="4809492"/>
              <a:ext cx="728663" cy="728663"/>
            </a:xfrm>
            <a:custGeom>
              <a:avLst/>
              <a:gdLst>
                <a:gd name="T0" fmla="*/ 2021 w 2022"/>
                <a:gd name="T1" fmla="*/ 1011 h 2023"/>
                <a:gd name="T2" fmla="*/ 1886 w 2022"/>
                <a:gd name="T3" fmla="*/ 1517 h 2023"/>
                <a:gd name="T4" fmla="*/ 1516 w 2022"/>
                <a:gd name="T5" fmla="*/ 1887 h 2023"/>
                <a:gd name="T6" fmla="*/ 1011 w 2022"/>
                <a:gd name="T7" fmla="*/ 2022 h 2023"/>
                <a:gd name="T8" fmla="*/ 505 w 2022"/>
                <a:gd name="T9" fmla="*/ 1887 h 2023"/>
                <a:gd name="T10" fmla="*/ 135 w 2022"/>
                <a:gd name="T11" fmla="*/ 1517 h 2023"/>
                <a:gd name="T12" fmla="*/ 0 w 2022"/>
                <a:gd name="T13" fmla="*/ 1011 h 2023"/>
                <a:gd name="T14" fmla="*/ 135 w 2022"/>
                <a:gd name="T15" fmla="*/ 506 h 2023"/>
                <a:gd name="T16" fmla="*/ 505 w 2022"/>
                <a:gd name="T17" fmla="*/ 136 h 2023"/>
                <a:gd name="T18" fmla="*/ 1011 w 2022"/>
                <a:gd name="T19" fmla="*/ 0 h 2023"/>
                <a:gd name="T20" fmla="*/ 1516 w 2022"/>
                <a:gd name="T21" fmla="*/ 136 h 2023"/>
                <a:gd name="T22" fmla="*/ 1886 w 2022"/>
                <a:gd name="T23" fmla="*/ 506 h 2023"/>
                <a:gd name="T24" fmla="*/ 2021 w 2022"/>
                <a:gd name="T25" fmla="*/ 1011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2" h="2023">
                  <a:moveTo>
                    <a:pt x="2021" y="1011"/>
                  </a:moveTo>
                  <a:cubicBezTo>
                    <a:pt x="2021" y="1197"/>
                    <a:pt x="1979" y="1356"/>
                    <a:pt x="1886" y="1517"/>
                  </a:cubicBezTo>
                  <a:cubicBezTo>
                    <a:pt x="1793" y="1678"/>
                    <a:pt x="1677" y="1794"/>
                    <a:pt x="1516" y="1887"/>
                  </a:cubicBezTo>
                  <a:cubicBezTo>
                    <a:pt x="1355" y="1980"/>
                    <a:pt x="1197" y="2022"/>
                    <a:pt x="1011" y="2022"/>
                  </a:cubicBezTo>
                  <a:cubicBezTo>
                    <a:pt x="825" y="2022"/>
                    <a:pt x="666" y="1980"/>
                    <a:pt x="505" y="1887"/>
                  </a:cubicBezTo>
                  <a:cubicBezTo>
                    <a:pt x="344" y="1794"/>
                    <a:pt x="228" y="1678"/>
                    <a:pt x="135" y="1517"/>
                  </a:cubicBezTo>
                  <a:cubicBezTo>
                    <a:pt x="42" y="1356"/>
                    <a:pt x="0" y="1197"/>
                    <a:pt x="0" y="1011"/>
                  </a:cubicBezTo>
                  <a:cubicBezTo>
                    <a:pt x="0" y="825"/>
                    <a:pt x="42" y="667"/>
                    <a:pt x="135" y="506"/>
                  </a:cubicBezTo>
                  <a:cubicBezTo>
                    <a:pt x="228" y="345"/>
                    <a:pt x="344" y="229"/>
                    <a:pt x="505" y="136"/>
                  </a:cubicBezTo>
                  <a:cubicBezTo>
                    <a:pt x="666" y="43"/>
                    <a:pt x="825" y="0"/>
                    <a:pt x="1011" y="0"/>
                  </a:cubicBezTo>
                  <a:cubicBezTo>
                    <a:pt x="1197" y="0"/>
                    <a:pt x="1355" y="43"/>
                    <a:pt x="1516" y="136"/>
                  </a:cubicBezTo>
                  <a:cubicBezTo>
                    <a:pt x="1677" y="229"/>
                    <a:pt x="1793" y="345"/>
                    <a:pt x="1886" y="506"/>
                  </a:cubicBezTo>
                  <a:cubicBezTo>
                    <a:pt x="1979" y="667"/>
                    <a:pt x="2021" y="825"/>
                    <a:pt x="2021" y="1011"/>
                  </a:cubicBezTo>
                </a:path>
              </a:pathLst>
            </a:custGeom>
            <a:solidFill>
              <a:srgbClr val="121519"/>
            </a:solidFill>
            <a:ln>
              <a:noFill/>
            </a:ln>
            <a:effectLst/>
            <a:extLst>
              <a:ext uri="{91240B29-F687-4F45-9708-019B960494DF}">
                <a14:hiddenLine xmlns:a14="http://schemas.microsoft.com/office/drawing/2010/main" w="9525" cap="rnd">
                  <a:solidFill>
                    <a:srgbClr val="FFFFFF"/>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84" name="Freeform 3">
              <a:extLst>
                <a:ext uri="{FF2B5EF4-FFF2-40B4-BE49-F238E27FC236}">
                  <a16:creationId xmlns:a16="http://schemas.microsoft.com/office/drawing/2014/main" id="{D6929AAF-C4A8-3A4B-B1D5-00986B39C394}"/>
                </a:ext>
              </a:extLst>
            </p:cNvPr>
            <p:cNvSpPr>
              <a:spLocks noChangeAspect="1" noChangeArrowheads="1"/>
            </p:cNvSpPr>
            <p:nvPr/>
          </p:nvSpPr>
          <p:spPr bwMode="auto">
            <a:xfrm>
              <a:off x="4934544" y="4984438"/>
              <a:ext cx="356669" cy="450000"/>
            </a:xfrm>
            <a:custGeom>
              <a:avLst/>
              <a:gdLst>
                <a:gd name="T0" fmla="*/ 0 w 1213"/>
                <a:gd name="T1" fmla="*/ 271 h 1534"/>
                <a:gd name="T2" fmla="*/ 416 w 1213"/>
                <a:gd name="T3" fmla="*/ 136 h 1534"/>
                <a:gd name="T4" fmla="*/ 796 w 1213"/>
                <a:gd name="T5" fmla="*/ 136 h 1534"/>
                <a:gd name="T6" fmla="*/ 1212 w 1213"/>
                <a:gd name="T7" fmla="*/ 271 h 1534"/>
                <a:gd name="T8" fmla="*/ 592 w 1213"/>
                <a:gd name="T9" fmla="*/ 1533 h 1534"/>
                <a:gd name="T10" fmla="*/ 677 w 1213"/>
                <a:gd name="T11" fmla="*/ 182 h 1534"/>
                <a:gd name="T12" fmla="*/ 535 w 1213"/>
                <a:gd name="T13" fmla="*/ 182 h 1534"/>
                <a:gd name="T14" fmla="*/ 677 w 1213"/>
                <a:gd name="T15" fmla="*/ 182 h 1534"/>
                <a:gd name="T16" fmla="*/ 1056 w 1213"/>
                <a:gd name="T17" fmla="*/ 439 h 1534"/>
                <a:gd name="T18" fmla="*/ 508 w 1213"/>
                <a:gd name="T19" fmla="*/ 591 h 1534"/>
                <a:gd name="T20" fmla="*/ 1056 w 1213"/>
                <a:gd name="T21" fmla="*/ 971 h 1534"/>
                <a:gd name="T22" fmla="*/ 508 w 1213"/>
                <a:gd name="T23" fmla="*/ 819 h 1534"/>
                <a:gd name="T24" fmla="*/ 1056 w 1213"/>
                <a:gd name="T25" fmla="*/ 971 h 1534"/>
                <a:gd name="T26" fmla="*/ 1056 w 1213"/>
                <a:gd name="T27" fmla="*/ 1200 h 1534"/>
                <a:gd name="T28" fmla="*/ 508 w 1213"/>
                <a:gd name="T29" fmla="*/ 1352 h 1534"/>
                <a:gd name="T30" fmla="*/ 228 w 1213"/>
                <a:gd name="T31" fmla="*/ 1283 h 1534"/>
                <a:gd name="T32" fmla="*/ 182 w 1213"/>
                <a:gd name="T33" fmla="*/ 1409 h 1534"/>
                <a:gd name="T34" fmla="*/ 354 w 1213"/>
                <a:gd name="T35" fmla="*/ 1409 h 1534"/>
                <a:gd name="T36" fmla="*/ 308 w 1213"/>
                <a:gd name="T37" fmla="*/ 1283 h 1534"/>
                <a:gd name="T38" fmla="*/ 356 w 1213"/>
                <a:gd name="T39" fmla="*/ 1155 h 1534"/>
                <a:gd name="T40" fmla="*/ 181 w 1213"/>
                <a:gd name="T41" fmla="*/ 1155 h 1534"/>
                <a:gd name="T42" fmla="*/ 228 w 1213"/>
                <a:gd name="T43" fmla="*/ 1283 h 1534"/>
                <a:gd name="T44" fmla="*/ 141 w 1213"/>
                <a:gd name="T45" fmla="*/ 976 h 1534"/>
                <a:gd name="T46" fmla="*/ 268 w 1213"/>
                <a:gd name="T47" fmla="*/ 928 h 1534"/>
                <a:gd name="T48" fmla="*/ 395 w 1213"/>
                <a:gd name="T49" fmla="*/ 976 h 1534"/>
                <a:gd name="T50" fmla="*/ 395 w 1213"/>
                <a:gd name="T51" fmla="*/ 801 h 1534"/>
                <a:gd name="T52" fmla="*/ 268 w 1213"/>
                <a:gd name="T53" fmla="*/ 848 h 1534"/>
                <a:gd name="T54" fmla="*/ 141 w 1213"/>
                <a:gd name="T55" fmla="*/ 801 h 1534"/>
                <a:gd name="T56" fmla="*/ 239 w 1213"/>
                <a:gd name="T57" fmla="*/ 621 h 1534"/>
                <a:gd name="T58" fmla="*/ 384 w 1213"/>
                <a:gd name="T59" fmla="*/ 367 h 1534"/>
                <a:gd name="T60" fmla="*/ 181 w 1213"/>
                <a:gd name="T61" fmla="*/ 465 h 1534"/>
                <a:gd name="T62" fmla="*/ 239 w 1213"/>
                <a:gd name="T63" fmla="*/ 621 h 15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213" h="1534">
                  <a:moveTo>
                    <a:pt x="0" y="1291"/>
                  </a:moveTo>
                  <a:lnTo>
                    <a:pt x="0" y="271"/>
                  </a:lnTo>
                  <a:cubicBezTo>
                    <a:pt x="0" y="197"/>
                    <a:pt x="61" y="136"/>
                    <a:pt x="135" y="136"/>
                  </a:cubicBezTo>
                  <a:lnTo>
                    <a:pt x="416" y="136"/>
                  </a:lnTo>
                  <a:cubicBezTo>
                    <a:pt x="445" y="57"/>
                    <a:pt x="519" y="0"/>
                    <a:pt x="607" y="0"/>
                  </a:cubicBezTo>
                  <a:cubicBezTo>
                    <a:pt x="694" y="0"/>
                    <a:pt x="767" y="57"/>
                    <a:pt x="796" y="136"/>
                  </a:cubicBezTo>
                  <a:lnTo>
                    <a:pt x="1077" y="136"/>
                  </a:lnTo>
                  <a:cubicBezTo>
                    <a:pt x="1151" y="136"/>
                    <a:pt x="1212" y="197"/>
                    <a:pt x="1212" y="271"/>
                  </a:cubicBezTo>
                  <a:lnTo>
                    <a:pt x="1212" y="1262"/>
                  </a:lnTo>
                  <a:cubicBezTo>
                    <a:pt x="1057" y="1429"/>
                    <a:pt x="837" y="1533"/>
                    <a:pt x="592" y="1533"/>
                  </a:cubicBezTo>
                  <a:cubicBezTo>
                    <a:pt x="362" y="1533"/>
                    <a:pt x="153" y="1441"/>
                    <a:pt x="0" y="1291"/>
                  </a:cubicBezTo>
                  <a:close/>
                  <a:moveTo>
                    <a:pt x="677" y="182"/>
                  </a:moveTo>
                  <a:cubicBezTo>
                    <a:pt x="677" y="142"/>
                    <a:pt x="646" y="110"/>
                    <a:pt x="607" y="110"/>
                  </a:cubicBezTo>
                  <a:cubicBezTo>
                    <a:pt x="567" y="110"/>
                    <a:pt x="535" y="142"/>
                    <a:pt x="535" y="182"/>
                  </a:cubicBezTo>
                  <a:cubicBezTo>
                    <a:pt x="535" y="221"/>
                    <a:pt x="567" y="254"/>
                    <a:pt x="607" y="254"/>
                  </a:cubicBezTo>
                  <a:cubicBezTo>
                    <a:pt x="646" y="254"/>
                    <a:pt x="677" y="221"/>
                    <a:pt x="677" y="182"/>
                  </a:cubicBezTo>
                  <a:close/>
                  <a:moveTo>
                    <a:pt x="1056" y="591"/>
                  </a:moveTo>
                  <a:lnTo>
                    <a:pt x="1056" y="439"/>
                  </a:lnTo>
                  <a:lnTo>
                    <a:pt x="508" y="439"/>
                  </a:lnTo>
                  <a:lnTo>
                    <a:pt x="508" y="591"/>
                  </a:lnTo>
                  <a:lnTo>
                    <a:pt x="1056" y="591"/>
                  </a:lnTo>
                  <a:close/>
                  <a:moveTo>
                    <a:pt x="1056" y="971"/>
                  </a:moveTo>
                  <a:lnTo>
                    <a:pt x="1056" y="819"/>
                  </a:lnTo>
                  <a:lnTo>
                    <a:pt x="508" y="819"/>
                  </a:lnTo>
                  <a:lnTo>
                    <a:pt x="508" y="971"/>
                  </a:lnTo>
                  <a:lnTo>
                    <a:pt x="1056" y="971"/>
                  </a:lnTo>
                  <a:close/>
                  <a:moveTo>
                    <a:pt x="1056" y="1352"/>
                  </a:moveTo>
                  <a:lnTo>
                    <a:pt x="1056" y="1200"/>
                  </a:lnTo>
                  <a:lnTo>
                    <a:pt x="508" y="1200"/>
                  </a:lnTo>
                  <a:lnTo>
                    <a:pt x="508" y="1352"/>
                  </a:lnTo>
                  <a:lnTo>
                    <a:pt x="1056" y="1352"/>
                  </a:lnTo>
                  <a:close/>
                  <a:moveTo>
                    <a:pt x="228" y="1283"/>
                  </a:moveTo>
                  <a:lnTo>
                    <a:pt x="141" y="1370"/>
                  </a:lnTo>
                  <a:lnTo>
                    <a:pt x="182" y="1409"/>
                  </a:lnTo>
                  <a:lnTo>
                    <a:pt x="268" y="1323"/>
                  </a:lnTo>
                  <a:lnTo>
                    <a:pt x="354" y="1409"/>
                  </a:lnTo>
                  <a:lnTo>
                    <a:pt x="395" y="1370"/>
                  </a:lnTo>
                  <a:lnTo>
                    <a:pt x="308" y="1283"/>
                  </a:lnTo>
                  <a:lnTo>
                    <a:pt x="395" y="1195"/>
                  </a:lnTo>
                  <a:lnTo>
                    <a:pt x="356" y="1155"/>
                  </a:lnTo>
                  <a:lnTo>
                    <a:pt x="268" y="1243"/>
                  </a:lnTo>
                  <a:lnTo>
                    <a:pt x="181" y="1155"/>
                  </a:lnTo>
                  <a:lnTo>
                    <a:pt x="141" y="1195"/>
                  </a:lnTo>
                  <a:lnTo>
                    <a:pt x="228" y="1283"/>
                  </a:lnTo>
                  <a:close/>
                  <a:moveTo>
                    <a:pt x="228" y="888"/>
                  </a:moveTo>
                  <a:lnTo>
                    <a:pt x="141" y="976"/>
                  </a:lnTo>
                  <a:lnTo>
                    <a:pt x="182" y="1014"/>
                  </a:lnTo>
                  <a:lnTo>
                    <a:pt x="268" y="928"/>
                  </a:lnTo>
                  <a:lnTo>
                    <a:pt x="354" y="1014"/>
                  </a:lnTo>
                  <a:lnTo>
                    <a:pt x="395" y="976"/>
                  </a:lnTo>
                  <a:lnTo>
                    <a:pt x="308" y="888"/>
                  </a:lnTo>
                  <a:lnTo>
                    <a:pt x="395" y="801"/>
                  </a:lnTo>
                  <a:lnTo>
                    <a:pt x="356" y="761"/>
                  </a:lnTo>
                  <a:lnTo>
                    <a:pt x="268" y="848"/>
                  </a:lnTo>
                  <a:lnTo>
                    <a:pt x="181" y="761"/>
                  </a:lnTo>
                  <a:lnTo>
                    <a:pt x="141" y="801"/>
                  </a:lnTo>
                  <a:lnTo>
                    <a:pt x="228" y="888"/>
                  </a:lnTo>
                  <a:close/>
                  <a:moveTo>
                    <a:pt x="239" y="621"/>
                  </a:moveTo>
                  <a:lnTo>
                    <a:pt x="423" y="412"/>
                  </a:lnTo>
                  <a:lnTo>
                    <a:pt x="384" y="367"/>
                  </a:lnTo>
                  <a:lnTo>
                    <a:pt x="239" y="531"/>
                  </a:lnTo>
                  <a:lnTo>
                    <a:pt x="181" y="465"/>
                  </a:lnTo>
                  <a:lnTo>
                    <a:pt x="141" y="510"/>
                  </a:lnTo>
                  <a:lnTo>
                    <a:pt x="239" y="621"/>
                  </a:lnTo>
                  <a:close/>
                </a:path>
              </a:pathLst>
            </a:custGeom>
            <a:solidFill>
              <a:schemeClr val="bg1"/>
            </a:solidFill>
            <a:ln>
              <a:noFill/>
            </a:ln>
            <a:effectLst/>
          </p:spPr>
          <p:txBody>
            <a:bodyPr wrap="none" anchor="ctr"/>
            <a:lstStyle/>
            <a:p>
              <a:endParaRPr lang="en-US" sz="1800"/>
            </a:p>
          </p:txBody>
        </p:sp>
      </p:grpSp>
      <p:grpSp>
        <p:nvGrpSpPr>
          <p:cNvPr id="57" name="Group 56">
            <a:extLst>
              <a:ext uri="{FF2B5EF4-FFF2-40B4-BE49-F238E27FC236}">
                <a16:creationId xmlns:a16="http://schemas.microsoft.com/office/drawing/2014/main" id="{02784C07-BE5C-8047-B001-4816873145AD}"/>
              </a:ext>
              <a:ext uri="{C183D7F6-B498-43B3-948B-1728B52AA6E4}">
                <adec:decorative xmlns:adec="http://schemas.microsoft.com/office/drawing/2017/decorative" val="1"/>
              </a:ext>
            </a:extLst>
          </p:cNvPr>
          <p:cNvGrpSpPr/>
          <p:nvPr/>
        </p:nvGrpSpPr>
        <p:grpSpPr>
          <a:xfrm>
            <a:off x="7020966" y="2706057"/>
            <a:ext cx="246063" cy="1241425"/>
            <a:chOff x="1821198" y="2817341"/>
            <a:chExt cx="246062" cy="1241425"/>
          </a:xfrm>
        </p:grpSpPr>
        <p:sp>
          <p:nvSpPr>
            <p:cNvPr id="64" name="Freeform 5">
              <a:extLst>
                <a:ext uri="{FF2B5EF4-FFF2-40B4-BE49-F238E27FC236}">
                  <a16:creationId xmlns:a16="http://schemas.microsoft.com/office/drawing/2014/main" id="{3DDF9FE3-53E7-B849-86CC-6EBE4073F680}"/>
                </a:ext>
              </a:extLst>
            </p:cNvPr>
            <p:cNvSpPr>
              <a:spLocks noChangeArrowheads="1"/>
            </p:cNvSpPr>
            <p:nvPr/>
          </p:nvSpPr>
          <p:spPr bwMode="auto">
            <a:xfrm>
              <a:off x="1821198" y="2817341"/>
              <a:ext cx="246062" cy="1241425"/>
            </a:xfrm>
            <a:custGeom>
              <a:avLst/>
              <a:gdLst>
                <a:gd name="T0" fmla="*/ 682 w 684"/>
                <a:gd name="T1" fmla="*/ 3120 h 3449"/>
                <a:gd name="T2" fmla="*/ 341 w 684"/>
                <a:gd name="T3" fmla="*/ 3448 h 3449"/>
                <a:gd name="T4" fmla="*/ 0 w 684"/>
                <a:gd name="T5" fmla="*/ 3120 h 3449"/>
                <a:gd name="T6" fmla="*/ 0 w 684"/>
                <a:gd name="T7" fmla="*/ 3120 h 3449"/>
                <a:gd name="T8" fmla="*/ 0 w 684"/>
                <a:gd name="T9" fmla="*/ 0 h 3449"/>
                <a:gd name="T10" fmla="*/ 683 w 684"/>
                <a:gd name="T11" fmla="*/ 0 h 3449"/>
                <a:gd name="T12" fmla="*/ 683 w 684"/>
                <a:gd name="T13" fmla="*/ 3120 h 3449"/>
                <a:gd name="T14" fmla="*/ 682 w 684"/>
                <a:gd name="T15" fmla="*/ 3120 h 34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84" h="3449">
                  <a:moveTo>
                    <a:pt x="682" y="3120"/>
                  </a:moveTo>
                  <a:cubicBezTo>
                    <a:pt x="675" y="3302"/>
                    <a:pt x="525" y="3448"/>
                    <a:pt x="341" y="3448"/>
                  </a:cubicBezTo>
                  <a:cubicBezTo>
                    <a:pt x="157" y="3448"/>
                    <a:pt x="7" y="3302"/>
                    <a:pt x="0" y="3120"/>
                  </a:cubicBezTo>
                  <a:lnTo>
                    <a:pt x="0" y="3120"/>
                  </a:lnTo>
                  <a:lnTo>
                    <a:pt x="0" y="0"/>
                  </a:lnTo>
                  <a:lnTo>
                    <a:pt x="683" y="0"/>
                  </a:lnTo>
                  <a:lnTo>
                    <a:pt x="683" y="3120"/>
                  </a:lnTo>
                  <a:lnTo>
                    <a:pt x="682" y="3120"/>
                  </a:lnTo>
                </a:path>
              </a:pathLst>
            </a:custGeom>
            <a:solidFill>
              <a:srgbClr val="00C7D1"/>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dirty="0"/>
            </a:p>
          </p:txBody>
        </p:sp>
        <p:sp>
          <p:nvSpPr>
            <p:cNvPr id="65" name="Rectangle 64">
              <a:extLst>
                <a:ext uri="{FF2B5EF4-FFF2-40B4-BE49-F238E27FC236}">
                  <a16:creationId xmlns:a16="http://schemas.microsoft.com/office/drawing/2014/main" id="{EA12D24F-4FC1-7745-869E-75186A1577DB}"/>
                </a:ext>
              </a:extLst>
            </p:cNvPr>
            <p:cNvSpPr/>
            <p:nvPr/>
          </p:nvSpPr>
          <p:spPr bwMode="auto">
            <a:xfrm>
              <a:off x="1821198" y="3809528"/>
              <a:ext cx="246062" cy="142875"/>
            </a:xfrm>
            <a:prstGeom prst="rect">
              <a:avLst/>
            </a:prstGeom>
            <a:solidFill>
              <a:srgbClr val="01B5D0"/>
            </a:solidFill>
            <a:ln w="9525" cap="flat" cmpd="sng" algn="ctr">
              <a:no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defTabSz="449239" fontAlgn="base" hangingPunct="0">
                <a:lnSpc>
                  <a:spcPct val="93000"/>
                </a:lnSpc>
                <a:spcBef>
                  <a:spcPct val="0"/>
                </a:spcBef>
                <a:spcAft>
                  <a:spcPct val="0"/>
                </a:spcAft>
                <a:buClr>
                  <a:srgbClr val="000000"/>
                </a:buClr>
                <a:buSzPct val="100000"/>
              </a:pPr>
              <a:endParaRPr lang="en-US" sz="1800">
                <a:latin typeface="Arial" panose="020B0604020202020204" pitchFamily="34" charset="0"/>
                <a:ea typeface="Arial Unicode MS" panose="020B0604020202020204" pitchFamily="34" charset="-128"/>
                <a:cs typeface="Arial Unicode MS" panose="020B0604020202020204" pitchFamily="34" charset="-128"/>
              </a:endParaRPr>
            </a:p>
          </p:txBody>
        </p:sp>
        <p:sp>
          <p:nvSpPr>
            <p:cNvPr id="66" name="Freeform 6">
              <a:extLst>
                <a:ext uri="{FF2B5EF4-FFF2-40B4-BE49-F238E27FC236}">
                  <a16:creationId xmlns:a16="http://schemas.microsoft.com/office/drawing/2014/main" id="{6AE84EFE-E4C4-FC4A-A2B9-BD68DB66197E}"/>
                </a:ext>
              </a:extLst>
            </p:cNvPr>
            <p:cNvSpPr>
              <a:spLocks noChangeArrowheads="1"/>
            </p:cNvSpPr>
            <p:nvPr/>
          </p:nvSpPr>
          <p:spPr bwMode="auto">
            <a:xfrm>
              <a:off x="1821198" y="3809528"/>
              <a:ext cx="246062" cy="246063"/>
            </a:xfrm>
            <a:custGeom>
              <a:avLst/>
              <a:gdLst>
                <a:gd name="T0" fmla="*/ 683 w 684"/>
                <a:gd name="T1" fmla="*/ 340 h 682"/>
                <a:gd name="T2" fmla="*/ 637 w 684"/>
                <a:gd name="T3" fmla="*/ 511 h 682"/>
                <a:gd name="T4" fmla="*/ 512 w 684"/>
                <a:gd name="T5" fmla="*/ 636 h 682"/>
                <a:gd name="T6" fmla="*/ 341 w 684"/>
                <a:gd name="T7" fmla="*/ 681 h 682"/>
                <a:gd name="T8" fmla="*/ 171 w 684"/>
                <a:gd name="T9" fmla="*/ 636 h 682"/>
                <a:gd name="T10" fmla="*/ 46 w 684"/>
                <a:gd name="T11" fmla="*/ 511 h 682"/>
                <a:gd name="T12" fmla="*/ 0 w 684"/>
                <a:gd name="T13" fmla="*/ 340 h 682"/>
                <a:gd name="T14" fmla="*/ 46 w 684"/>
                <a:gd name="T15" fmla="*/ 170 h 682"/>
                <a:gd name="T16" fmla="*/ 171 w 684"/>
                <a:gd name="T17" fmla="*/ 46 h 682"/>
                <a:gd name="T18" fmla="*/ 341 w 684"/>
                <a:gd name="T19" fmla="*/ 0 h 682"/>
                <a:gd name="T20" fmla="*/ 512 w 684"/>
                <a:gd name="T21" fmla="*/ 46 h 682"/>
                <a:gd name="T22" fmla="*/ 637 w 684"/>
                <a:gd name="T23" fmla="*/ 170 h 682"/>
                <a:gd name="T24" fmla="*/ 683 w 684"/>
                <a:gd name="T25" fmla="*/ 34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4" h="682">
                  <a:moveTo>
                    <a:pt x="683" y="340"/>
                  </a:moveTo>
                  <a:cubicBezTo>
                    <a:pt x="683" y="403"/>
                    <a:pt x="668" y="457"/>
                    <a:pt x="637" y="511"/>
                  </a:cubicBezTo>
                  <a:cubicBezTo>
                    <a:pt x="605" y="566"/>
                    <a:pt x="566" y="605"/>
                    <a:pt x="512" y="636"/>
                  </a:cubicBezTo>
                  <a:cubicBezTo>
                    <a:pt x="458" y="668"/>
                    <a:pt x="404" y="681"/>
                    <a:pt x="341" y="681"/>
                  </a:cubicBezTo>
                  <a:cubicBezTo>
                    <a:pt x="278" y="681"/>
                    <a:pt x="225" y="668"/>
                    <a:pt x="171" y="636"/>
                  </a:cubicBezTo>
                  <a:cubicBezTo>
                    <a:pt x="116" y="605"/>
                    <a:pt x="77" y="566"/>
                    <a:pt x="46" y="511"/>
                  </a:cubicBezTo>
                  <a:cubicBezTo>
                    <a:pt x="14" y="457"/>
                    <a:pt x="0" y="403"/>
                    <a:pt x="0" y="340"/>
                  </a:cubicBezTo>
                  <a:cubicBezTo>
                    <a:pt x="0" y="278"/>
                    <a:pt x="14" y="224"/>
                    <a:pt x="46" y="170"/>
                  </a:cubicBezTo>
                  <a:cubicBezTo>
                    <a:pt x="77" y="115"/>
                    <a:pt x="116" y="77"/>
                    <a:pt x="171" y="46"/>
                  </a:cubicBezTo>
                  <a:cubicBezTo>
                    <a:pt x="225" y="14"/>
                    <a:pt x="278" y="0"/>
                    <a:pt x="341" y="0"/>
                  </a:cubicBezTo>
                  <a:cubicBezTo>
                    <a:pt x="404" y="0"/>
                    <a:pt x="458" y="14"/>
                    <a:pt x="512" y="46"/>
                  </a:cubicBezTo>
                  <a:cubicBezTo>
                    <a:pt x="566" y="77"/>
                    <a:pt x="605" y="115"/>
                    <a:pt x="637" y="170"/>
                  </a:cubicBezTo>
                  <a:cubicBezTo>
                    <a:pt x="668" y="224"/>
                    <a:pt x="683" y="278"/>
                    <a:pt x="683" y="340"/>
                  </a:cubicBezTo>
                </a:path>
              </a:pathLst>
            </a:custGeom>
            <a:solidFill>
              <a:srgbClr val="0191AE"/>
            </a:solidFill>
            <a:ln>
              <a:noFill/>
            </a:ln>
            <a:effectLst/>
          </p:spPr>
          <p:txBody>
            <a:bodyPr wrap="none" anchor="ctr"/>
            <a:lstStyle/>
            <a:p>
              <a:endParaRPr lang="en-US" sz="1800" dirty="0"/>
            </a:p>
          </p:txBody>
        </p:sp>
      </p:grpSp>
      <p:grpSp>
        <p:nvGrpSpPr>
          <p:cNvPr id="46" name="Group 45">
            <a:extLst>
              <a:ext uri="{FF2B5EF4-FFF2-40B4-BE49-F238E27FC236}">
                <a16:creationId xmlns:a16="http://schemas.microsoft.com/office/drawing/2014/main" id="{7B7D8C23-7ABE-F043-AF04-6DE859CDCF51}"/>
              </a:ext>
              <a:ext uri="{C183D7F6-B498-43B3-948B-1728B52AA6E4}">
                <adec:decorative xmlns:adec="http://schemas.microsoft.com/office/drawing/2017/decorative" val="1"/>
              </a:ext>
            </a:extLst>
          </p:cNvPr>
          <p:cNvGrpSpPr>
            <a:grpSpLocks noChangeAspect="1"/>
          </p:cNvGrpSpPr>
          <p:nvPr/>
        </p:nvGrpSpPr>
        <p:grpSpPr>
          <a:xfrm>
            <a:off x="6789567" y="2433801"/>
            <a:ext cx="702000" cy="701999"/>
            <a:chOff x="5259429" y="2194880"/>
            <a:chExt cx="728663" cy="728662"/>
          </a:xfrm>
        </p:grpSpPr>
        <p:sp>
          <p:nvSpPr>
            <p:cNvPr id="63" name="Freeform 13">
              <a:extLst>
                <a:ext uri="{FF2B5EF4-FFF2-40B4-BE49-F238E27FC236}">
                  <a16:creationId xmlns:a16="http://schemas.microsoft.com/office/drawing/2014/main" id="{75F54B4C-0971-9D4D-888A-DF203B0E5AB0}"/>
                </a:ext>
              </a:extLst>
            </p:cNvPr>
            <p:cNvSpPr>
              <a:spLocks noChangeArrowheads="1"/>
            </p:cNvSpPr>
            <p:nvPr/>
          </p:nvSpPr>
          <p:spPr bwMode="auto">
            <a:xfrm>
              <a:off x="5259429" y="2194880"/>
              <a:ext cx="728663" cy="728662"/>
            </a:xfrm>
            <a:custGeom>
              <a:avLst/>
              <a:gdLst>
                <a:gd name="T0" fmla="*/ 2021 w 2022"/>
                <a:gd name="T1" fmla="*/ 1011 h 2023"/>
                <a:gd name="T2" fmla="*/ 1886 w 2022"/>
                <a:gd name="T3" fmla="*/ 1516 h 2023"/>
                <a:gd name="T4" fmla="*/ 1516 w 2022"/>
                <a:gd name="T5" fmla="*/ 1886 h 2023"/>
                <a:gd name="T6" fmla="*/ 1011 w 2022"/>
                <a:gd name="T7" fmla="*/ 2022 h 2023"/>
                <a:gd name="T8" fmla="*/ 505 w 2022"/>
                <a:gd name="T9" fmla="*/ 1886 h 2023"/>
                <a:gd name="T10" fmla="*/ 135 w 2022"/>
                <a:gd name="T11" fmla="*/ 1516 h 2023"/>
                <a:gd name="T12" fmla="*/ 0 w 2022"/>
                <a:gd name="T13" fmla="*/ 1011 h 2023"/>
                <a:gd name="T14" fmla="*/ 135 w 2022"/>
                <a:gd name="T15" fmla="*/ 505 h 2023"/>
                <a:gd name="T16" fmla="*/ 505 w 2022"/>
                <a:gd name="T17" fmla="*/ 135 h 2023"/>
                <a:gd name="T18" fmla="*/ 1011 w 2022"/>
                <a:gd name="T19" fmla="*/ 0 h 2023"/>
                <a:gd name="T20" fmla="*/ 1516 w 2022"/>
                <a:gd name="T21" fmla="*/ 135 h 2023"/>
                <a:gd name="T22" fmla="*/ 1886 w 2022"/>
                <a:gd name="T23" fmla="*/ 505 h 2023"/>
                <a:gd name="T24" fmla="*/ 2021 w 2022"/>
                <a:gd name="T25" fmla="*/ 1011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2" h="2023">
                  <a:moveTo>
                    <a:pt x="2021" y="1011"/>
                  </a:moveTo>
                  <a:cubicBezTo>
                    <a:pt x="2021" y="1197"/>
                    <a:pt x="1979" y="1355"/>
                    <a:pt x="1886" y="1516"/>
                  </a:cubicBezTo>
                  <a:cubicBezTo>
                    <a:pt x="1793" y="1677"/>
                    <a:pt x="1677" y="1793"/>
                    <a:pt x="1516" y="1886"/>
                  </a:cubicBezTo>
                  <a:cubicBezTo>
                    <a:pt x="1355" y="1979"/>
                    <a:pt x="1197" y="2022"/>
                    <a:pt x="1011" y="2022"/>
                  </a:cubicBezTo>
                  <a:cubicBezTo>
                    <a:pt x="825" y="2022"/>
                    <a:pt x="666" y="1979"/>
                    <a:pt x="505" y="1886"/>
                  </a:cubicBezTo>
                  <a:cubicBezTo>
                    <a:pt x="344" y="1793"/>
                    <a:pt x="228" y="1677"/>
                    <a:pt x="135" y="1516"/>
                  </a:cubicBezTo>
                  <a:cubicBezTo>
                    <a:pt x="42" y="1355"/>
                    <a:pt x="0" y="1197"/>
                    <a:pt x="0" y="1011"/>
                  </a:cubicBezTo>
                  <a:cubicBezTo>
                    <a:pt x="0" y="825"/>
                    <a:pt x="42" y="666"/>
                    <a:pt x="135" y="505"/>
                  </a:cubicBezTo>
                  <a:cubicBezTo>
                    <a:pt x="228" y="344"/>
                    <a:pt x="344" y="228"/>
                    <a:pt x="505" y="135"/>
                  </a:cubicBezTo>
                  <a:cubicBezTo>
                    <a:pt x="666" y="42"/>
                    <a:pt x="825" y="0"/>
                    <a:pt x="1011" y="0"/>
                  </a:cubicBezTo>
                  <a:cubicBezTo>
                    <a:pt x="1197" y="0"/>
                    <a:pt x="1355" y="42"/>
                    <a:pt x="1516" y="135"/>
                  </a:cubicBezTo>
                  <a:cubicBezTo>
                    <a:pt x="1677" y="228"/>
                    <a:pt x="1793" y="344"/>
                    <a:pt x="1886" y="505"/>
                  </a:cubicBezTo>
                  <a:cubicBezTo>
                    <a:pt x="1979" y="666"/>
                    <a:pt x="2021" y="825"/>
                    <a:pt x="2021" y="1011"/>
                  </a:cubicBezTo>
                </a:path>
              </a:pathLst>
            </a:custGeom>
            <a:solidFill>
              <a:srgbClr val="121519"/>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36" name="Freeform 36">
              <a:extLst>
                <a:ext uri="{FF2B5EF4-FFF2-40B4-BE49-F238E27FC236}">
                  <a16:creationId xmlns:a16="http://schemas.microsoft.com/office/drawing/2014/main" id="{1FB5216F-630C-FF44-952D-02E80238A139}"/>
                </a:ext>
              </a:extLst>
            </p:cNvPr>
            <p:cNvSpPr>
              <a:spLocks noChangeArrowheads="1"/>
            </p:cNvSpPr>
            <p:nvPr/>
          </p:nvSpPr>
          <p:spPr bwMode="auto">
            <a:xfrm>
              <a:off x="5457672" y="2352042"/>
              <a:ext cx="403714" cy="414339"/>
            </a:xfrm>
            <a:custGeom>
              <a:avLst/>
              <a:gdLst>
                <a:gd name="T0" fmla="*/ 1174 w 1175"/>
                <a:gd name="T1" fmla="*/ 183 h 1202"/>
                <a:gd name="T2" fmla="*/ 1174 w 1175"/>
                <a:gd name="T3" fmla="*/ 755 h 1202"/>
                <a:gd name="T4" fmla="*/ 1109 w 1175"/>
                <a:gd name="T5" fmla="*/ 862 h 1202"/>
                <a:gd name="T6" fmla="*/ 1044 w 1175"/>
                <a:gd name="T7" fmla="*/ 754 h 1202"/>
                <a:gd name="T8" fmla="*/ 1043 w 1175"/>
                <a:gd name="T9" fmla="*/ 183 h 1202"/>
                <a:gd name="T10" fmla="*/ 1174 w 1175"/>
                <a:gd name="T11" fmla="*/ 183 h 1202"/>
                <a:gd name="T12" fmla="*/ 1174 w 1175"/>
                <a:gd name="T13" fmla="*/ 34 h 1202"/>
                <a:gd name="T14" fmla="*/ 1174 w 1175"/>
                <a:gd name="T15" fmla="*/ 130 h 1202"/>
                <a:gd name="T16" fmla="*/ 1043 w 1175"/>
                <a:gd name="T17" fmla="*/ 130 h 1202"/>
                <a:gd name="T18" fmla="*/ 1043 w 1175"/>
                <a:gd name="T19" fmla="*/ 34 h 1202"/>
                <a:gd name="T20" fmla="*/ 1068 w 1175"/>
                <a:gd name="T21" fmla="*/ 0 h 1202"/>
                <a:gd name="T22" fmla="*/ 1149 w 1175"/>
                <a:gd name="T23" fmla="*/ 0 h 1202"/>
                <a:gd name="T24" fmla="*/ 1174 w 1175"/>
                <a:gd name="T25" fmla="*/ 34 h 1202"/>
                <a:gd name="T26" fmla="*/ 834 w 1175"/>
                <a:gd name="T27" fmla="*/ 0 h 1202"/>
                <a:gd name="T28" fmla="*/ 939 w 1175"/>
                <a:gd name="T29" fmla="*/ 107 h 1202"/>
                <a:gd name="T30" fmla="*/ 939 w 1175"/>
                <a:gd name="T31" fmla="*/ 1094 h 1202"/>
                <a:gd name="T32" fmla="*/ 834 w 1175"/>
                <a:gd name="T33" fmla="*/ 1201 h 1202"/>
                <a:gd name="T34" fmla="*/ 104 w 1175"/>
                <a:gd name="T35" fmla="*/ 1201 h 1202"/>
                <a:gd name="T36" fmla="*/ 0 w 1175"/>
                <a:gd name="T37" fmla="*/ 1094 h 1202"/>
                <a:gd name="T38" fmla="*/ 0 w 1175"/>
                <a:gd name="T39" fmla="*/ 107 h 1202"/>
                <a:gd name="T40" fmla="*/ 104 w 1175"/>
                <a:gd name="T41" fmla="*/ 0 h 1202"/>
                <a:gd name="T42" fmla="*/ 834 w 1175"/>
                <a:gd name="T43" fmla="*/ 0 h 1202"/>
                <a:gd name="T44" fmla="*/ 679 w 1175"/>
                <a:gd name="T45" fmla="*/ 483 h 1202"/>
                <a:gd name="T46" fmla="*/ 679 w 1175"/>
                <a:gd name="T47" fmla="*/ 375 h 1202"/>
                <a:gd name="T48" fmla="*/ 156 w 1175"/>
                <a:gd name="T49" fmla="*/ 375 h 1202"/>
                <a:gd name="T50" fmla="*/ 156 w 1175"/>
                <a:gd name="T51" fmla="*/ 483 h 1202"/>
                <a:gd name="T52" fmla="*/ 679 w 1175"/>
                <a:gd name="T53" fmla="*/ 483 h 1202"/>
                <a:gd name="T54" fmla="*/ 470 w 1175"/>
                <a:gd name="T55" fmla="*/ 697 h 1202"/>
                <a:gd name="T56" fmla="*/ 470 w 1175"/>
                <a:gd name="T57" fmla="*/ 590 h 1202"/>
                <a:gd name="T58" fmla="*/ 156 w 1175"/>
                <a:gd name="T59" fmla="*/ 590 h 1202"/>
                <a:gd name="T60" fmla="*/ 156 w 1175"/>
                <a:gd name="T61" fmla="*/ 697 h 1202"/>
                <a:gd name="T62" fmla="*/ 470 w 1175"/>
                <a:gd name="T63" fmla="*/ 697 h 1202"/>
                <a:gd name="T64" fmla="*/ 679 w 1175"/>
                <a:gd name="T65" fmla="*/ 268 h 1202"/>
                <a:gd name="T66" fmla="*/ 679 w 1175"/>
                <a:gd name="T67" fmla="*/ 161 h 1202"/>
                <a:gd name="T68" fmla="*/ 156 w 1175"/>
                <a:gd name="T69" fmla="*/ 161 h 1202"/>
                <a:gd name="T70" fmla="*/ 156 w 1175"/>
                <a:gd name="T71" fmla="*/ 268 h 1202"/>
                <a:gd name="T72" fmla="*/ 679 w 1175"/>
                <a:gd name="T73" fmla="*/ 268 h 1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175" h="1202">
                  <a:moveTo>
                    <a:pt x="1174" y="183"/>
                  </a:moveTo>
                  <a:lnTo>
                    <a:pt x="1174" y="755"/>
                  </a:lnTo>
                  <a:lnTo>
                    <a:pt x="1109" y="862"/>
                  </a:lnTo>
                  <a:lnTo>
                    <a:pt x="1044" y="754"/>
                  </a:lnTo>
                  <a:lnTo>
                    <a:pt x="1043" y="183"/>
                  </a:lnTo>
                  <a:lnTo>
                    <a:pt x="1174" y="183"/>
                  </a:lnTo>
                  <a:close/>
                  <a:moveTo>
                    <a:pt x="1174" y="34"/>
                  </a:moveTo>
                  <a:lnTo>
                    <a:pt x="1174" y="130"/>
                  </a:lnTo>
                  <a:lnTo>
                    <a:pt x="1043" y="130"/>
                  </a:lnTo>
                  <a:lnTo>
                    <a:pt x="1043" y="34"/>
                  </a:lnTo>
                  <a:cubicBezTo>
                    <a:pt x="1043" y="15"/>
                    <a:pt x="1054" y="0"/>
                    <a:pt x="1068" y="0"/>
                  </a:cubicBezTo>
                  <a:lnTo>
                    <a:pt x="1149" y="0"/>
                  </a:lnTo>
                  <a:cubicBezTo>
                    <a:pt x="1163" y="0"/>
                    <a:pt x="1174" y="15"/>
                    <a:pt x="1174" y="34"/>
                  </a:cubicBezTo>
                  <a:close/>
                  <a:moveTo>
                    <a:pt x="834" y="0"/>
                  </a:moveTo>
                  <a:cubicBezTo>
                    <a:pt x="892" y="0"/>
                    <a:pt x="939" y="48"/>
                    <a:pt x="939" y="107"/>
                  </a:cubicBezTo>
                  <a:lnTo>
                    <a:pt x="939" y="1094"/>
                  </a:lnTo>
                  <a:cubicBezTo>
                    <a:pt x="939" y="1153"/>
                    <a:pt x="892" y="1201"/>
                    <a:pt x="834" y="1201"/>
                  </a:cubicBezTo>
                  <a:lnTo>
                    <a:pt x="104" y="1201"/>
                  </a:lnTo>
                  <a:cubicBezTo>
                    <a:pt x="47" y="1201"/>
                    <a:pt x="0" y="1153"/>
                    <a:pt x="0" y="1094"/>
                  </a:cubicBezTo>
                  <a:lnTo>
                    <a:pt x="0" y="107"/>
                  </a:lnTo>
                  <a:cubicBezTo>
                    <a:pt x="0" y="48"/>
                    <a:pt x="47" y="0"/>
                    <a:pt x="104" y="0"/>
                  </a:cubicBezTo>
                  <a:lnTo>
                    <a:pt x="834" y="0"/>
                  </a:lnTo>
                  <a:close/>
                  <a:moveTo>
                    <a:pt x="679" y="483"/>
                  </a:moveTo>
                  <a:lnTo>
                    <a:pt x="679" y="375"/>
                  </a:lnTo>
                  <a:lnTo>
                    <a:pt x="156" y="375"/>
                  </a:lnTo>
                  <a:lnTo>
                    <a:pt x="156" y="483"/>
                  </a:lnTo>
                  <a:lnTo>
                    <a:pt x="679" y="483"/>
                  </a:lnTo>
                  <a:close/>
                  <a:moveTo>
                    <a:pt x="470" y="697"/>
                  </a:moveTo>
                  <a:lnTo>
                    <a:pt x="470" y="590"/>
                  </a:lnTo>
                  <a:lnTo>
                    <a:pt x="156" y="590"/>
                  </a:lnTo>
                  <a:lnTo>
                    <a:pt x="156" y="697"/>
                  </a:lnTo>
                  <a:lnTo>
                    <a:pt x="470" y="697"/>
                  </a:lnTo>
                  <a:close/>
                  <a:moveTo>
                    <a:pt x="679" y="268"/>
                  </a:moveTo>
                  <a:lnTo>
                    <a:pt x="679" y="161"/>
                  </a:lnTo>
                  <a:lnTo>
                    <a:pt x="156" y="161"/>
                  </a:lnTo>
                  <a:lnTo>
                    <a:pt x="156" y="268"/>
                  </a:lnTo>
                  <a:lnTo>
                    <a:pt x="679" y="268"/>
                  </a:lnTo>
                  <a:close/>
                </a:path>
              </a:pathLst>
            </a:custGeom>
            <a:solidFill>
              <a:srgbClr val="FFFFFF"/>
            </a:solidFill>
            <a:ln>
              <a:noFill/>
            </a:ln>
            <a:effectLst/>
            <a:extLst>
              <a:ext uri="{91240B29-F687-4F45-9708-019B960494DF}">
                <a14:hiddenLine xmlns:a14="http://schemas.microsoft.com/office/drawing/2010/main" w="9525" cap="rnd">
                  <a:solidFill>
                    <a:srgbClr val="FFFFFF"/>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grpSp>
      <p:grpSp>
        <p:nvGrpSpPr>
          <p:cNvPr id="139" name="Group 138">
            <a:extLst>
              <a:ext uri="{FF2B5EF4-FFF2-40B4-BE49-F238E27FC236}">
                <a16:creationId xmlns:a16="http://schemas.microsoft.com/office/drawing/2014/main" id="{0436CCFA-9844-B64F-B822-D48C09A11A09}"/>
              </a:ext>
              <a:ext uri="{C183D7F6-B498-43B3-948B-1728B52AA6E4}">
                <adec:decorative xmlns:adec="http://schemas.microsoft.com/office/drawing/2017/decorative" val="1"/>
              </a:ext>
            </a:extLst>
          </p:cNvPr>
          <p:cNvGrpSpPr/>
          <p:nvPr/>
        </p:nvGrpSpPr>
        <p:grpSpPr>
          <a:xfrm>
            <a:off x="8364729" y="3698244"/>
            <a:ext cx="246768" cy="1241425"/>
            <a:chOff x="6840729" y="3698242"/>
            <a:chExt cx="246768" cy="1241425"/>
          </a:xfrm>
        </p:grpSpPr>
        <p:sp>
          <p:nvSpPr>
            <p:cNvPr id="73" name="Freeform 72">
              <a:extLst>
                <a:ext uri="{FF2B5EF4-FFF2-40B4-BE49-F238E27FC236}">
                  <a16:creationId xmlns:a16="http://schemas.microsoft.com/office/drawing/2014/main" id="{54A16EE7-967C-3049-8AA1-2CF157CA5DD6}"/>
                </a:ext>
              </a:extLst>
            </p:cNvPr>
            <p:cNvSpPr>
              <a:spLocks noChangeArrowheads="1"/>
            </p:cNvSpPr>
            <p:nvPr/>
          </p:nvSpPr>
          <p:spPr bwMode="auto">
            <a:xfrm>
              <a:off x="6841434" y="3698242"/>
              <a:ext cx="246063" cy="1241425"/>
            </a:xfrm>
            <a:custGeom>
              <a:avLst/>
              <a:gdLst>
                <a:gd name="T0" fmla="*/ 682 w 683"/>
                <a:gd name="T1" fmla="*/ 327 h 3449"/>
                <a:gd name="T2" fmla="*/ 341 w 683"/>
                <a:gd name="T3" fmla="*/ 0 h 3449"/>
                <a:gd name="T4" fmla="*/ 0 w 683"/>
                <a:gd name="T5" fmla="*/ 327 h 3449"/>
                <a:gd name="T6" fmla="*/ 0 w 683"/>
                <a:gd name="T7" fmla="*/ 327 h 3449"/>
                <a:gd name="T8" fmla="*/ 0 w 683"/>
                <a:gd name="T9" fmla="*/ 3448 h 3449"/>
                <a:gd name="T10" fmla="*/ 682 w 683"/>
                <a:gd name="T11" fmla="*/ 3448 h 3449"/>
                <a:gd name="T12" fmla="*/ 682 w 683"/>
                <a:gd name="T13" fmla="*/ 327 h 3449"/>
              </a:gdLst>
              <a:ahLst/>
              <a:cxnLst>
                <a:cxn ang="0">
                  <a:pos x="T0" y="T1"/>
                </a:cxn>
                <a:cxn ang="0">
                  <a:pos x="T2" y="T3"/>
                </a:cxn>
                <a:cxn ang="0">
                  <a:pos x="T4" y="T5"/>
                </a:cxn>
                <a:cxn ang="0">
                  <a:pos x="T6" y="T7"/>
                </a:cxn>
                <a:cxn ang="0">
                  <a:pos x="T8" y="T9"/>
                </a:cxn>
                <a:cxn ang="0">
                  <a:pos x="T10" y="T11"/>
                </a:cxn>
                <a:cxn ang="0">
                  <a:pos x="T12" y="T13"/>
                </a:cxn>
              </a:cxnLst>
              <a:rect l="0" t="0" r="r" b="b"/>
              <a:pathLst>
                <a:path w="683" h="3449">
                  <a:moveTo>
                    <a:pt x="682" y="327"/>
                  </a:moveTo>
                  <a:cubicBezTo>
                    <a:pt x="675" y="145"/>
                    <a:pt x="525" y="0"/>
                    <a:pt x="341" y="0"/>
                  </a:cubicBezTo>
                  <a:cubicBezTo>
                    <a:pt x="157" y="0"/>
                    <a:pt x="7" y="145"/>
                    <a:pt x="0" y="327"/>
                  </a:cubicBezTo>
                  <a:lnTo>
                    <a:pt x="0" y="327"/>
                  </a:lnTo>
                  <a:lnTo>
                    <a:pt x="0" y="3448"/>
                  </a:lnTo>
                  <a:lnTo>
                    <a:pt x="682" y="3448"/>
                  </a:lnTo>
                  <a:lnTo>
                    <a:pt x="682" y="327"/>
                  </a:lnTo>
                </a:path>
              </a:pathLst>
            </a:custGeom>
            <a:solidFill>
              <a:srgbClr val="70CF00"/>
            </a:solidFill>
            <a:ln>
              <a:noFill/>
            </a:ln>
            <a:effectLst/>
            <a:extLst>
              <a:ext uri="{91240B29-F687-4F45-9708-019B960494DF}">
                <a14:hiddenLine xmlns:a14="http://schemas.microsoft.com/office/drawing/2010/main" w="9525" cap="rnd">
                  <a:solidFill>
                    <a:srgbClr val="FFFFFF"/>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74" name="Rectangle 73">
              <a:extLst>
                <a:ext uri="{FF2B5EF4-FFF2-40B4-BE49-F238E27FC236}">
                  <a16:creationId xmlns:a16="http://schemas.microsoft.com/office/drawing/2014/main" id="{1E75BC6F-AE58-7148-BA43-2B6E528EC567}"/>
                </a:ext>
              </a:extLst>
            </p:cNvPr>
            <p:cNvSpPr/>
            <p:nvPr/>
          </p:nvSpPr>
          <p:spPr>
            <a:xfrm>
              <a:off x="6840729" y="3841116"/>
              <a:ext cx="245179" cy="103189"/>
            </a:xfrm>
            <a:prstGeom prst="rect">
              <a:avLst/>
            </a:prstGeom>
            <a:solidFill>
              <a:srgbClr val="61BC00"/>
            </a:solidFill>
            <a:ln>
              <a:noFill/>
            </a:ln>
          </p:spPr>
          <p:style>
            <a:lnRef idx="2">
              <a:schemeClr val="accent1">
                <a:shade val="50000"/>
              </a:schemeClr>
            </a:lnRef>
            <a:fillRef idx="1">
              <a:schemeClr val="accent1"/>
            </a:fillRef>
            <a:effectRef idx="0">
              <a:schemeClr val="accent1"/>
            </a:effectRef>
            <a:fontRef idx="minor">
              <a:schemeClr val="lt1"/>
            </a:fontRef>
          </p:style>
          <p:txBody>
            <a:bodyPr lIns="137160" tIns="137160" rIns="137160" bIns="137160" rtlCol="0" anchor="ctr"/>
            <a:lstStyle/>
            <a:p>
              <a:pPr algn="ctr"/>
              <a:endParaRPr lang="en-US" sz="1800" dirty="0">
                <a:solidFill>
                  <a:schemeClr val="tx1"/>
                </a:solidFill>
              </a:endParaRPr>
            </a:p>
          </p:txBody>
        </p:sp>
        <p:sp>
          <p:nvSpPr>
            <p:cNvPr id="77" name="Freeform 76">
              <a:extLst>
                <a:ext uri="{FF2B5EF4-FFF2-40B4-BE49-F238E27FC236}">
                  <a16:creationId xmlns:a16="http://schemas.microsoft.com/office/drawing/2014/main" id="{23FF2B14-2709-8F4B-9547-1D3DF7E4BD31}"/>
                </a:ext>
              </a:extLst>
            </p:cNvPr>
            <p:cNvSpPr>
              <a:spLocks noChangeArrowheads="1"/>
            </p:cNvSpPr>
            <p:nvPr/>
          </p:nvSpPr>
          <p:spPr bwMode="auto">
            <a:xfrm>
              <a:off x="6841434" y="3698243"/>
              <a:ext cx="246063" cy="246063"/>
            </a:xfrm>
            <a:custGeom>
              <a:avLst/>
              <a:gdLst>
                <a:gd name="T0" fmla="*/ 682 w 683"/>
                <a:gd name="T1" fmla="*/ 340 h 682"/>
                <a:gd name="T2" fmla="*/ 637 w 683"/>
                <a:gd name="T3" fmla="*/ 511 h 682"/>
                <a:gd name="T4" fmla="*/ 512 w 683"/>
                <a:gd name="T5" fmla="*/ 636 h 682"/>
                <a:gd name="T6" fmla="*/ 341 w 683"/>
                <a:gd name="T7" fmla="*/ 681 h 682"/>
                <a:gd name="T8" fmla="*/ 170 w 683"/>
                <a:gd name="T9" fmla="*/ 636 h 682"/>
                <a:gd name="T10" fmla="*/ 45 w 683"/>
                <a:gd name="T11" fmla="*/ 511 h 682"/>
                <a:gd name="T12" fmla="*/ 0 w 683"/>
                <a:gd name="T13" fmla="*/ 340 h 682"/>
                <a:gd name="T14" fmla="*/ 45 w 683"/>
                <a:gd name="T15" fmla="*/ 170 h 682"/>
                <a:gd name="T16" fmla="*/ 170 w 683"/>
                <a:gd name="T17" fmla="*/ 46 h 682"/>
                <a:gd name="T18" fmla="*/ 341 w 683"/>
                <a:gd name="T19" fmla="*/ 0 h 682"/>
                <a:gd name="T20" fmla="*/ 512 w 683"/>
                <a:gd name="T21" fmla="*/ 46 h 682"/>
                <a:gd name="T22" fmla="*/ 637 w 683"/>
                <a:gd name="T23" fmla="*/ 170 h 682"/>
                <a:gd name="T24" fmla="*/ 682 w 683"/>
                <a:gd name="T25" fmla="*/ 340 h 6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3" h="682">
                  <a:moveTo>
                    <a:pt x="682" y="340"/>
                  </a:moveTo>
                  <a:cubicBezTo>
                    <a:pt x="682" y="403"/>
                    <a:pt x="668" y="457"/>
                    <a:pt x="637" y="511"/>
                  </a:cubicBezTo>
                  <a:cubicBezTo>
                    <a:pt x="605" y="566"/>
                    <a:pt x="566" y="605"/>
                    <a:pt x="512" y="636"/>
                  </a:cubicBezTo>
                  <a:cubicBezTo>
                    <a:pt x="457" y="668"/>
                    <a:pt x="404" y="681"/>
                    <a:pt x="341" y="681"/>
                  </a:cubicBezTo>
                  <a:cubicBezTo>
                    <a:pt x="278" y="681"/>
                    <a:pt x="224" y="668"/>
                    <a:pt x="170" y="636"/>
                  </a:cubicBezTo>
                  <a:cubicBezTo>
                    <a:pt x="115" y="605"/>
                    <a:pt x="76" y="566"/>
                    <a:pt x="45" y="511"/>
                  </a:cubicBezTo>
                  <a:cubicBezTo>
                    <a:pt x="13" y="457"/>
                    <a:pt x="0" y="403"/>
                    <a:pt x="0" y="340"/>
                  </a:cubicBezTo>
                  <a:cubicBezTo>
                    <a:pt x="0" y="278"/>
                    <a:pt x="13" y="224"/>
                    <a:pt x="45" y="170"/>
                  </a:cubicBezTo>
                  <a:cubicBezTo>
                    <a:pt x="76" y="115"/>
                    <a:pt x="115" y="77"/>
                    <a:pt x="170" y="46"/>
                  </a:cubicBezTo>
                  <a:cubicBezTo>
                    <a:pt x="224" y="14"/>
                    <a:pt x="278" y="0"/>
                    <a:pt x="341" y="0"/>
                  </a:cubicBezTo>
                  <a:cubicBezTo>
                    <a:pt x="404" y="0"/>
                    <a:pt x="457" y="14"/>
                    <a:pt x="512" y="46"/>
                  </a:cubicBezTo>
                  <a:cubicBezTo>
                    <a:pt x="566" y="77"/>
                    <a:pt x="605" y="115"/>
                    <a:pt x="637" y="170"/>
                  </a:cubicBezTo>
                  <a:cubicBezTo>
                    <a:pt x="668" y="224"/>
                    <a:pt x="682" y="278"/>
                    <a:pt x="682" y="340"/>
                  </a:cubicBezTo>
                </a:path>
              </a:pathLst>
            </a:custGeom>
            <a:solidFill>
              <a:srgbClr val="2A9C00"/>
            </a:solidFill>
            <a:ln>
              <a:noFill/>
            </a:ln>
            <a:effectLst/>
          </p:spPr>
          <p:txBody>
            <a:bodyPr wrap="none" anchor="ctr"/>
            <a:lstStyle/>
            <a:p>
              <a:endParaRPr lang="en-US" sz="1800"/>
            </a:p>
          </p:txBody>
        </p:sp>
      </p:grpSp>
      <p:grpSp>
        <p:nvGrpSpPr>
          <p:cNvPr id="50" name="Group 49">
            <a:extLst>
              <a:ext uri="{FF2B5EF4-FFF2-40B4-BE49-F238E27FC236}">
                <a16:creationId xmlns:a16="http://schemas.microsoft.com/office/drawing/2014/main" id="{B8E3BE37-4BD3-3048-A850-40E348B1213B}"/>
              </a:ext>
              <a:ext uri="{C183D7F6-B498-43B3-948B-1728B52AA6E4}">
                <adec:decorative xmlns:adec="http://schemas.microsoft.com/office/drawing/2017/decorative" val="1"/>
              </a:ext>
            </a:extLst>
          </p:cNvPr>
          <p:cNvGrpSpPr>
            <a:grpSpLocks noChangeAspect="1"/>
          </p:cNvGrpSpPr>
          <p:nvPr/>
        </p:nvGrpSpPr>
        <p:grpSpPr>
          <a:xfrm>
            <a:off x="8145556" y="4495167"/>
            <a:ext cx="702000" cy="702000"/>
            <a:chOff x="6595370" y="4809492"/>
            <a:chExt cx="728663" cy="728663"/>
          </a:xfrm>
        </p:grpSpPr>
        <p:sp>
          <p:nvSpPr>
            <p:cNvPr id="75" name="Freeform 74">
              <a:extLst>
                <a:ext uri="{FF2B5EF4-FFF2-40B4-BE49-F238E27FC236}">
                  <a16:creationId xmlns:a16="http://schemas.microsoft.com/office/drawing/2014/main" id="{B03E8461-5489-8A40-91F4-8A8F8C52F1F2}"/>
                </a:ext>
              </a:extLst>
            </p:cNvPr>
            <p:cNvSpPr>
              <a:spLocks noChangeArrowheads="1"/>
            </p:cNvSpPr>
            <p:nvPr/>
          </p:nvSpPr>
          <p:spPr bwMode="auto">
            <a:xfrm>
              <a:off x="6595370" y="4809492"/>
              <a:ext cx="728663" cy="728663"/>
            </a:xfrm>
            <a:custGeom>
              <a:avLst/>
              <a:gdLst>
                <a:gd name="T0" fmla="*/ 2021 w 2022"/>
                <a:gd name="T1" fmla="*/ 1011 h 2023"/>
                <a:gd name="T2" fmla="*/ 1886 w 2022"/>
                <a:gd name="T3" fmla="*/ 1517 h 2023"/>
                <a:gd name="T4" fmla="*/ 1516 w 2022"/>
                <a:gd name="T5" fmla="*/ 1887 h 2023"/>
                <a:gd name="T6" fmla="*/ 1011 w 2022"/>
                <a:gd name="T7" fmla="*/ 2022 h 2023"/>
                <a:gd name="T8" fmla="*/ 505 w 2022"/>
                <a:gd name="T9" fmla="*/ 1887 h 2023"/>
                <a:gd name="T10" fmla="*/ 135 w 2022"/>
                <a:gd name="T11" fmla="*/ 1517 h 2023"/>
                <a:gd name="T12" fmla="*/ 0 w 2022"/>
                <a:gd name="T13" fmla="*/ 1011 h 2023"/>
                <a:gd name="T14" fmla="*/ 135 w 2022"/>
                <a:gd name="T15" fmla="*/ 506 h 2023"/>
                <a:gd name="T16" fmla="*/ 505 w 2022"/>
                <a:gd name="T17" fmla="*/ 136 h 2023"/>
                <a:gd name="T18" fmla="*/ 1011 w 2022"/>
                <a:gd name="T19" fmla="*/ 0 h 2023"/>
                <a:gd name="T20" fmla="*/ 1516 w 2022"/>
                <a:gd name="T21" fmla="*/ 136 h 2023"/>
                <a:gd name="T22" fmla="*/ 1886 w 2022"/>
                <a:gd name="T23" fmla="*/ 506 h 2023"/>
                <a:gd name="T24" fmla="*/ 2021 w 2022"/>
                <a:gd name="T25" fmla="*/ 1011 h 20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2" h="2023">
                  <a:moveTo>
                    <a:pt x="2021" y="1011"/>
                  </a:moveTo>
                  <a:cubicBezTo>
                    <a:pt x="2021" y="1197"/>
                    <a:pt x="1979" y="1356"/>
                    <a:pt x="1886" y="1517"/>
                  </a:cubicBezTo>
                  <a:cubicBezTo>
                    <a:pt x="1793" y="1678"/>
                    <a:pt x="1677" y="1794"/>
                    <a:pt x="1516" y="1887"/>
                  </a:cubicBezTo>
                  <a:cubicBezTo>
                    <a:pt x="1355" y="1980"/>
                    <a:pt x="1197" y="2022"/>
                    <a:pt x="1011" y="2022"/>
                  </a:cubicBezTo>
                  <a:cubicBezTo>
                    <a:pt x="825" y="2022"/>
                    <a:pt x="666" y="1980"/>
                    <a:pt x="505" y="1887"/>
                  </a:cubicBezTo>
                  <a:cubicBezTo>
                    <a:pt x="344" y="1794"/>
                    <a:pt x="228" y="1678"/>
                    <a:pt x="135" y="1517"/>
                  </a:cubicBezTo>
                  <a:cubicBezTo>
                    <a:pt x="42" y="1356"/>
                    <a:pt x="0" y="1197"/>
                    <a:pt x="0" y="1011"/>
                  </a:cubicBezTo>
                  <a:cubicBezTo>
                    <a:pt x="0" y="825"/>
                    <a:pt x="42" y="667"/>
                    <a:pt x="135" y="506"/>
                  </a:cubicBezTo>
                  <a:cubicBezTo>
                    <a:pt x="228" y="345"/>
                    <a:pt x="344" y="229"/>
                    <a:pt x="505" y="136"/>
                  </a:cubicBezTo>
                  <a:cubicBezTo>
                    <a:pt x="666" y="43"/>
                    <a:pt x="825" y="0"/>
                    <a:pt x="1011" y="0"/>
                  </a:cubicBezTo>
                  <a:cubicBezTo>
                    <a:pt x="1197" y="0"/>
                    <a:pt x="1355" y="43"/>
                    <a:pt x="1516" y="136"/>
                  </a:cubicBezTo>
                  <a:cubicBezTo>
                    <a:pt x="1677" y="229"/>
                    <a:pt x="1793" y="345"/>
                    <a:pt x="1886" y="506"/>
                  </a:cubicBezTo>
                  <a:cubicBezTo>
                    <a:pt x="1979" y="667"/>
                    <a:pt x="2021" y="825"/>
                    <a:pt x="2021" y="1011"/>
                  </a:cubicBezTo>
                </a:path>
              </a:pathLst>
            </a:custGeom>
            <a:solidFill>
              <a:srgbClr val="121519"/>
            </a:solidFill>
            <a:ln>
              <a:noFill/>
            </a:ln>
            <a:effectLst/>
            <a:extLst>
              <a:ext uri="{91240B29-F687-4F45-9708-019B960494DF}">
                <a14:hiddenLine xmlns:a14="http://schemas.microsoft.com/office/drawing/2010/main" w="9525" cap="rnd">
                  <a:solidFill>
                    <a:srgbClr val="FFFFFF"/>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32" name="Freeform 32">
              <a:extLst>
                <a:ext uri="{FF2B5EF4-FFF2-40B4-BE49-F238E27FC236}">
                  <a16:creationId xmlns:a16="http://schemas.microsoft.com/office/drawing/2014/main" id="{EDBA7AFC-76C6-B647-82A9-E63BAC7F3673}"/>
                </a:ext>
              </a:extLst>
            </p:cNvPr>
            <p:cNvSpPr>
              <a:spLocks noChangeArrowheads="1"/>
            </p:cNvSpPr>
            <p:nvPr/>
          </p:nvSpPr>
          <p:spPr bwMode="auto">
            <a:xfrm>
              <a:off x="6705995" y="4920779"/>
              <a:ext cx="519134" cy="519134"/>
            </a:xfrm>
            <a:custGeom>
              <a:avLst/>
              <a:gdLst>
                <a:gd name="T0" fmla="*/ 940 w 1566"/>
                <a:gd name="T1" fmla="*/ 983 h 1566"/>
                <a:gd name="T2" fmla="*/ 1068 w 1566"/>
                <a:gd name="T3" fmla="*/ 922 h 1566"/>
                <a:gd name="T4" fmla="*/ 1007 w 1566"/>
                <a:gd name="T5" fmla="*/ 1050 h 1566"/>
                <a:gd name="T6" fmla="*/ 1128 w 1566"/>
                <a:gd name="T7" fmla="*/ 1238 h 1566"/>
                <a:gd name="T8" fmla="*/ 752 w 1566"/>
                <a:gd name="T9" fmla="*/ 1547 h 1566"/>
                <a:gd name="T10" fmla="*/ 443 w 1566"/>
                <a:gd name="T11" fmla="*/ 1171 h 1566"/>
                <a:gd name="T12" fmla="*/ 539 w 1566"/>
                <a:gd name="T13" fmla="*/ 1119 h 1566"/>
                <a:gd name="T14" fmla="*/ 695 w 1566"/>
                <a:gd name="T15" fmla="*/ 963 h 1566"/>
                <a:gd name="T16" fmla="*/ 729 w 1566"/>
                <a:gd name="T17" fmla="*/ 885 h 1566"/>
                <a:gd name="T18" fmla="*/ 848 w 1566"/>
                <a:gd name="T19" fmla="*/ 892 h 1566"/>
                <a:gd name="T20" fmla="*/ 983 w 1566"/>
                <a:gd name="T21" fmla="*/ 629 h 1566"/>
                <a:gd name="T22" fmla="*/ 922 w 1566"/>
                <a:gd name="T23" fmla="*/ 501 h 1566"/>
                <a:gd name="T24" fmla="*/ 1050 w 1566"/>
                <a:gd name="T25" fmla="*/ 562 h 1566"/>
                <a:gd name="T26" fmla="*/ 1238 w 1566"/>
                <a:gd name="T27" fmla="*/ 441 h 1566"/>
                <a:gd name="T28" fmla="*/ 1547 w 1566"/>
                <a:gd name="T29" fmla="*/ 817 h 1566"/>
                <a:gd name="T30" fmla="*/ 1171 w 1566"/>
                <a:gd name="T31" fmla="*/ 1126 h 1566"/>
                <a:gd name="T32" fmla="*/ 1116 w 1566"/>
                <a:gd name="T33" fmla="*/ 1028 h 1566"/>
                <a:gd name="T34" fmla="*/ 961 w 1566"/>
                <a:gd name="T35" fmla="*/ 872 h 1566"/>
                <a:gd name="T36" fmla="*/ 883 w 1566"/>
                <a:gd name="T37" fmla="*/ 840 h 1566"/>
                <a:gd name="T38" fmla="*/ 892 w 1566"/>
                <a:gd name="T39" fmla="*/ 721 h 1566"/>
                <a:gd name="T40" fmla="*/ 582 w 1566"/>
                <a:gd name="T41" fmla="*/ 937 h 1566"/>
                <a:gd name="T42" fmla="*/ 643 w 1566"/>
                <a:gd name="T43" fmla="*/ 1065 h 1566"/>
                <a:gd name="T44" fmla="*/ 515 w 1566"/>
                <a:gd name="T45" fmla="*/ 1004 h 1566"/>
                <a:gd name="T46" fmla="*/ 327 w 1566"/>
                <a:gd name="T47" fmla="*/ 1124 h 1566"/>
                <a:gd name="T48" fmla="*/ 18 w 1566"/>
                <a:gd name="T49" fmla="*/ 748 h 1566"/>
                <a:gd name="T50" fmla="*/ 394 w 1566"/>
                <a:gd name="T51" fmla="*/ 440 h 1566"/>
                <a:gd name="T52" fmla="*/ 449 w 1566"/>
                <a:gd name="T53" fmla="*/ 538 h 1566"/>
                <a:gd name="T54" fmla="*/ 604 w 1566"/>
                <a:gd name="T55" fmla="*/ 694 h 1566"/>
                <a:gd name="T56" fmla="*/ 682 w 1566"/>
                <a:gd name="T57" fmla="*/ 726 h 1566"/>
                <a:gd name="T58" fmla="*/ 674 w 1566"/>
                <a:gd name="T59" fmla="*/ 845 h 1566"/>
                <a:gd name="T60" fmla="*/ 623 w 1566"/>
                <a:gd name="T61" fmla="*/ 582 h 1566"/>
                <a:gd name="T62" fmla="*/ 495 w 1566"/>
                <a:gd name="T63" fmla="*/ 643 h 1566"/>
                <a:gd name="T64" fmla="*/ 556 w 1566"/>
                <a:gd name="T65" fmla="*/ 515 h 1566"/>
                <a:gd name="T66" fmla="*/ 435 w 1566"/>
                <a:gd name="T67" fmla="*/ 327 h 1566"/>
                <a:gd name="T68" fmla="*/ 811 w 1566"/>
                <a:gd name="T69" fmla="*/ 18 h 1566"/>
                <a:gd name="T70" fmla="*/ 1120 w 1566"/>
                <a:gd name="T71" fmla="*/ 394 h 1566"/>
                <a:gd name="T72" fmla="*/ 1024 w 1566"/>
                <a:gd name="T73" fmla="*/ 446 h 1566"/>
                <a:gd name="T74" fmla="*/ 867 w 1566"/>
                <a:gd name="T75" fmla="*/ 602 h 1566"/>
                <a:gd name="T76" fmla="*/ 834 w 1566"/>
                <a:gd name="T77" fmla="*/ 680 h 1566"/>
                <a:gd name="T78" fmla="*/ 715 w 1566"/>
                <a:gd name="T79" fmla="*/ 673 h 15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66" h="1566">
                  <a:moveTo>
                    <a:pt x="848" y="892"/>
                  </a:moveTo>
                  <a:lnTo>
                    <a:pt x="940" y="983"/>
                  </a:lnTo>
                  <a:lnTo>
                    <a:pt x="989" y="934"/>
                  </a:lnTo>
                  <a:cubicBezTo>
                    <a:pt x="1019" y="904"/>
                    <a:pt x="1047" y="900"/>
                    <a:pt x="1068" y="922"/>
                  </a:cubicBezTo>
                  <a:cubicBezTo>
                    <a:pt x="1090" y="943"/>
                    <a:pt x="1085" y="971"/>
                    <a:pt x="1056" y="1001"/>
                  </a:cubicBezTo>
                  <a:lnTo>
                    <a:pt x="1007" y="1050"/>
                  </a:lnTo>
                  <a:lnTo>
                    <a:pt x="1128" y="1171"/>
                  </a:lnTo>
                  <a:cubicBezTo>
                    <a:pt x="1146" y="1189"/>
                    <a:pt x="1146" y="1220"/>
                    <a:pt x="1128" y="1238"/>
                  </a:cubicBezTo>
                  <a:lnTo>
                    <a:pt x="819" y="1547"/>
                  </a:lnTo>
                  <a:cubicBezTo>
                    <a:pt x="801" y="1565"/>
                    <a:pt x="770" y="1565"/>
                    <a:pt x="752" y="1547"/>
                  </a:cubicBezTo>
                  <a:lnTo>
                    <a:pt x="443" y="1238"/>
                  </a:lnTo>
                  <a:cubicBezTo>
                    <a:pt x="424" y="1220"/>
                    <a:pt x="424" y="1189"/>
                    <a:pt x="443" y="1171"/>
                  </a:cubicBezTo>
                  <a:lnTo>
                    <a:pt x="515" y="1097"/>
                  </a:lnTo>
                  <a:lnTo>
                    <a:pt x="539" y="1119"/>
                  </a:lnTo>
                  <a:cubicBezTo>
                    <a:pt x="583" y="1157"/>
                    <a:pt x="650" y="1151"/>
                    <a:pt x="690" y="1113"/>
                  </a:cubicBezTo>
                  <a:cubicBezTo>
                    <a:pt x="731" y="1075"/>
                    <a:pt x="737" y="1004"/>
                    <a:pt x="695" y="963"/>
                  </a:cubicBezTo>
                  <a:lnTo>
                    <a:pt x="674" y="943"/>
                  </a:lnTo>
                  <a:cubicBezTo>
                    <a:pt x="680" y="937"/>
                    <a:pt x="688" y="928"/>
                    <a:pt x="729" y="885"/>
                  </a:cubicBezTo>
                  <a:cubicBezTo>
                    <a:pt x="764" y="849"/>
                    <a:pt x="775" y="837"/>
                    <a:pt x="784" y="828"/>
                  </a:cubicBezTo>
                  <a:cubicBezTo>
                    <a:pt x="794" y="838"/>
                    <a:pt x="806" y="850"/>
                    <a:pt x="848" y="892"/>
                  </a:cubicBezTo>
                  <a:close/>
                  <a:moveTo>
                    <a:pt x="892" y="721"/>
                  </a:moveTo>
                  <a:lnTo>
                    <a:pt x="983" y="629"/>
                  </a:lnTo>
                  <a:lnTo>
                    <a:pt x="934" y="580"/>
                  </a:lnTo>
                  <a:cubicBezTo>
                    <a:pt x="904" y="550"/>
                    <a:pt x="900" y="522"/>
                    <a:pt x="922" y="501"/>
                  </a:cubicBezTo>
                  <a:cubicBezTo>
                    <a:pt x="943" y="479"/>
                    <a:pt x="971" y="484"/>
                    <a:pt x="1001" y="513"/>
                  </a:cubicBezTo>
                  <a:lnTo>
                    <a:pt x="1050" y="562"/>
                  </a:lnTo>
                  <a:lnTo>
                    <a:pt x="1171" y="441"/>
                  </a:lnTo>
                  <a:cubicBezTo>
                    <a:pt x="1189" y="423"/>
                    <a:pt x="1220" y="423"/>
                    <a:pt x="1238" y="441"/>
                  </a:cubicBezTo>
                  <a:lnTo>
                    <a:pt x="1547" y="750"/>
                  </a:lnTo>
                  <a:cubicBezTo>
                    <a:pt x="1565" y="768"/>
                    <a:pt x="1565" y="799"/>
                    <a:pt x="1547" y="817"/>
                  </a:cubicBezTo>
                  <a:lnTo>
                    <a:pt x="1238" y="1126"/>
                  </a:lnTo>
                  <a:cubicBezTo>
                    <a:pt x="1220" y="1145"/>
                    <a:pt x="1189" y="1145"/>
                    <a:pt x="1171" y="1126"/>
                  </a:cubicBezTo>
                  <a:lnTo>
                    <a:pt x="1094" y="1050"/>
                  </a:lnTo>
                  <a:lnTo>
                    <a:pt x="1116" y="1028"/>
                  </a:lnTo>
                  <a:cubicBezTo>
                    <a:pt x="1159" y="985"/>
                    <a:pt x="1159" y="915"/>
                    <a:pt x="1116" y="872"/>
                  </a:cubicBezTo>
                  <a:cubicBezTo>
                    <a:pt x="1073" y="829"/>
                    <a:pt x="1004" y="829"/>
                    <a:pt x="961" y="872"/>
                  </a:cubicBezTo>
                  <a:lnTo>
                    <a:pt x="939" y="894"/>
                  </a:lnTo>
                  <a:cubicBezTo>
                    <a:pt x="933" y="889"/>
                    <a:pt x="925" y="880"/>
                    <a:pt x="883" y="840"/>
                  </a:cubicBezTo>
                  <a:cubicBezTo>
                    <a:pt x="848" y="806"/>
                    <a:pt x="837" y="794"/>
                    <a:pt x="827" y="785"/>
                  </a:cubicBezTo>
                  <a:cubicBezTo>
                    <a:pt x="838" y="775"/>
                    <a:pt x="850" y="763"/>
                    <a:pt x="892" y="721"/>
                  </a:cubicBezTo>
                  <a:close/>
                  <a:moveTo>
                    <a:pt x="674" y="845"/>
                  </a:moveTo>
                  <a:lnTo>
                    <a:pt x="582" y="937"/>
                  </a:lnTo>
                  <a:lnTo>
                    <a:pt x="631" y="986"/>
                  </a:lnTo>
                  <a:cubicBezTo>
                    <a:pt x="661" y="1015"/>
                    <a:pt x="665" y="1043"/>
                    <a:pt x="643" y="1065"/>
                  </a:cubicBezTo>
                  <a:cubicBezTo>
                    <a:pt x="622" y="1087"/>
                    <a:pt x="594" y="1082"/>
                    <a:pt x="564" y="1053"/>
                  </a:cubicBezTo>
                  <a:lnTo>
                    <a:pt x="515" y="1004"/>
                  </a:lnTo>
                  <a:lnTo>
                    <a:pt x="394" y="1124"/>
                  </a:lnTo>
                  <a:cubicBezTo>
                    <a:pt x="376" y="1143"/>
                    <a:pt x="345" y="1143"/>
                    <a:pt x="327" y="1124"/>
                  </a:cubicBezTo>
                  <a:lnTo>
                    <a:pt x="18" y="816"/>
                  </a:lnTo>
                  <a:cubicBezTo>
                    <a:pt x="0" y="797"/>
                    <a:pt x="0" y="767"/>
                    <a:pt x="18" y="748"/>
                  </a:cubicBezTo>
                  <a:lnTo>
                    <a:pt x="327" y="440"/>
                  </a:lnTo>
                  <a:cubicBezTo>
                    <a:pt x="345" y="421"/>
                    <a:pt x="376" y="421"/>
                    <a:pt x="394" y="440"/>
                  </a:cubicBezTo>
                  <a:lnTo>
                    <a:pt x="471" y="516"/>
                  </a:lnTo>
                  <a:lnTo>
                    <a:pt x="449" y="538"/>
                  </a:lnTo>
                  <a:cubicBezTo>
                    <a:pt x="406" y="581"/>
                    <a:pt x="406" y="651"/>
                    <a:pt x="449" y="694"/>
                  </a:cubicBezTo>
                  <a:cubicBezTo>
                    <a:pt x="492" y="737"/>
                    <a:pt x="562" y="737"/>
                    <a:pt x="604" y="694"/>
                  </a:cubicBezTo>
                  <a:lnTo>
                    <a:pt x="627" y="672"/>
                  </a:lnTo>
                  <a:cubicBezTo>
                    <a:pt x="632" y="677"/>
                    <a:pt x="640" y="685"/>
                    <a:pt x="682" y="726"/>
                  </a:cubicBezTo>
                  <a:cubicBezTo>
                    <a:pt x="717" y="760"/>
                    <a:pt x="729" y="771"/>
                    <a:pt x="738" y="780"/>
                  </a:cubicBezTo>
                  <a:cubicBezTo>
                    <a:pt x="727" y="791"/>
                    <a:pt x="715" y="803"/>
                    <a:pt x="674" y="845"/>
                  </a:cubicBezTo>
                  <a:close/>
                  <a:moveTo>
                    <a:pt x="715" y="673"/>
                  </a:moveTo>
                  <a:lnTo>
                    <a:pt x="623" y="582"/>
                  </a:lnTo>
                  <a:lnTo>
                    <a:pt x="574" y="631"/>
                  </a:lnTo>
                  <a:cubicBezTo>
                    <a:pt x="544" y="661"/>
                    <a:pt x="516" y="665"/>
                    <a:pt x="495" y="643"/>
                  </a:cubicBezTo>
                  <a:cubicBezTo>
                    <a:pt x="473" y="622"/>
                    <a:pt x="477" y="594"/>
                    <a:pt x="507" y="564"/>
                  </a:cubicBezTo>
                  <a:lnTo>
                    <a:pt x="556" y="515"/>
                  </a:lnTo>
                  <a:lnTo>
                    <a:pt x="435" y="394"/>
                  </a:lnTo>
                  <a:cubicBezTo>
                    <a:pt x="417" y="376"/>
                    <a:pt x="417" y="345"/>
                    <a:pt x="435" y="327"/>
                  </a:cubicBezTo>
                  <a:lnTo>
                    <a:pt x="744" y="18"/>
                  </a:lnTo>
                  <a:cubicBezTo>
                    <a:pt x="762" y="0"/>
                    <a:pt x="792" y="0"/>
                    <a:pt x="811" y="18"/>
                  </a:cubicBezTo>
                  <a:lnTo>
                    <a:pt x="1120" y="327"/>
                  </a:lnTo>
                  <a:cubicBezTo>
                    <a:pt x="1138" y="345"/>
                    <a:pt x="1138" y="376"/>
                    <a:pt x="1120" y="394"/>
                  </a:cubicBezTo>
                  <a:lnTo>
                    <a:pt x="1047" y="468"/>
                  </a:lnTo>
                  <a:lnTo>
                    <a:pt x="1024" y="446"/>
                  </a:lnTo>
                  <a:cubicBezTo>
                    <a:pt x="980" y="408"/>
                    <a:pt x="913" y="414"/>
                    <a:pt x="873" y="452"/>
                  </a:cubicBezTo>
                  <a:cubicBezTo>
                    <a:pt x="832" y="490"/>
                    <a:pt x="826" y="561"/>
                    <a:pt x="867" y="602"/>
                  </a:cubicBezTo>
                  <a:lnTo>
                    <a:pt x="889" y="622"/>
                  </a:lnTo>
                  <a:cubicBezTo>
                    <a:pt x="883" y="628"/>
                    <a:pt x="875" y="637"/>
                    <a:pt x="834" y="680"/>
                  </a:cubicBezTo>
                  <a:cubicBezTo>
                    <a:pt x="799" y="716"/>
                    <a:pt x="788" y="728"/>
                    <a:pt x="779" y="737"/>
                  </a:cubicBezTo>
                  <a:cubicBezTo>
                    <a:pt x="769" y="727"/>
                    <a:pt x="757" y="715"/>
                    <a:pt x="715" y="673"/>
                  </a:cubicBezTo>
                  <a:close/>
                </a:path>
              </a:pathLst>
            </a:custGeom>
            <a:solidFill>
              <a:srgbClr val="FFFFFF"/>
            </a:solidFill>
            <a:ln>
              <a:noFill/>
            </a:ln>
            <a:effectLst/>
            <a:extLst>
              <a:ext uri="{91240B29-F687-4F45-9708-019B960494DF}">
                <a14:hiddenLine xmlns:a14="http://schemas.microsoft.com/office/drawing/2010/main" w="9525" cap="rnd">
                  <a:solidFill>
                    <a:srgbClr val="FFFFFF"/>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dirty="0"/>
            </a:p>
          </p:txBody>
        </p:sp>
      </p:grpSp>
      <p:grpSp>
        <p:nvGrpSpPr>
          <p:cNvPr id="40" name="Group 39">
            <a:extLst>
              <a:ext uri="{FF2B5EF4-FFF2-40B4-BE49-F238E27FC236}">
                <a16:creationId xmlns:a16="http://schemas.microsoft.com/office/drawing/2014/main" id="{29A7A21D-B896-C545-BFAD-AECECE8A2384}"/>
              </a:ext>
              <a:ext uri="{C183D7F6-B498-43B3-948B-1728B52AA6E4}">
                <adec:decorative xmlns:adec="http://schemas.microsoft.com/office/drawing/2017/decorative" val="1"/>
              </a:ext>
            </a:extLst>
          </p:cNvPr>
          <p:cNvGrpSpPr>
            <a:grpSpLocks noChangeAspect="1"/>
          </p:cNvGrpSpPr>
          <p:nvPr/>
        </p:nvGrpSpPr>
        <p:grpSpPr>
          <a:xfrm>
            <a:off x="9145924" y="3463292"/>
            <a:ext cx="702000" cy="702000"/>
            <a:chOff x="7621924" y="3463292"/>
            <a:chExt cx="727075" cy="727075"/>
          </a:xfrm>
        </p:grpSpPr>
        <p:sp>
          <p:nvSpPr>
            <p:cNvPr id="38" name="Freeform 49">
              <a:extLst>
                <a:ext uri="{FF2B5EF4-FFF2-40B4-BE49-F238E27FC236}">
                  <a16:creationId xmlns:a16="http://schemas.microsoft.com/office/drawing/2014/main" id="{306AB42D-6C35-4F43-B82F-D638F82E13F9}"/>
                </a:ext>
              </a:extLst>
            </p:cNvPr>
            <p:cNvSpPr>
              <a:spLocks noChangeArrowheads="1"/>
            </p:cNvSpPr>
            <p:nvPr/>
          </p:nvSpPr>
          <p:spPr bwMode="auto">
            <a:xfrm>
              <a:off x="7621924" y="3463292"/>
              <a:ext cx="727075" cy="727075"/>
            </a:xfrm>
            <a:custGeom>
              <a:avLst/>
              <a:gdLst>
                <a:gd name="T0" fmla="*/ 2020 w 2021"/>
                <a:gd name="T1" fmla="*/ 1010 h 2021"/>
                <a:gd name="T2" fmla="*/ 1885 w 2021"/>
                <a:gd name="T3" fmla="*/ 1515 h 2021"/>
                <a:gd name="T4" fmla="*/ 1515 w 2021"/>
                <a:gd name="T5" fmla="*/ 1885 h 2021"/>
                <a:gd name="T6" fmla="*/ 1010 w 2021"/>
                <a:gd name="T7" fmla="*/ 2020 h 2021"/>
                <a:gd name="T8" fmla="*/ 505 w 2021"/>
                <a:gd name="T9" fmla="*/ 1885 h 2021"/>
                <a:gd name="T10" fmla="*/ 135 w 2021"/>
                <a:gd name="T11" fmla="*/ 1515 h 2021"/>
                <a:gd name="T12" fmla="*/ 0 w 2021"/>
                <a:gd name="T13" fmla="*/ 1010 h 2021"/>
                <a:gd name="T14" fmla="*/ 135 w 2021"/>
                <a:gd name="T15" fmla="*/ 506 h 2021"/>
                <a:gd name="T16" fmla="*/ 505 w 2021"/>
                <a:gd name="T17" fmla="*/ 136 h 2021"/>
                <a:gd name="T18" fmla="*/ 1010 w 2021"/>
                <a:gd name="T19" fmla="*/ 0 h 2021"/>
                <a:gd name="T20" fmla="*/ 1515 w 2021"/>
                <a:gd name="T21" fmla="*/ 136 h 2021"/>
                <a:gd name="T22" fmla="*/ 1885 w 2021"/>
                <a:gd name="T23" fmla="*/ 506 h 2021"/>
                <a:gd name="T24" fmla="*/ 2020 w 2021"/>
                <a:gd name="T25" fmla="*/ 1010 h 2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21" h="2021">
                  <a:moveTo>
                    <a:pt x="2020" y="1010"/>
                  </a:moveTo>
                  <a:cubicBezTo>
                    <a:pt x="2020" y="1196"/>
                    <a:pt x="1978" y="1354"/>
                    <a:pt x="1885" y="1515"/>
                  </a:cubicBezTo>
                  <a:cubicBezTo>
                    <a:pt x="1792" y="1676"/>
                    <a:pt x="1676" y="1792"/>
                    <a:pt x="1515" y="1885"/>
                  </a:cubicBezTo>
                  <a:cubicBezTo>
                    <a:pt x="1354" y="1978"/>
                    <a:pt x="1196" y="2020"/>
                    <a:pt x="1010" y="2020"/>
                  </a:cubicBezTo>
                  <a:cubicBezTo>
                    <a:pt x="824" y="2020"/>
                    <a:pt x="666" y="1978"/>
                    <a:pt x="505" y="1885"/>
                  </a:cubicBezTo>
                  <a:cubicBezTo>
                    <a:pt x="344" y="1792"/>
                    <a:pt x="228" y="1676"/>
                    <a:pt x="135" y="1515"/>
                  </a:cubicBezTo>
                  <a:cubicBezTo>
                    <a:pt x="42" y="1354"/>
                    <a:pt x="0" y="1196"/>
                    <a:pt x="0" y="1010"/>
                  </a:cubicBezTo>
                  <a:cubicBezTo>
                    <a:pt x="0" y="825"/>
                    <a:pt x="42" y="667"/>
                    <a:pt x="135" y="506"/>
                  </a:cubicBezTo>
                  <a:cubicBezTo>
                    <a:pt x="228" y="345"/>
                    <a:pt x="344" y="229"/>
                    <a:pt x="505" y="136"/>
                  </a:cubicBezTo>
                  <a:cubicBezTo>
                    <a:pt x="666" y="43"/>
                    <a:pt x="824" y="0"/>
                    <a:pt x="1010" y="0"/>
                  </a:cubicBezTo>
                  <a:cubicBezTo>
                    <a:pt x="1196" y="0"/>
                    <a:pt x="1354" y="43"/>
                    <a:pt x="1515" y="136"/>
                  </a:cubicBezTo>
                  <a:cubicBezTo>
                    <a:pt x="1676" y="229"/>
                    <a:pt x="1792" y="345"/>
                    <a:pt x="1885" y="506"/>
                  </a:cubicBezTo>
                  <a:cubicBezTo>
                    <a:pt x="1978" y="667"/>
                    <a:pt x="2020" y="825"/>
                    <a:pt x="2020" y="1010"/>
                  </a:cubicBezTo>
                </a:path>
              </a:pathLst>
            </a:custGeom>
            <a:solidFill>
              <a:srgbClr val="4A90E2"/>
            </a:solidFill>
            <a:ln>
              <a:noFill/>
            </a:ln>
            <a:effectLst/>
            <a:extLst>
              <a:ext uri="{91240B29-F687-4F45-9708-019B960494DF}">
                <a14:hiddenLine xmlns:a14="http://schemas.microsoft.com/office/drawing/2010/main" w="9525" cap="flat">
                  <a:solidFill>
                    <a:srgbClr val="4A90E2"/>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119" name="Freeform 4">
              <a:extLst>
                <a:ext uri="{FF2B5EF4-FFF2-40B4-BE49-F238E27FC236}">
                  <a16:creationId xmlns:a16="http://schemas.microsoft.com/office/drawing/2014/main" id="{05611B10-ADD1-9E4C-B0A7-1F5B2AFC7C1F}"/>
                </a:ext>
              </a:extLst>
            </p:cNvPr>
            <p:cNvSpPr>
              <a:spLocks noChangeArrowheads="1"/>
            </p:cNvSpPr>
            <p:nvPr/>
          </p:nvSpPr>
          <p:spPr bwMode="auto">
            <a:xfrm>
              <a:off x="8116447" y="3790288"/>
              <a:ext cx="171450" cy="279400"/>
            </a:xfrm>
            <a:custGeom>
              <a:avLst/>
              <a:gdLst>
                <a:gd name="T0" fmla="*/ 475 w 476"/>
                <a:gd name="T1" fmla="*/ 293 h 775"/>
                <a:gd name="T2" fmla="*/ 436 w 476"/>
                <a:gd name="T3" fmla="*/ 413 h 775"/>
                <a:gd name="T4" fmla="*/ 415 w 476"/>
                <a:gd name="T5" fmla="*/ 371 h 775"/>
                <a:gd name="T6" fmla="*/ 415 w 476"/>
                <a:gd name="T7" fmla="*/ 460 h 775"/>
                <a:gd name="T8" fmla="*/ 280 w 476"/>
                <a:gd name="T9" fmla="*/ 659 h 775"/>
                <a:gd name="T10" fmla="*/ 264 w 476"/>
                <a:gd name="T11" fmla="*/ 659 h 775"/>
                <a:gd name="T12" fmla="*/ 264 w 476"/>
                <a:gd name="T13" fmla="*/ 675 h 775"/>
                <a:gd name="T14" fmla="*/ 151 w 476"/>
                <a:gd name="T15" fmla="*/ 774 h 775"/>
                <a:gd name="T16" fmla="*/ 151 w 476"/>
                <a:gd name="T17" fmla="*/ 595 h 775"/>
                <a:gd name="T18" fmla="*/ 151 w 476"/>
                <a:gd name="T19" fmla="*/ 587 h 775"/>
                <a:gd name="T20" fmla="*/ 151 w 476"/>
                <a:gd name="T21" fmla="*/ 371 h 775"/>
                <a:gd name="T22" fmla="*/ 94 w 476"/>
                <a:gd name="T23" fmla="*/ 503 h 775"/>
                <a:gd name="T24" fmla="*/ 36 w 476"/>
                <a:gd name="T25" fmla="*/ 530 h 775"/>
                <a:gd name="T26" fmla="*/ 9 w 476"/>
                <a:gd name="T27" fmla="*/ 471 h 775"/>
                <a:gd name="T28" fmla="*/ 147 w 476"/>
                <a:gd name="T29" fmla="*/ 226 h 775"/>
                <a:gd name="T30" fmla="*/ 165 w 476"/>
                <a:gd name="T31" fmla="*/ 216 h 775"/>
                <a:gd name="T32" fmla="*/ 173 w 476"/>
                <a:gd name="T33" fmla="*/ 215 h 775"/>
                <a:gd name="T34" fmla="*/ 176 w 476"/>
                <a:gd name="T35" fmla="*/ 215 h 775"/>
                <a:gd name="T36" fmla="*/ 177 w 476"/>
                <a:gd name="T37" fmla="*/ 215 h 775"/>
                <a:gd name="T38" fmla="*/ 389 w 476"/>
                <a:gd name="T39" fmla="*/ 215 h 775"/>
                <a:gd name="T40" fmla="*/ 390 w 476"/>
                <a:gd name="T41" fmla="*/ 215 h 775"/>
                <a:gd name="T42" fmla="*/ 393 w 476"/>
                <a:gd name="T43" fmla="*/ 215 h 775"/>
                <a:gd name="T44" fmla="*/ 401 w 476"/>
                <a:gd name="T45" fmla="*/ 216 h 775"/>
                <a:gd name="T46" fmla="*/ 419 w 476"/>
                <a:gd name="T47" fmla="*/ 226 h 775"/>
                <a:gd name="T48" fmla="*/ 475 w 476"/>
                <a:gd name="T49" fmla="*/ 293 h 775"/>
                <a:gd name="T50" fmla="*/ 275 w 476"/>
                <a:gd name="T51" fmla="*/ 182 h 775"/>
                <a:gd name="T52" fmla="*/ 185 w 476"/>
                <a:gd name="T53" fmla="*/ 91 h 775"/>
                <a:gd name="T54" fmla="*/ 275 w 476"/>
                <a:gd name="T55" fmla="*/ 0 h 775"/>
                <a:gd name="T56" fmla="*/ 365 w 476"/>
                <a:gd name="T57" fmla="*/ 91 h 775"/>
                <a:gd name="T58" fmla="*/ 275 w 476"/>
                <a:gd name="T59" fmla="*/ 182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775">
                  <a:moveTo>
                    <a:pt x="475" y="293"/>
                  </a:moveTo>
                  <a:cubicBezTo>
                    <a:pt x="465" y="334"/>
                    <a:pt x="451" y="375"/>
                    <a:pt x="436" y="413"/>
                  </a:cubicBezTo>
                  <a:cubicBezTo>
                    <a:pt x="428" y="398"/>
                    <a:pt x="421" y="384"/>
                    <a:pt x="415" y="371"/>
                  </a:cubicBezTo>
                  <a:lnTo>
                    <a:pt x="415" y="460"/>
                  </a:lnTo>
                  <a:cubicBezTo>
                    <a:pt x="379" y="533"/>
                    <a:pt x="334" y="599"/>
                    <a:pt x="280" y="659"/>
                  </a:cubicBezTo>
                  <a:lnTo>
                    <a:pt x="264" y="659"/>
                  </a:lnTo>
                  <a:lnTo>
                    <a:pt x="264" y="675"/>
                  </a:lnTo>
                  <a:cubicBezTo>
                    <a:pt x="230" y="712"/>
                    <a:pt x="192" y="745"/>
                    <a:pt x="151" y="774"/>
                  </a:cubicBezTo>
                  <a:lnTo>
                    <a:pt x="151" y="595"/>
                  </a:lnTo>
                  <a:cubicBezTo>
                    <a:pt x="151" y="592"/>
                    <a:pt x="151" y="590"/>
                    <a:pt x="151" y="587"/>
                  </a:cubicBezTo>
                  <a:lnTo>
                    <a:pt x="151" y="371"/>
                  </a:lnTo>
                  <a:cubicBezTo>
                    <a:pt x="133" y="405"/>
                    <a:pt x="113" y="449"/>
                    <a:pt x="94" y="503"/>
                  </a:cubicBezTo>
                  <a:cubicBezTo>
                    <a:pt x="85" y="527"/>
                    <a:pt x="59" y="539"/>
                    <a:pt x="36" y="530"/>
                  </a:cubicBezTo>
                  <a:cubicBezTo>
                    <a:pt x="12" y="521"/>
                    <a:pt x="0" y="495"/>
                    <a:pt x="9" y="471"/>
                  </a:cubicBezTo>
                  <a:cubicBezTo>
                    <a:pt x="53" y="349"/>
                    <a:pt x="98" y="268"/>
                    <a:pt x="147" y="226"/>
                  </a:cubicBezTo>
                  <a:cubicBezTo>
                    <a:pt x="153" y="221"/>
                    <a:pt x="159" y="218"/>
                    <a:pt x="165" y="216"/>
                  </a:cubicBezTo>
                  <a:cubicBezTo>
                    <a:pt x="167" y="215"/>
                    <a:pt x="170" y="215"/>
                    <a:pt x="173" y="215"/>
                  </a:cubicBezTo>
                  <a:lnTo>
                    <a:pt x="176" y="215"/>
                  </a:lnTo>
                  <a:cubicBezTo>
                    <a:pt x="176" y="215"/>
                    <a:pt x="176" y="215"/>
                    <a:pt x="177" y="215"/>
                  </a:cubicBezTo>
                  <a:lnTo>
                    <a:pt x="389" y="215"/>
                  </a:lnTo>
                  <a:cubicBezTo>
                    <a:pt x="390" y="215"/>
                    <a:pt x="390" y="215"/>
                    <a:pt x="390" y="215"/>
                  </a:cubicBezTo>
                  <a:lnTo>
                    <a:pt x="393" y="215"/>
                  </a:lnTo>
                  <a:cubicBezTo>
                    <a:pt x="396" y="215"/>
                    <a:pt x="398" y="215"/>
                    <a:pt x="401" y="216"/>
                  </a:cubicBezTo>
                  <a:cubicBezTo>
                    <a:pt x="407" y="218"/>
                    <a:pt x="413" y="221"/>
                    <a:pt x="419" y="226"/>
                  </a:cubicBezTo>
                  <a:cubicBezTo>
                    <a:pt x="438" y="242"/>
                    <a:pt x="457" y="265"/>
                    <a:pt x="475" y="293"/>
                  </a:cubicBezTo>
                  <a:close/>
                  <a:moveTo>
                    <a:pt x="275" y="182"/>
                  </a:moveTo>
                  <a:cubicBezTo>
                    <a:pt x="225" y="182"/>
                    <a:pt x="185" y="141"/>
                    <a:pt x="185" y="91"/>
                  </a:cubicBezTo>
                  <a:cubicBezTo>
                    <a:pt x="185" y="41"/>
                    <a:pt x="225" y="0"/>
                    <a:pt x="275" y="0"/>
                  </a:cubicBezTo>
                  <a:cubicBezTo>
                    <a:pt x="324" y="0"/>
                    <a:pt x="365" y="41"/>
                    <a:pt x="365" y="91"/>
                  </a:cubicBezTo>
                  <a:cubicBezTo>
                    <a:pt x="365" y="141"/>
                    <a:pt x="324" y="182"/>
                    <a:pt x="275" y="182"/>
                  </a:cubicBezTo>
                  <a:close/>
                </a:path>
              </a:pathLst>
            </a:custGeom>
            <a:solidFill>
              <a:srgbClr val="FFFFFF"/>
            </a:solidFill>
            <a:ln w="38100" cap="rnd">
              <a:solidFill>
                <a:srgbClr val="4A90E3"/>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120" name="Freeform 4">
              <a:extLst>
                <a:ext uri="{FF2B5EF4-FFF2-40B4-BE49-F238E27FC236}">
                  <a16:creationId xmlns:a16="http://schemas.microsoft.com/office/drawing/2014/main" id="{17FA6C0F-EEB9-5648-BFFF-3E830DA972D4}"/>
                </a:ext>
              </a:extLst>
            </p:cNvPr>
            <p:cNvSpPr>
              <a:spLocks noChangeArrowheads="1"/>
            </p:cNvSpPr>
            <p:nvPr/>
          </p:nvSpPr>
          <p:spPr bwMode="auto">
            <a:xfrm>
              <a:off x="8116447" y="3790288"/>
              <a:ext cx="171450" cy="279400"/>
            </a:xfrm>
            <a:custGeom>
              <a:avLst/>
              <a:gdLst>
                <a:gd name="T0" fmla="*/ 475 w 476"/>
                <a:gd name="T1" fmla="*/ 293 h 775"/>
                <a:gd name="T2" fmla="*/ 436 w 476"/>
                <a:gd name="T3" fmla="*/ 413 h 775"/>
                <a:gd name="T4" fmla="*/ 415 w 476"/>
                <a:gd name="T5" fmla="*/ 371 h 775"/>
                <a:gd name="T6" fmla="*/ 415 w 476"/>
                <a:gd name="T7" fmla="*/ 460 h 775"/>
                <a:gd name="T8" fmla="*/ 280 w 476"/>
                <a:gd name="T9" fmla="*/ 659 h 775"/>
                <a:gd name="T10" fmla="*/ 264 w 476"/>
                <a:gd name="T11" fmla="*/ 659 h 775"/>
                <a:gd name="T12" fmla="*/ 264 w 476"/>
                <a:gd name="T13" fmla="*/ 675 h 775"/>
                <a:gd name="T14" fmla="*/ 151 w 476"/>
                <a:gd name="T15" fmla="*/ 774 h 775"/>
                <a:gd name="T16" fmla="*/ 151 w 476"/>
                <a:gd name="T17" fmla="*/ 595 h 775"/>
                <a:gd name="T18" fmla="*/ 151 w 476"/>
                <a:gd name="T19" fmla="*/ 587 h 775"/>
                <a:gd name="T20" fmla="*/ 151 w 476"/>
                <a:gd name="T21" fmla="*/ 371 h 775"/>
                <a:gd name="T22" fmla="*/ 94 w 476"/>
                <a:gd name="T23" fmla="*/ 503 h 775"/>
                <a:gd name="T24" fmla="*/ 36 w 476"/>
                <a:gd name="T25" fmla="*/ 530 h 775"/>
                <a:gd name="T26" fmla="*/ 9 w 476"/>
                <a:gd name="T27" fmla="*/ 471 h 775"/>
                <a:gd name="T28" fmla="*/ 147 w 476"/>
                <a:gd name="T29" fmla="*/ 226 h 775"/>
                <a:gd name="T30" fmla="*/ 165 w 476"/>
                <a:gd name="T31" fmla="*/ 216 h 775"/>
                <a:gd name="T32" fmla="*/ 173 w 476"/>
                <a:gd name="T33" fmla="*/ 215 h 775"/>
                <a:gd name="T34" fmla="*/ 176 w 476"/>
                <a:gd name="T35" fmla="*/ 215 h 775"/>
                <a:gd name="T36" fmla="*/ 177 w 476"/>
                <a:gd name="T37" fmla="*/ 215 h 775"/>
                <a:gd name="T38" fmla="*/ 389 w 476"/>
                <a:gd name="T39" fmla="*/ 215 h 775"/>
                <a:gd name="T40" fmla="*/ 390 w 476"/>
                <a:gd name="T41" fmla="*/ 215 h 775"/>
                <a:gd name="T42" fmla="*/ 393 w 476"/>
                <a:gd name="T43" fmla="*/ 215 h 775"/>
                <a:gd name="T44" fmla="*/ 401 w 476"/>
                <a:gd name="T45" fmla="*/ 216 h 775"/>
                <a:gd name="T46" fmla="*/ 419 w 476"/>
                <a:gd name="T47" fmla="*/ 226 h 775"/>
                <a:gd name="T48" fmla="*/ 475 w 476"/>
                <a:gd name="T49" fmla="*/ 293 h 775"/>
                <a:gd name="T50" fmla="*/ 275 w 476"/>
                <a:gd name="T51" fmla="*/ 182 h 775"/>
                <a:gd name="T52" fmla="*/ 185 w 476"/>
                <a:gd name="T53" fmla="*/ 91 h 775"/>
                <a:gd name="T54" fmla="*/ 275 w 476"/>
                <a:gd name="T55" fmla="*/ 0 h 775"/>
                <a:gd name="T56" fmla="*/ 365 w 476"/>
                <a:gd name="T57" fmla="*/ 91 h 775"/>
                <a:gd name="T58" fmla="*/ 275 w 476"/>
                <a:gd name="T59" fmla="*/ 182 h 7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775">
                  <a:moveTo>
                    <a:pt x="475" y="293"/>
                  </a:moveTo>
                  <a:cubicBezTo>
                    <a:pt x="465" y="334"/>
                    <a:pt x="451" y="375"/>
                    <a:pt x="436" y="413"/>
                  </a:cubicBezTo>
                  <a:cubicBezTo>
                    <a:pt x="428" y="398"/>
                    <a:pt x="421" y="384"/>
                    <a:pt x="415" y="371"/>
                  </a:cubicBezTo>
                  <a:lnTo>
                    <a:pt x="415" y="460"/>
                  </a:lnTo>
                  <a:cubicBezTo>
                    <a:pt x="379" y="533"/>
                    <a:pt x="334" y="599"/>
                    <a:pt x="280" y="659"/>
                  </a:cubicBezTo>
                  <a:lnTo>
                    <a:pt x="264" y="659"/>
                  </a:lnTo>
                  <a:lnTo>
                    <a:pt x="264" y="675"/>
                  </a:lnTo>
                  <a:cubicBezTo>
                    <a:pt x="230" y="712"/>
                    <a:pt x="192" y="745"/>
                    <a:pt x="151" y="774"/>
                  </a:cubicBezTo>
                  <a:lnTo>
                    <a:pt x="151" y="595"/>
                  </a:lnTo>
                  <a:cubicBezTo>
                    <a:pt x="151" y="592"/>
                    <a:pt x="151" y="590"/>
                    <a:pt x="151" y="587"/>
                  </a:cubicBezTo>
                  <a:lnTo>
                    <a:pt x="151" y="371"/>
                  </a:lnTo>
                  <a:cubicBezTo>
                    <a:pt x="133" y="405"/>
                    <a:pt x="113" y="449"/>
                    <a:pt x="94" y="503"/>
                  </a:cubicBezTo>
                  <a:cubicBezTo>
                    <a:pt x="85" y="527"/>
                    <a:pt x="59" y="539"/>
                    <a:pt x="36" y="530"/>
                  </a:cubicBezTo>
                  <a:cubicBezTo>
                    <a:pt x="12" y="521"/>
                    <a:pt x="0" y="495"/>
                    <a:pt x="9" y="471"/>
                  </a:cubicBezTo>
                  <a:cubicBezTo>
                    <a:pt x="53" y="349"/>
                    <a:pt x="98" y="268"/>
                    <a:pt x="147" y="226"/>
                  </a:cubicBezTo>
                  <a:cubicBezTo>
                    <a:pt x="153" y="221"/>
                    <a:pt x="159" y="218"/>
                    <a:pt x="165" y="216"/>
                  </a:cubicBezTo>
                  <a:cubicBezTo>
                    <a:pt x="167" y="215"/>
                    <a:pt x="170" y="215"/>
                    <a:pt x="173" y="215"/>
                  </a:cubicBezTo>
                  <a:lnTo>
                    <a:pt x="176" y="215"/>
                  </a:lnTo>
                  <a:cubicBezTo>
                    <a:pt x="176" y="215"/>
                    <a:pt x="176" y="215"/>
                    <a:pt x="177" y="215"/>
                  </a:cubicBezTo>
                  <a:lnTo>
                    <a:pt x="389" y="215"/>
                  </a:lnTo>
                  <a:cubicBezTo>
                    <a:pt x="390" y="215"/>
                    <a:pt x="390" y="215"/>
                    <a:pt x="390" y="215"/>
                  </a:cubicBezTo>
                  <a:lnTo>
                    <a:pt x="393" y="215"/>
                  </a:lnTo>
                  <a:cubicBezTo>
                    <a:pt x="396" y="215"/>
                    <a:pt x="398" y="215"/>
                    <a:pt x="401" y="216"/>
                  </a:cubicBezTo>
                  <a:cubicBezTo>
                    <a:pt x="407" y="218"/>
                    <a:pt x="413" y="221"/>
                    <a:pt x="419" y="226"/>
                  </a:cubicBezTo>
                  <a:cubicBezTo>
                    <a:pt x="438" y="242"/>
                    <a:pt x="457" y="265"/>
                    <a:pt x="475" y="293"/>
                  </a:cubicBezTo>
                  <a:close/>
                  <a:moveTo>
                    <a:pt x="275" y="182"/>
                  </a:moveTo>
                  <a:cubicBezTo>
                    <a:pt x="225" y="182"/>
                    <a:pt x="185" y="141"/>
                    <a:pt x="185" y="91"/>
                  </a:cubicBezTo>
                  <a:cubicBezTo>
                    <a:pt x="185" y="41"/>
                    <a:pt x="225" y="0"/>
                    <a:pt x="275" y="0"/>
                  </a:cubicBezTo>
                  <a:cubicBezTo>
                    <a:pt x="324" y="0"/>
                    <a:pt x="365" y="41"/>
                    <a:pt x="365" y="91"/>
                  </a:cubicBezTo>
                  <a:cubicBezTo>
                    <a:pt x="365" y="141"/>
                    <a:pt x="324" y="182"/>
                    <a:pt x="275" y="182"/>
                  </a:cubicBezTo>
                  <a:close/>
                </a:path>
              </a:pathLst>
            </a:custGeom>
            <a:solidFill>
              <a:srgbClr val="FFFFFF"/>
            </a:solidFill>
            <a:ln w="38100" cap="rnd">
              <a:no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122" name="Freeform 6">
              <a:extLst>
                <a:ext uri="{FF2B5EF4-FFF2-40B4-BE49-F238E27FC236}">
                  <a16:creationId xmlns:a16="http://schemas.microsoft.com/office/drawing/2014/main" id="{1B7C1D1B-99EF-F64B-88F6-C0E44E056C85}"/>
                </a:ext>
              </a:extLst>
            </p:cNvPr>
            <p:cNvSpPr>
              <a:spLocks noChangeArrowheads="1"/>
            </p:cNvSpPr>
            <p:nvPr/>
          </p:nvSpPr>
          <p:spPr bwMode="auto">
            <a:xfrm>
              <a:off x="7986272" y="3704563"/>
              <a:ext cx="249238" cy="415925"/>
            </a:xfrm>
            <a:custGeom>
              <a:avLst/>
              <a:gdLst>
                <a:gd name="T0" fmla="*/ 508 w 693"/>
                <a:gd name="T1" fmla="*/ 1012 h 1156"/>
                <a:gd name="T2" fmla="*/ 370 w 693"/>
                <a:gd name="T3" fmla="*/ 1094 h 1156"/>
                <a:gd name="T4" fmla="*/ 369 w 693"/>
                <a:gd name="T5" fmla="*/ 824 h 1156"/>
                <a:gd name="T6" fmla="*/ 322 w 693"/>
                <a:gd name="T7" fmla="*/ 824 h 1156"/>
                <a:gd name="T8" fmla="*/ 323 w 693"/>
                <a:gd name="T9" fmla="*/ 1114 h 1156"/>
                <a:gd name="T10" fmla="*/ 184 w 693"/>
                <a:gd name="T11" fmla="*/ 1155 h 1156"/>
                <a:gd name="T12" fmla="*/ 183 w 693"/>
                <a:gd name="T13" fmla="*/ 744 h 1156"/>
                <a:gd name="T14" fmla="*/ 184 w 693"/>
                <a:gd name="T15" fmla="*/ 734 h 1156"/>
                <a:gd name="T16" fmla="*/ 184 w 693"/>
                <a:gd name="T17" fmla="*/ 464 h 1156"/>
                <a:gd name="T18" fmla="*/ 114 w 693"/>
                <a:gd name="T19" fmla="*/ 629 h 1156"/>
                <a:gd name="T20" fmla="*/ 42 w 693"/>
                <a:gd name="T21" fmla="*/ 663 h 1156"/>
                <a:gd name="T22" fmla="*/ 11 w 693"/>
                <a:gd name="T23" fmla="*/ 589 h 1156"/>
                <a:gd name="T24" fmla="*/ 179 w 693"/>
                <a:gd name="T25" fmla="*/ 284 h 1156"/>
                <a:gd name="T26" fmla="*/ 202 w 693"/>
                <a:gd name="T27" fmla="*/ 272 h 1156"/>
                <a:gd name="T28" fmla="*/ 211 w 693"/>
                <a:gd name="T29" fmla="*/ 270 h 1156"/>
                <a:gd name="T30" fmla="*/ 214 w 693"/>
                <a:gd name="T31" fmla="*/ 270 h 1156"/>
                <a:gd name="T32" fmla="*/ 215 w 693"/>
                <a:gd name="T33" fmla="*/ 270 h 1156"/>
                <a:gd name="T34" fmla="*/ 476 w 693"/>
                <a:gd name="T35" fmla="*/ 270 h 1156"/>
                <a:gd name="T36" fmla="*/ 476 w 693"/>
                <a:gd name="T37" fmla="*/ 270 h 1156"/>
                <a:gd name="T38" fmla="*/ 480 w 693"/>
                <a:gd name="T39" fmla="*/ 270 h 1156"/>
                <a:gd name="T40" fmla="*/ 489 w 693"/>
                <a:gd name="T41" fmla="*/ 272 h 1156"/>
                <a:gd name="T42" fmla="*/ 512 w 693"/>
                <a:gd name="T43" fmla="*/ 284 h 1156"/>
                <a:gd name="T44" fmla="*/ 681 w 693"/>
                <a:gd name="T45" fmla="*/ 589 h 1156"/>
                <a:gd name="T46" fmla="*/ 648 w 693"/>
                <a:gd name="T47" fmla="*/ 663 h 1156"/>
                <a:gd name="T48" fmla="*/ 577 w 693"/>
                <a:gd name="T49" fmla="*/ 629 h 1156"/>
                <a:gd name="T50" fmla="*/ 507 w 693"/>
                <a:gd name="T51" fmla="*/ 464 h 1156"/>
                <a:gd name="T52" fmla="*/ 507 w 693"/>
                <a:gd name="T53" fmla="*/ 734 h 1156"/>
                <a:gd name="T54" fmla="*/ 507 w 693"/>
                <a:gd name="T55" fmla="*/ 744 h 1156"/>
                <a:gd name="T56" fmla="*/ 508 w 693"/>
                <a:gd name="T57" fmla="*/ 1012 h 1156"/>
                <a:gd name="T58" fmla="*/ 336 w 693"/>
                <a:gd name="T59" fmla="*/ 229 h 1156"/>
                <a:gd name="T60" fmla="*/ 226 w 693"/>
                <a:gd name="T61" fmla="*/ 115 h 1156"/>
                <a:gd name="T62" fmla="*/ 336 w 693"/>
                <a:gd name="T63" fmla="*/ 0 h 1156"/>
                <a:gd name="T64" fmla="*/ 445 w 693"/>
                <a:gd name="T65" fmla="*/ 115 h 1156"/>
                <a:gd name="T66" fmla="*/ 336 w 693"/>
                <a:gd name="T67" fmla="*/ 22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93" h="1156">
                  <a:moveTo>
                    <a:pt x="508" y="1012"/>
                  </a:moveTo>
                  <a:cubicBezTo>
                    <a:pt x="465" y="1044"/>
                    <a:pt x="419" y="1071"/>
                    <a:pt x="370" y="1094"/>
                  </a:cubicBezTo>
                  <a:lnTo>
                    <a:pt x="369" y="824"/>
                  </a:lnTo>
                  <a:lnTo>
                    <a:pt x="322" y="824"/>
                  </a:lnTo>
                  <a:lnTo>
                    <a:pt x="323" y="1114"/>
                  </a:lnTo>
                  <a:cubicBezTo>
                    <a:pt x="278" y="1131"/>
                    <a:pt x="232" y="1145"/>
                    <a:pt x="184" y="1155"/>
                  </a:cubicBezTo>
                  <a:lnTo>
                    <a:pt x="183" y="744"/>
                  </a:lnTo>
                  <a:cubicBezTo>
                    <a:pt x="183" y="741"/>
                    <a:pt x="184" y="737"/>
                    <a:pt x="184" y="734"/>
                  </a:cubicBezTo>
                  <a:lnTo>
                    <a:pt x="184" y="464"/>
                  </a:lnTo>
                  <a:cubicBezTo>
                    <a:pt x="161" y="507"/>
                    <a:pt x="138" y="562"/>
                    <a:pt x="114" y="629"/>
                  </a:cubicBezTo>
                  <a:cubicBezTo>
                    <a:pt x="103" y="659"/>
                    <a:pt x="71" y="675"/>
                    <a:pt x="42" y="663"/>
                  </a:cubicBezTo>
                  <a:cubicBezTo>
                    <a:pt x="14" y="652"/>
                    <a:pt x="0" y="619"/>
                    <a:pt x="11" y="589"/>
                  </a:cubicBezTo>
                  <a:cubicBezTo>
                    <a:pt x="64" y="437"/>
                    <a:pt x="119" y="335"/>
                    <a:pt x="179" y="284"/>
                  </a:cubicBezTo>
                  <a:cubicBezTo>
                    <a:pt x="186" y="277"/>
                    <a:pt x="194" y="274"/>
                    <a:pt x="202" y="272"/>
                  </a:cubicBezTo>
                  <a:cubicBezTo>
                    <a:pt x="205" y="271"/>
                    <a:pt x="208" y="270"/>
                    <a:pt x="211" y="270"/>
                  </a:cubicBezTo>
                  <a:lnTo>
                    <a:pt x="214" y="270"/>
                  </a:lnTo>
                  <a:lnTo>
                    <a:pt x="215" y="270"/>
                  </a:lnTo>
                  <a:lnTo>
                    <a:pt x="476" y="270"/>
                  </a:lnTo>
                  <a:lnTo>
                    <a:pt x="476" y="270"/>
                  </a:lnTo>
                  <a:lnTo>
                    <a:pt x="480" y="270"/>
                  </a:lnTo>
                  <a:cubicBezTo>
                    <a:pt x="483" y="270"/>
                    <a:pt x="486" y="271"/>
                    <a:pt x="489" y="272"/>
                  </a:cubicBezTo>
                  <a:cubicBezTo>
                    <a:pt x="497" y="274"/>
                    <a:pt x="505" y="277"/>
                    <a:pt x="512" y="284"/>
                  </a:cubicBezTo>
                  <a:cubicBezTo>
                    <a:pt x="572" y="335"/>
                    <a:pt x="627" y="437"/>
                    <a:pt x="681" y="589"/>
                  </a:cubicBezTo>
                  <a:cubicBezTo>
                    <a:pt x="692" y="619"/>
                    <a:pt x="677" y="652"/>
                    <a:pt x="648" y="663"/>
                  </a:cubicBezTo>
                  <a:cubicBezTo>
                    <a:pt x="619" y="675"/>
                    <a:pt x="587" y="659"/>
                    <a:pt x="577" y="629"/>
                  </a:cubicBezTo>
                  <a:cubicBezTo>
                    <a:pt x="553" y="562"/>
                    <a:pt x="529" y="507"/>
                    <a:pt x="507" y="464"/>
                  </a:cubicBezTo>
                  <a:lnTo>
                    <a:pt x="507" y="734"/>
                  </a:lnTo>
                  <a:cubicBezTo>
                    <a:pt x="507" y="737"/>
                    <a:pt x="507" y="741"/>
                    <a:pt x="507" y="744"/>
                  </a:cubicBezTo>
                  <a:lnTo>
                    <a:pt x="508" y="1012"/>
                  </a:lnTo>
                  <a:close/>
                  <a:moveTo>
                    <a:pt x="336" y="229"/>
                  </a:moveTo>
                  <a:cubicBezTo>
                    <a:pt x="275" y="229"/>
                    <a:pt x="226" y="178"/>
                    <a:pt x="226" y="115"/>
                  </a:cubicBezTo>
                  <a:cubicBezTo>
                    <a:pt x="226" y="51"/>
                    <a:pt x="275" y="0"/>
                    <a:pt x="336" y="0"/>
                  </a:cubicBezTo>
                  <a:cubicBezTo>
                    <a:pt x="396" y="0"/>
                    <a:pt x="445" y="51"/>
                    <a:pt x="445" y="115"/>
                  </a:cubicBezTo>
                  <a:cubicBezTo>
                    <a:pt x="445" y="178"/>
                    <a:pt x="396" y="229"/>
                    <a:pt x="336" y="229"/>
                  </a:cubicBezTo>
                  <a:close/>
                </a:path>
              </a:pathLst>
            </a:custGeom>
            <a:solidFill>
              <a:srgbClr val="FFFFFF"/>
            </a:solidFill>
            <a:ln w="38100" cap="rnd">
              <a:solidFill>
                <a:srgbClr val="4A90E3"/>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123" name="Freeform 6">
              <a:extLst>
                <a:ext uri="{FF2B5EF4-FFF2-40B4-BE49-F238E27FC236}">
                  <a16:creationId xmlns:a16="http://schemas.microsoft.com/office/drawing/2014/main" id="{B17F6997-3475-BF43-8006-992BAF5AD06A}"/>
                </a:ext>
              </a:extLst>
            </p:cNvPr>
            <p:cNvSpPr>
              <a:spLocks noChangeArrowheads="1"/>
            </p:cNvSpPr>
            <p:nvPr/>
          </p:nvSpPr>
          <p:spPr bwMode="auto">
            <a:xfrm>
              <a:off x="7983098" y="3704563"/>
              <a:ext cx="249238" cy="415925"/>
            </a:xfrm>
            <a:custGeom>
              <a:avLst/>
              <a:gdLst>
                <a:gd name="T0" fmla="*/ 508 w 693"/>
                <a:gd name="T1" fmla="*/ 1012 h 1156"/>
                <a:gd name="T2" fmla="*/ 370 w 693"/>
                <a:gd name="T3" fmla="*/ 1094 h 1156"/>
                <a:gd name="T4" fmla="*/ 369 w 693"/>
                <a:gd name="T5" fmla="*/ 824 h 1156"/>
                <a:gd name="T6" fmla="*/ 322 w 693"/>
                <a:gd name="T7" fmla="*/ 824 h 1156"/>
                <a:gd name="T8" fmla="*/ 323 w 693"/>
                <a:gd name="T9" fmla="*/ 1114 h 1156"/>
                <a:gd name="T10" fmla="*/ 184 w 693"/>
                <a:gd name="T11" fmla="*/ 1155 h 1156"/>
                <a:gd name="T12" fmla="*/ 183 w 693"/>
                <a:gd name="T13" fmla="*/ 744 h 1156"/>
                <a:gd name="T14" fmla="*/ 184 w 693"/>
                <a:gd name="T15" fmla="*/ 734 h 1156"/>
                <a:gd name="T16" fmla="*/ 184 w 693"/>
                <a:gd name="T17" fmla="*/ 464 h 1156"/>
                <a:gd name="T18" fmla="*/ 114 w 693"/>
                <a:gd name="T19" fmla="*/ 629 h 1156"/>
                <a:gd name="T20" fmla="*/ 42 w 693"/>
                <a:gd name="T21" fmla="*/ 663 h 1156"/>
                <a:gd name="T22" fmla="*/ 11 w 693"/>
                <a:gd name="T23" fmla="*/ 589 h 1156"/>
                <a:gd name="T24" fmla="*/ 179 w 693"/>
                <a:gd name="T25" fmla="*/ 284 h 1156"/>
                <a:gd name="T26" fmla="*/ 202 w 693"/>
                <a:gd name="T27" fmla="*/ 272 h 1156"/>
                <a:gd name="T28" fmla="*/ 211 w 693"/>
                <a:gd name="T29" fmla="*/ 270 h 1156"/>
                <a:gd name="T30" fmla="*/ 214 w 693"/>
                <a:gd name="T31" fmla="*/ 270 h 1156"/>
                <a:gd name="T32" fmla="*/ 215 w 693"/>
                <a:gd name="T33" fmla="*/ 270 h 1156"/>
                <a:gd name="T34" fmla="*/ 476 w 693"/>
                <a:gd name="T35" fmla="*/ 270 h 1156"/>
                <a:gd name="T36" fmla="*/ 476 w 693"/>
                <a:gd name="T37" fmla="*/ 270 h 1156"/>
                <a:gd name="T38" fmla="*/ 480 w 693"/>
                <a:gd name="T39" fmla="*/ 270 h 1156"/>
                <a:gd name="T40" fmla="*/ 489 w 693"/>
                <a:gd name="T41" fmla="*/ 272 h 1156"/>
                <a:gd name="T42" fmla="*/ 512 w 693"/>
                <a:gd name="T43" fmla="*/ 284 h 1156"/>
                <a:gd name="T44" fmla="*/ 681 w 693"/>
                <a:gd name="T45" fmla="*/ 589 h 1156"/>
                <a:gd name="T46" fmla="*/ 648 w 693"/>
                <a:gd name="T47" fmla="*/ 663 h 1156"/>
                <a:gd name="T48" fmla="*/ 577 w 693"/>
                <a:gd name="T49" fmla="*/ 629 h 1156"/>
                <a:gd name="T50" fmla="*/ 507 w 693"/>
                <a:gd name="T51" fmla="*/ 464 h 1156"/>
                <a:gd name="T52" fmla="*/ 507 w 693"/>
                <a:gd name="T53" fmla="*/ 734 h 1156"/>
                <a:gd name="T54" fmla="*/ 507 w 693"/>
                <a:gd name="T55" fmla="*/ 744 h 1156"/>
                <a:gd name="T56" fmla="*/ 508 w 693"/>
                <a:gd name="T57" fmla="*/ 1012 h 1156"/>
                <a:gd name="T58" fmla="*/ 336 w 693"/>
                <a:gd name="T59" fmla="*/ 229 h 1156"/>
                <a:gd name="T60" fmla="*/ 226 w 693"/>
                <a:gd name="T61" fmla="*/ 115 h 1156"/>
                <a:gd name="T62" fmla="*/ 336 w 693"/>
                <a:gd name="T63" fmla="*/ 0 h 1156"/>
                <a:gd name="T64" fmla="*/ 445 w 693"/>
                <a:gd name="T65" fmla="*/ 115 h 1156"/>
                <a:gd name="T66" fmla="*/ 336 w 693"/>
                <a:gd name="T67" fmla="*/ 229 h 1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93" h="1156">
                  <a:moveTo>
                    <a:pt x="508" y="1012"/>
                  </a:moveTo>
                  <a:cubicBezTo>
                    <a:pt x="465" y="1044"/>
                    <a:pt x="419" y="1071"/>
                    <a:pt x="370" y="1094"/>
                  </a:cubicBezTo>
                  <a:lnTo>
                    <a:pt x="369" y="824"/>
                  </a:lnTo>
                  <a:lnTo>
                    <a:pt x="322" y="824"/>
                  </a:lnTo>
                  <a:lnTo>
                    <a:pt x="323" y="1114"/>
                  </a:lnTo>
                  <a:cubicBezTo>
                    <a:pt x="278" y="1131"/>
                    <a:pt x="232" y="1145"/>
                    <a:pt x="184" y="1155"/>
                  </a:cubicBezTo>
                  <a:lnTo>
                    <a:pt x="183" y="744"/>
                  </a:lnTo>
                  <a:cubicBezTo>
                    <a:pt x="183" y="741"/>
                    <a:pt x="184" y="737"/>
                    <a:pt x="184" y="734"/>
                  </a:cubicBezTo>
                  <a:lnTo>
                    <a:pt x="184" y="464"/>
                  </a:lnTo>
                  <a:cubicBezTo>
                    <a:pt x="161" y="507"/>
                    <a:pt x="138" y="562"/>
                    <a:pt x="114" y="629"/>
                  </a:cubicBezTo>
                  <a:cubicBezTo>
                    <a:pt x="103" y="659"/>
                    <a:pt x="71" y="675"/>
                    <a:pt x="42" y="663"/>
                  </a:cubicBezTo>
                  <a:cubicBezTo>
                    <a:pt x="14" y="652"/>
                    <a:pt x="0" y="619"/>
                    <a:pt x="11" y="589"/>
                  </a:cubicBezTo>
                  <a:cubicBezTo>
                    <a:pt x="64" y="437"/>
                    <a:pt x="119" y="335"/>
                    <a:pt x="179" y="284"/>
                  </a:cubicBezTo>
                  <a:cubicBezTo>
                    <a:pt x="186" y="277"/>
                    <a:pt x="194" y="274"/>
                    <a:pt x="202" y="272"/>
                  </a:cubicBezTo>
                  <a:cubicBezTo>
                    <a:pt x="205" y="271"/>
                    <a:pt x="208" y="270"/>
                    <a:pt x="211" y="270"/>
                  </a:cubicBezTo>
                  <a:lnTo>
                    <a:pt x="214" y="270"/>
                  </a:lnTo>
                  <a:lnTo>
                    <a:pt x="215" y="270"/>
                  </a:lnTo>
                  <a:lnTo>
                    <a:pt x="476" y="270"/>
                  </a:lnTo>
                  <a:lnTo>
                    <a:pt x="476" y="270"/>
                  </a:lnTo>
                  <a:lnTo>
                    <a:pt x="480" y="270"/>
                  </a:lnTo>
                  <a:cubicBezTo>
                    <a:pt x="483" y="270"/>
                    <a:pt x="486" y="271"/>
                    <a:pt x="489" y="272"/>
                  </a:cubicBezTo>
                  <a:cubicBezTo>
                    <a:pt x="497" y="274"/>
                    <a:pt x="505" y="277"/>
                    <a:pt x="512" y="284"/>
                  </a:cubicBezTo>
                  <a:cubicBezTo>
                    <a:pt x="572" y="335"/>
                    <a:pt x="627" y="437"/>
                    <a:pt x="681" y="589"/>
                  </a:cubicBezTo>
                  <a:cubicBezTo>
                    <a:pt x="692" y="619"/>
                    <a:pt x="677" y="652"/>
                    <a:pt x="648" y="663"/>
                  </a:cubicBezTo>
                  <a:cubicBezTo>
                    <a:pt x="619" y="675"/>
                    <a:pt x="587" y="659"/>
                    <a:pt x="577" y="629"/>
                  </a:cubicBezTo>
                  <a:cubicBezTo>
                    <a:pt x="553" y="562"/>
                    <a:pt x="529" y="507"/>
                    <a:pt x="507" y="464"/>
                  </a:cubicBezTo>
                  <a:lnTo>
                    <a:pt x="507" y="734"/>
                  </a:lnTo>
                  <a:cubicBezTo>
                    <a:pt x="507" y="737"/>
                    <a:pt x="507" y="741"/>
                    <a:pt x="507" y="744"/>
                  </a:cubicBezTo>
                  <a:lnTo>
                    <a:pt x="508" y="1012"/>
                  </a:lnTo>
                  <a:close/>
                  <a:moveTo>
                    <a:pt x="336" y="229"/>
                  </a:moveTo>
                  <a:cubicBezTo>
                    <a:pt x="275" y="229"/>
                    <a:pt x="226" y="178"/>
                    <a:pt x="226" y="115"/>
                  </a:cubicBezTo>
                  <a:cubicBezTo>
                    <a:pt x="226" y="51"/>
                    <a:pt x="275" y="0"/>
                    <a:pt x="336" y="0"/>
                  </a:cubicBezTo>
                  <a:cubicBezTo>
                    <a:pt x="396" y="0"/>
                    <a:pt x="445" y="51"/>
                    <a:pt x="445" y="115"/>
                  </a:cubicBezTo>
                  <a:cubicBezTo>
                    <a:pt x="445" y="178"/>
                    <a:pt x="396" y="229"/>
                    <a:pt x="336" y="229"/>
                  </a:cubicBezTo>
                  <a:close/>
                </a:path>
              </a:pathLst>
            </a:custGeom>
            <a:solidFill>
              <a:srgbClr val="FFFFFF"/>
            </a:solidFill>
            <a:ln w="38100" cap="rnd">
              <a:no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125" name="Freeform 5">
              <a:extLst>
                <a:ext uri="{FF2B5EF4-FFF2-40B4-BE49-F238E27FC236}">
                  <a16:creationId xmlns:a16="http://schemas.microsoft.com/office/drawing/2014/main" id="{FEEE3FCD-0448-D34A-81AF-C6BEAFE6419E}"/>
                </a:ext>
              </a:extLst>
            </p:cNvPr>
            <p:cNvSpPr>
              <a:spLocks noChangeArrowheads="1"/>
            </p:cNvSpPr>
            <p:nvPr/>
          </p:nvSpPr>
          <p:spPr bwMode="auto">
            <a:xfrm>
              <a:off x="7695760" y="3790288"/>
              <a:ext cx="171450" cy="279400"/>
            </a:xfrm>
            <a:custGeom>
              <a:avLst/>
              <a:gdLst>
                <a:gd name="T0" fmla="*/ 325 w 476"/>
                <a:gd name="T1" fmla="*/ 775 h 776"/>
                <a:gd name="T2" fmla="*/ 211 w 476"/>
                <a:gd name="T3" fmla="*/ 676 h 776"/>
                <a:gd name="T4" fmla="*/ 211 w 476"/>
                <a:gd name="T5" fmla="*/ 659 h 776"/>
                <a:gd name="T6" fmla="*/ 195 w 476"/>
                <a:gd name="T7" fmla="*/ 659 h 776"/>
                <a:gd name="T8" fmla="*/ 60 w 476"/>
                <a:gd name="T9" fmla="*/ 460 h 776"/>
                <a:gd name="T10" fmla="*/ 60 w 476"/>
                <a:gd name="T11" fmla="*/ 371 h 776"/>
                <a:gd name="T12" fmla="*/ 39 w 476"/>
                <a:gd name="T13" fmla="*/ 413 h 776"/>
                <a:gd name="T14" fmla="*/ 0 w 476"/>
                <a:gd name="T15" fmla="*/ 293 h 776"/>
                <a:gd name="T16" fmla="*/ 56 w 476"/>
                <a:gd name="T17" fmla="*/ 226 h 776"/>
                <a:gd name="T18" fmla="*/ 74 w 476"/>
                <a:gd name="T19" fmla="*/ 216 h 776"/>
                <a:gd name="T20" fmla="*/ 82 w 476"/>
                <a:gd name="T21" fmla="*/ 215 h 776"/>
                <a:gd name="T22" fmla="*/ 85 w 476"/>
                <a:gd name="T23" fmla="*/ 215 h 776"/>
                <a:gd name="T24" fmla="*/ 86 w 476"/>
                <a:gd name="T25" fmla="*/ 215 h 776"/>
                <a:gd name="T26" fmla="*/ 298 w 476"/>
                <a:gd name="T27" fmla="*/ 215 h 776"/>
                <a:gd name="T28" fmla="*/ 299 w 476"/>
                <a:gd name="T29" fmla="*/ 215 h 776"/>
                <a:gd name="T30" fmla="*/ 302 w 476"/>
                <a:gd name="T31" fmla="*/ 215 h 776"/>
                <a:gd name="T32" fmla="*/ 310 w 476"/>
                <a:gd name="T33" fmla="*/ 216 h 776"/>
                <a:gd name="T34" fmla="*/ 328 w 476"/>
                <a:gd name="T35" fmla="*/ 226 h 776"/>
                <a:gd name="T36" fmla="*/ 466 w 476"/>
                <a:gd name="T37" fmla="*/ 471 h 776"/>
                <a:gd name="T38" fmla="*/ 439 w 476"/>
                <a:gd name="T39" fmla="*/ 530 h 776"/>
                <a:gd name="T40" fmla="*/ 381 w 476"/>
                <a:gd name="T41" fmla="*/ 503 h 776"/>
                <a:gd name="T42" fmla="*/ 324 w 476"/>
                <a:gd name="T43" fmla="*/ 371 h 776"/>
                <a:gd name="T44" fmla="*/ 324 w 476"/>
                <a:gd name="T45" fmla="*/ 587 h 776"/>
                <a:gd name="T46" fmla="*/ 324 w 476"/>
                <a:gd name="T47" fmla="*/ 595 h 776"/>
                <a:gd name="T48" fmla="*/ 325 w 476"/>
                <a:gd name="T49" fmla="*/ 775 h 776"/>
                <a:gd name="T50" fmla="*/ 184 w 476"/>
                <a:gd name="T51" fmla="*/ 182 h 776"/>
                <a:gd name="T52" fmla="*/ 94 w 476"/>
                <a:gd name="T53" fmla="*/ 91 h 776"/>
                <a:gd name="T54" fmla="*/ 184 w 476"/>
                <a:gd name="T55" fmla="*/ 0 h 776"/>
                <a:gd name="T56" fmla="*/ 274 w 476"/>
                <a:gd name="T57" fmla="*/ 91 h 776"/>
                <a:gd name="T58" fmla="*/ 184 w 476"/>
                <a:gd name="T59" fmla="*/ 182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776">
                  <a:moveTo>
                    <a:pt x="325" y="775"/>
                  </a:moveTo>
                  <a:cubicBezTo>
                    <a:pt x="284" y="746"/>
                    <a:pt x="246" y="712"/>
                    <a:pt x="211" y="676"/>
                  </a:cubicBezTo>
                  <a:lnTo>
                    <a:pt x="211" y="659"/>
                  </a:lnTo>
                  <a:lnTo>
                    <a:pt x="195" y="659"/>
                  </a:lnTo>
                  <a:cubicBezTo>
                    <a:pt x="141" y="599"/>
                    <a:pt x="96" y="533"/>
                    <a:pt x="60" y="460"/>
                  </a:cubicBezTo>
                  <a:lnTo>
                    <a:pt x="60" y="371"/>
                  </a:lnTo>
                  <a:cubicBezTo>
                    <a:pt x="54" y="384"/>
                    <a:pt x="47" y="398"/>
                    <a:pt x="39" y="413"/>
                  </a:cubicBezTo>
                  <a:cubicBezTo>
                    <a:pt x="24" y="375"/>
                    <a:pt x="10" y="334"/>
                    <a:pt x="0" y="293"/>
                  </a:cubicBezTo>
                  <a:cubicBezTo>
                    <a:pt x="18" y="265"/>
                    <a:pt x="37" y="242"/>
                    <a:pt x="56" y="226"/>
                  </a:cubicBezTo>
                  <a:cubicBezTo>
                    <a:pt x="62" y="221"/>
                    <a:pt x="68" y="218"/>
                    <a:pt x="74" y="216"/>
                  </a:cubicBezTo>
                  <a:cubicBezTo>
                    <a:pt x="77" y="215"/>
                    <a:pt x="79" y="215"/>
                    <a:pt x="82" y="215"/>
                  </a:cubicBezTo>
                  <a:lnTo>
                    <a:pt x="85" y="215"/>
                  </a:lnTo>
                  <a:cubicBezTo>
                    <a:pt x="85" y="215"/>
                    <a:pt x="85" y="215"/>
                    <a:pt x="86" y="215"/>
                  </a:cubicBezTo>
                  <a:lnTo>
                    <a:pt x="298" y="215"/>
                  </a:lnTo>
                  <a:cubicBezTo>
                    <a:pt x="299" y="215"/>
                    <a:pt x="299" y="215"/>
                    <a:pt x="299" y="215"/>
                  </a:cubicBezTo>
                  <a:lnTo>
                    <a:pt x="302" y="215"/>
                  </a:lnTo>
                  <a:cubicBezTo>
                    <a:pt x="305" y="215"/>
                    <a:pt x="308" y="215"/>
                    <a:pt x="310" y="216"/>
                  </a:cubicBezTo>
                  <a:cubicBezTo>
                    <a:pt x="316" y="218"/>
                    <a:pt x="322" y="221"/>
                    <a:pt x="328" y="226"/>
                  </a:cubicBezTo>
                  <a:cubicBezTo>
                    <a:pt x="377" y="268"/>
                    <a:pt x="422" y="349"/>
                    <a:pt x="466" y="471"/>
                  </a:cubicBezTo>
                  <a:cubicBezTo>
                    <a:pt x="475" y="495"/>
                    <a:pt x="463" y="521"/>
                    <a:pt x="439" y="530"/>
                  </a:cubicBezTo>
                  <a:cubicBezTo>
                    <a:pt x="416" y="539"/>
                    <a:pt x="390" y="527"/>
                    <a:pt x="381" y="503"/>
                  </a:cubicBezTo>
                  <a:cubicBezTo>
                    <a:pt x="362" y="449"/>
                    <a:pt x="342" y="405"/>
                    <a:pt x="324" y="371"/>
                  </a:cubicBezTo>
                  <a:lnTo>
                    <a:pt x="324" y="587"/>
                  </a:lnTo>
                  <a:cubicBezTo>
                    <a:pt x="324" y="589"/>
                    <a:pt x="324" y="592"/>
                    <a:pt x="324" y="595"/>
                  </a:cubicBezTo>
                  <a:lnTo>
                    <a:pt x="325" y="775"/>
                  </a:lnTo>
                  <a:close/>
                  <a:moveTo>
                    <a:pt x="184" y="182"/>
                  </a:moveTo>
                  <a:cubicBezTo>
                    <a:pt x="135" y="182"/>
                    <a:pt x="94" y="141"/>
                    <a:pt x="94" y="91"/>
                  </a:cubicBezTo>
                  <a:cubicBezTo>
                    <a:pt x="94" y="41"/>
                    <a:pt x="135" y="0"/>
                    <a:pt x="184" y="0"/>
                  </a:cubicBezTo>
                  <a:cubicBezTo>
                    <a:pt x="234" y="0"/>
                    <a:pt x="274" y="41"/>
                    <a:pt x="274" y="91"/>
                  </a:cubicBezTo>
                  <a:cubicBezTo>
                    <a:pt x="274" y="141"/>
                    <a:pt x="234" y="182"/>
                    <a:pt x="184" y="182"/>
                  </a:cubicBezTo>
                  <a:close/>
                </a:path>
              </a:pathLst>
            </a:custGeom>
            <a:solidFill>
              <a:srgbClr val="FFFFFF"/>
            </a:solidFill>
            <a:ln w="38100" cap="rnd">
              <a:solidFill>
                <a:srgbClr val="4A90E3"/>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126" name="Freeform 5">
              <a:extLst>
                <a:ext uri="{FF2B5EF4-FFF2-40B4-BE49-F238E27FC236}">
                  <a16:creationId xmlns:a16="http://schemas.microsoft.com/office/drawing/2014/main" id="{D4D881C4-BE2E-0842-A1D7-011E79F3D1D0}"/>
                </a:ext>
              </a:extLst>
            </p:cNvPr>
            <p:cNvSpPr>
              <a:spLocks noChangeArrowheads="1"/>
            </p:cNvSpPr>
            <p:nvPr/>
          </p:nvSpPr>
          <p:spPr bwMode="auto">
            <a:xfrm>
              <a:off x="7694124" y="3790288"/>
              <a:ext cx="171450" cy="279400"/>
            </a:xfrm>
            <a:custGeom>
              <a:avLst/>
              <a:gdLst>
                <a:gd name="T0" fmla="*/ 325 w 476"/>
                <a:gd name="T1" fmla="*/ 775 h 776"/>
                <a:gd name="T2" fmla="*/ 211 w 476"/>
                <a:gd name="T3" fmla="*/ 676 h 776"/>
                <a:gd name="T4" fmla="*/ 211 w 476"/>
                <a:gd name="T5" fmla="*/ 659 h 776"/>
                <a:gd name="T6" fmla="*/ 195 w 476"/>
                <a:gd name="T7" fmla="*/ 659 h 776"/>
                <a:gd name="T8" fmla="*/ 60 w 476"/>
                <a:gd name="T9" fmla="*/ 460 h 776"/>
                <a:gd name="T10" fmla="*/ 60 w 476"/>
                <a:gd name="T11" fmla="*/ 371 h 776"/>
                <a:gd name="T12" fmla="*/ 39 w 476"/>
                <a:gd name="T13" fmla="*/ 413 h 776"/>
                <a:gd name="T14" fmla="*/ 0 w 476"/>
                <a:gd name="T15" fmla="*/ 293 h 776"/>
                <a:gd name="T16" fmla="*/ 56 w 476"/>
                <a:gd name="T17" fmla="*/ 226 h 776"/>
                <a:gd name="T18" fmla="*/ 74 w 476"/>
                <a:gd name="T19" fmla="*/ 216 h 776"/>
                <a:gd name="T20" fmla="*/ 82 w 476"/>
                <a:gd name="T21" fmla="*/ 215 h 776"/>
                <a:gd name="T22" fmla="*/ 85 w 476"/>
                <a:gd name="T23" fmla="*/ 215 h 776"/>
                <a:gd name="T24" fmla="*/ 86 w 476"/>
                <a:gd name="T25" fmla="*/ 215 h 776"/>
                <a:gd name="T26" fmla="*/ 298 w 476"/>
                <a:gd name="T27" fmla="*/ 215 h 776"/>
                <a:gd name="T28" fmla="*/ 299 w 476"/>
                <a:gd name="T29" fmla="*/ 215 h 776"/>
                <a:gd name="T30" fmla="*/ 302 w 476"/>
                <a:gd name="T31" fmla="*/ 215 h 776"/>
                <a:gd name="T32" fmla="*/ 310 w 476"/>
                <a:gd name="T33" fmla="*/ 216 h 776"/>
                <a:gd name="T34" fmla="*/ 328 w 476"/>
                <a:gd name="T35" fmla="*/ 226 h 776"/>
                <a:gd name="T36" fmla="*/ 466 w 476"/>
                <a:gd name="T37" fmla="*/ 471 h 776"/>
                <a:gd name="T38" fmla="*/ 439 w 476"/>
                <a:gd name="T39" fmla="*/ 530 h 776"/>
                <a:gd name="T40" fmla="*/ 381 w 476"/>
                <a:gd name="T41" fmla="*/ 503 h 776"/>
                <a:gd name="T42" fmla="*/ 324 w 476"/>
                <a:gd name="T43" fmla="*/ 371 h 776"/>
                <a:gd name="T44" fmla="*/ 324 w 476"/>
                <a:gd name="T45" fmla="*/ 587 h 776"/>
                <a:gd name="T46" fmla="*/ 324 w 476"/>
                <a:gd name="T47" fmla="*/ 595 h 776"/>
                <a:gd name="T48" fmla="*/ 325 w 476"/>
                <a:gd name="T49" fmla="*/ 775 h 776"/>
                <a:gd name="T50" fmla="*/ 184 w 476"/>
                <a:gd name="T51" fmla="*/ 182 h 776"/>
                <a:gd name="T52" fmla="*/ 94 w 476"/>
                <a:gd name="T53" fmla="*/ 91 h 776"/>
                <a:gd name="T54" fmla="*/ 184 w 476"/>
                <a:gd name="T55" fmla="*/ 0 h 776"/>
                <a:gd name="T56" fmla="*/ 274 w 476"/>
                <a:gd name="T57" fmla="*/ 91 h 776"/>
                <a:gd name="T58" fmla="*/ 184 w 476"/>
                <a:gd name="T59" fmla="*/ 182 h 7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76" h="776">
                  <a:moveTo>
                    <a:pt x="325" y="775"/>
                  </a:moveTo>
                  <a:cubicBezTo>
                    <a:pt x="284" y="746"/>
                    <a:pt x="246" y="712"/>
                    <a:pt x="211" y="676"/>
                  </a:cubicBezTo>
                  <a:lnTo>
                    <a:pt x="211" y="659"/>
                  </a:lnTo>
                  <a:lnTo>
                    <a:pt x="195" y="659"/>
                  </a:lnTo>
                  <a:cubicBezTo>
                    <a:pt x="141" y="599"/>
                    <a:pt x="96" y="533"/>
                    <a:pt x="60" y="460"/>
                  </a:cubicBezTo>
                  <a:lnTo>
                    <a:pt x="60" y="371"/>
                  </a:lnTo>
                  <a:cubicBezTo>
                    <a:pt x="54" y="384"/>
                    <a:pt x="47" y="398"/>
                    <a:pt x="39" y="413"/>
                  </a:cubicBezTo>
                  <a:cubicBezTo>
                    <a:pt x="24" y="375"/>
                    <a:pt x="10" y="334"/>
                    <a:pt x="0" y="293"/>
                  </a:cubicBezTo>
                  <a:cubicBezTo>
                    <a:pt x="18" y="265"/>
                    <a:pt x="37" y="242"/>
                    <a:pt x="56" y="226"/>
                  </a:cubicBezTo>
                  <a:cubicBezTo>
                    <a:pt x="62" y="221"/>
                    <a:pt x="68" y="218"/>
                    <a:pt x="74" y="216"/>
                  </a:cubicBezTo>
                  <a:cubicBezTo>
                    <a:pt x="77" y="215"/>
                    <a:pt x="79" y="215"/>
                    <a:pt x="82" y="215"/>
                  </a:cubicBezTo>
                  <a:lnTo>
                    <a:pt x="85" y="215"/>
                  </a:lnTo>
                  <a:cubicBezTo>
                    <a:pt x="85" y="215"/>
                    <a:pt x="85" y="215"/>
                    <a:pt x="86" y="215"/>
                  </a:cubicBezTo>
                  <a:lnTo>
                    <a:pt x="298" y="215"/>
                  </a:lnTo>
                  <a:cubicBezTo>
                    <a:pt x="299" y="215"/>
                    <a:pt x="299" y="215"/>
                    <a:pt x="299" y="215"/>
                  </a:cubicBezTo>
                  <a:lnTo>
                    <a:pt x="302" y="215"/>
                  </a:lnTo>
                  <a:cubicBezTo>
                    <a:pt x="305" y="215"/>
                    <a:pt x="308" y="215"/>
                    <a:pt x="310" y="216"/>
                  </a:cubicBezTo>
                  <a:cubicBezTo>
                    <a:pt x="316" y="218"/>
                    <a:pt x="322" y="221"/>
                    <a:pt x="328" y="226"/>
                  </a:cubicBezTo>
                  <a:cubicBezTo>
                    <a:pt x="377" y="268"/>
                    <a:pt x="422" y="349"/>
                    <a:pt x="466" y="471"/>
                  </a:cubicBezTo>
                  <a:cubicBezTo>
                    <a:pt x="475" y="495"/>
                    <a:pt x="463" y="521"/>
                    <a:pt x="439" y="530"/>
                  </a:cubicBezTo>
                  <a:cubicBezTo>
                    <a:pt x="416" y="539"/>
                    <a:pt x="390" y="527"/>
                    <a:pt x="381" y="503"/>
                  </a:cubicBezTo>
                  <a:cubicBezTo>
                    <a:pt x="362" y="449"/>
                    <a:pt x="342" y="405"/>
                    <a:pt x="324" y="371"/>
                  </a:cubicBezTo>
                  <a:lnTo>
                    <a:pt x="324" y="587"/>
                  </a:lnTo>
                  <a:cubicBezTo>
                    <a:pt x="324" y="589"/>
                    <a:pt x="324" y="592"/>
                    <a:pt x="324" y="595"/>
                  </a:cubicBezTo>
                  <a:lnTo>
                    <a:pt x="325" y="775"/>
                  </a:lnTo>
                  <a:close/>
                  <a:moveTo>
                    <a:pt x="184" y="182"/>
                  </a:moveTo>
                  <a:cubicBezTo>
                    <a:pt x="135" y="182"/>
                    <a:pt x="94" y="141"/>
                    <a:pt x="94" y="91"/>
                  </a:cubicBezTo>
                  <a:cubicBezTo>
                    <a:pt x="94" y="41"/>
                    <a:pt x="135" y="0"/>
                    <a:pt x="184" y="0"/>
                  </a:cubicBezTo>
                  <a:cubicBezTo>
                    <a:pt x="234" y="0"/>
                    <a:pt x="274" y="41"/>
                    <a:pt x="274" y="91"/>
                  </a:cubicBezTo>
                  <a:cubicBezTo>
                    <a:pt x="274" y="141"/>
                    <a:pt x="234" y="182"/>
                    <a:pt x="184" y="182"/>
                  </a:cubicBezTo>
                  <a:close/>
                </a:path>
              </a:pathLst>
            </a:custGeom>
            <a:solidFill>
              <a:srgbClr val="FFFFFF"/>
            </a:solidFill>
            <a:ln w="38100" cap="rnd">
              <a:no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128" name="Freeform 7">
              <a:extLst>
                <a:ext uri="{FF2B5EF4-FFF2-40B4-BE49-F238E27FC236}">
                  <a16:creationId xmlns:a16="http://schemas.microsoft.com/office/drawing/2014/main" id="{17622AB7-9C25-1249-8FE6-0B24F6A028DD}"/>
                </a:ext>
              </a:extLst>
            </p:cNvPr>
            <p:cNvSpPr>
              <a:spLocks noChangeArrowheads="1"/>
            </p:cNvSpPr>
            <p:nvPr/>
          </p:nvSpPr>
          <p:spPr bwMode="auto">
            <a:xfrm>
              <a:off x="7746560" y="3704563"/>
              <a:ext cx="249237" cy="415925"/>
            </a:xfrm>
            <a:custGeom>
              <a:avLst/>
              <a:gdLst>
                <a:gd name="T0" fmla="*/ 510 w 693"/>
                <a:gd name="T1" fmla="*/ 1156 h 1157"/>
                <a:gd name="T2" fmla="*/ 371 w 693"/>
                <a:gd name="T3" fmla="*/ 1115 h 1157"/>
                <a:gd name="T4" fmla="*/ 370 w 693"/>
                <a:gd name="T5" fmla="*/ 824 h 1157"/>
                <a:gd name="T6" fmla="*/ 324 w 693"/>
                <a:gd name="T7" fmla="*/ 824 h 1157"/>
                <a:gd name="T8" fmla="*/ 324 w 693"/>
                <a:gd name="T9" fmla="*/ 1095 h 1157"/>
                <a:gd name="T10" fmla="*/ 185 w 693"/>
                <a:gd name="T11" fmla="*/ 1014 h 1157"/>
                <a:gd name="T12" fmla="*/ 185 w 693"/>
                <a:gd name="T13" fmla="*/ 744 h 1157"/>
                <a:gd name="T14" fmla="*/ 185 w 693"/>
                <a:gd name="T15" fmla="*/ 734 h 1157"/>
                <a:gd name="T16" fmla="*/ 185 w 693"/>
                <a:gd name="T17" fmla="*/ 464 h 1157"/>
                <a:gd name="T18" fmla="*/ 115 w 693"/>
                <a:gd name="T19" fmla="*/ 629 h 1157"/>
                <a:gd name="T20" fmla="*/ 44 w 693"/>
                <a:gd name="T21" fmla="*/ 663 h 1157"/>
                <a:gd name="T22" fmla="*/ 11 w 693"/>
                <a:gd name="T23" fmla="*/ 589 h 1157"/>
                <a:gd name="T24" fmla="*/ 180 w 693"/>
                <a:gd name="T25" fmla="*/ 284 h 1157"/>
                <a:gd name="T26" fmla="*/ 203 w 693"/>
                <a:gd name="T27" fmla="*/ 272 h 1157"/>
                <a:gd name="T28" fmla="*/ 212 w 693"/>
                <a:gd name="T29" fmla="*/ 270 h 1157"/>
                <a:gd name="T30" fmla="*/ 216 w 693"/>
                <a:gd name="T31" fmla="*/ 270 h 1157"/>
                <a:gd name="T32" fmla="*/ 216 w 693"/>
                <a:gd name="T33" fmla="*/ 270 h 1157"/>
                <a:gd name="T34" fmla="*/ 477 w 693"/>
                <a:gd name="T35" fmla="*/ 270 h 1157"/>
                <a:gd name="T36" fmla="*/ 478 w 693"/>
                <a:gd name="T37" fmla="*/ 270 h 1157"/>
                <a:gd name="T38" fmla="*/ 481 w 693"/>
                <a:gd name="T39" fmla="*/ 270 h 1157"/>
                <a:gd name="T40" fmla="*/ 490 w 693"/>
                <a:gd name="T41" fmla="*/ 272 h 1157"/>
                <a:gd name="T42" fmla="*/ 513 w 693"/>
                <a:gd name="T43" fmla="*/ 284 h 1157"/>
                <a:gd name="T44" fmla="*/ 681 w 693"/>
                <a:gd name="T45" fmla="*/ 589 h 1157"/>
                <a:gd name="T46" fmla="*/ 650 w 693"/>
                <a:gd name="T47" fmla="*/ 663 h 1157"/>
                <a:gd name="T48" fmla="*/ 578 w 693"/>
                <a:gd name="T49" fmla="*/ 629 h 1157"/>
                <a:gd name="T50" fmla="*/ 508 w 693"/>
                <a:gd name="T51" fmla="*/ 464 h 1157"/>
                <a:gd name="T52" fmla="*/ 508 w 693"/>
                <a:gd name="T53" fmla="*/ 734 h 1157"/>
                <a:gd name="T54" fmla="*/ 509 w 693"/>
                <a:gd name="T55" fmla="*/ 744 h 1157"/>
                <a:gd name="T56" fmla="*/ 510 w 693"/>
                <a:gd name="T57" fmla="*/ 1156 h 1157"/>
                <a:gd name="T58" fmla="*/ 337 w 693"/>
                <a:gd name="T59" fmla="*/ 229 h 1157"/>
                <a:gd name="T60" fmla="*/ 227 w 693"/>
                <a:gd name="T61" fmla="*/ 115 h 1157"/>
                <a:gd name="T62" fmla="*/ 337 w 693"/>
                <a:gd name="T63" fmla="*/ 0 h 1157"/>
                <a:gd name="T64" fmla="*/ 447 w 693"/>
                <a:gd name="T65" fmla="*/ 115 h 1157"/>
                <a:gd name="T66" fmla="*/ 337 w 693"/>
                <a:gd name="T67" fmla="*/ 229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93" h="1157">
                  <a:moveTo>
                    <a:pt x="510" y="1156"/>
                  </a:moveTo>
                  <a:cubicBezTo>
                    <a:pt x="462" y="1146"/>
                    <a:pt x="416" y="1132"/>
                    <a:pt x="371" y="1115"/>
                  </a:cubicBezTo>
                  <a:lnTo>
                    <a:pt x="370" y="824"/>
                  </a:lnTo>
                  <a:lnTo>
                    <a:pt x="324" y="824"/>
                  </a:lnTo>
                  <a:lnTo>
                    <a:pt x="324" y="1095"/>
                  </a:lnTo>
                  <a:cubicBezTo>
                    <a:pt x="275" y="1072"/>
                    <a:pt x="229" y="1045"/>
                    <a:pt x="185" y="1014"/>
                  </a:cubicBezTo>
                  <a:lnTo>
                    <a:pt x="185" y="744"/>
                  </a:lnTo>
                  <a:cubicBezTo>
                    <a:pt x="185" y="741"/>
                    <a:pt x="185" y="737"/>
                    <a:pt x="185" y="734"/>
                  </a:cubicBezTo>
                  <a:lnTo>
                    <a:pt x="185" y="464"/>
                  </a:lnTo>
                  <a:cubicBezTo>
                    <a:pt x="163" y="507"/>
                    <a:pt x="139" y="562"/>
                    <a:pt x="115" y="629"/>
                  </a:cubicBezTo>
                  <a:cubicBezTo>
                    <a:pt x="105" y="659"/>
                    <a:pt x="73" y="675"/>
                    <a:pt x="44" y="663"/>
                  </a:cubicBezTo>
                  <a:cubicBezTo>
                    <a:pt x="15" y="652"/>
                    <a:pt x="0" y="619"/>
                    <a:pt x="11" y="589"/>
                  </a:cubicBezTo>
                  <a:cubicBezTo>
                    <a:pt x="65" y="437"/>
                    <a:pt x="120" y="335"/>
                    <a:pt x="180" y="284"/>
                  </a:cubicBezTo>
                  <a:cubicBezTo>
                    <a:pt x="187" y="277"/>
                    <a:pt x="195" y="274"/>
                    <a:pt x="203" y="272"/>
                  </a:cubicBezTo>
                  <a:cubicBezTo>
                    <a:pt x="206" y="271"/>
                    <a:pt x="209" y="270"/>
                    <a:pt x="212" y="270"/>
                  </a:cubicBezTo>
                  <a:lnTo>
                    <a:pt x="216" y="270"/>
                  </a:lnTo>
                  <a:lnTo>
                    <a:pt x="216" y="270"/>
                  </a:lnTo>
                  <a:lnTo>
                    <a:pt x="477" y="270"/>
                  </a:lnTo>
                  <a:lnTo>
                    <a:pt x="478" y="270"/>
                  </a:lnTo>
                  <a:lnTo>
                    <a:pt x="481" y="270"/>
                  </a:lnTo>
                  <a:cubicBezTo>
                    <a:pt x="484" y="270"/>
                    <a:pt x="487" y="271"/>
                    <a:pt x="490" y="272"/>
                  </a:cubicBezTo>
                  <a:cubicBezTo>
                    <a:pt x="498" y="274"/>
                    <a:pt x="506" y="277"/>
                    <a:pt x="513" y="284"/>
                  </a:cubicBezTo>
                  <a:cubicBezTo>
                    <a:pt x="573" y="335"/>
                    <a:pt x="628" y="437"/>
                    <a:pt x="681" y="589"/>
                  </a:cubicBezTo>
                  <a:cubicBezTo>
                    <a:pt x="692" y="619"/>
                    <a:pt x="678" y="652"/>
                    <a:pt x="650" y="663"/>
                  </a:cubicBezTo>
                  <a:cubicBezTo>
                    <a:pt x="621" y="675"/>
                    <a:pt x="589" y="659"/>
                    <a:pt x="578" y="629"/>
                  </a:cubicBezTo>
                  <a:cubicBezTo>
                    <a:pt x="554" y="562"/>
                    <a:pt x="531" y="507"/>
                    <a:pt x="508" y="464"/>
                  </a:cubicBezTo>
                  <a:lnTo>
                    <a:pt x="508" y="734"/>
                  </a:lnTo>
                  <a:cubicBezTo>
                    <a:pt x="508" y="737"/>
                    <a:pt x="509" y="741"/>
                    <a:pt x="509" y="744"/>
                  </a:cubicBezTo>
                  <a:lnTo>
                    <a:pt x="510" y="1156"/>
                  </a:lnTo>
                  <a:close/>
                  <a:moveTo>
                    <a:pt x="337" y="229"/>
                  </a:moveTo>
                  <a:cubicBezTo>
                    <a:pt x="276" y="229"/>
                    <a:pt x="227" y="178"/>
                    <a:pt x="227" y="115"/>
                  </a:cubicBezTo>
                  <a:cubicBezTo>
                    <a:pt x="227" y="51"/>
                    <a:pt x="276" y="0"/>
                    <a:pt x="337" y="0"/>
                  </a:cubicBezTo>
                  <a:cubicBezTo>
                    <a:pt x="398" y="0"/>
                    <a:pt x="447" y="51"/>
                    <a:pt x="447" y="115"/>
                  </a:cubicBezTo>
                  <a:cubicBezTo>
                    <a:pt x="447" y="178"/>
                    <a:pt x="398" y="229"/>
                    <a:pt x="337" y="229"/>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129" name="Freeform 8">
              <a:extLst>
                <a:ext uri="{FF2B5EF4-FFF2-40B4-BE49-F238E27FC236}">
                  <a16:creationId xmlns:a16="http://schemas.microsoft.com/office/drawing/2014/main" id="{B23A7BFB-51B0-534F-BC59-1DF4FE042197}"/>
                </a:ext>
              </a:extLst>
            </p:cNvPr>
            <p:cNvSpPr>
              <a:spLocks noChangeArrowheads="1"/>
            </p:cNvSpPr>
            <p:nvPr/>
          </p:nvSpPr>
          <p:spPr bwMode="auto">
            <a:xfrm>
              <a:off x="7746560" y="3704563"/>
              <a:ext cx="249237" cy="415925"/>
            </a:xfrm>
            <a:custGeom>
              <a:avLst/>
              <a:gdLst>
                <a:gd name="T0" fmla="*/ 510 w 693"/>
                <a:gd name="T1" fmla="*/ 1156 h 1157"/>
                <a:gd name="T2" fmla="*/ 371 w 693"/>
                <a:gd name="T3" fmla="*/ 1115 h 1157"/>
                <a:gd name="T4" fmla="*/ 370 w 693"/>
                <a:gd name="T5" fmla="*/ 824 h 1157"/>
                <a:gd name="T6" fmla="*/ 324 w 693"/>
                <a:gd name="T7" fmla="*/ 824 h 1157"/>
                <a:gd name="T8" fmla="*/ 324 w 693"/>
                <a:gd name="T9" fmla="*/ 1095 h 1157"/>
                <a:gd name="T10" fmla="*/ 185 w 693"/>
                <a:gd name="T11" fmla="*/ 1014 h 1157"/>
                <a:gd name="T12" fmla="*/ 185 w 693"/>
                <a:gd name="T13" fmla="*/ 744 h 1157"/>
                <a:gd name="T14" fmla="*/ 185 w 693"/>
                <a:gd name="T15" fmla="*/ 734 h 1157"/>
                <a:gd name="T16" fmla="*/ 185 w 693"/>
                <a:gd name="T17" fmla="*/ 464 h 1157"/>
                <a:gd name="T18" fmla="*/ 115 w 693"/>
                <a:gd name="T19" fmla="*/ 629 h 1157"/>
                <a:gd name="T20" fmla="*/ 44 w 693"/>
                <a:gd name="T21" fmla="*/ 663 h 1157"/>
                <a:gd name="T22" fmla="*/ 11 w 693"/>
                <a:gd name="T23" fmla="*/ 589 h 1157"/>
                <a:gd name="T24" fmla="*/ 180 w 693"/>
                <a:gd name="T25" fmla="*/ 284 h 1157"/>
                <a:gd name="T26" fmla="*/ 203 w 693"/>
                <a:gd name="T27" fmla="*/ 272 h 1157"/>
                <a:gd name="T28" fmla="*/ 212 w 693"/>
                <a:gd name="T29" fmla="*/ 270 h 1157"/>
                <a:gd name="T30" fmla="*/ 216 w 693"/>
                <a:gd name="T31" fmla="*/ 270 h 1157"/>
                <a:gd name="T32" fmla="*/ 216 w 693"/>
                <a:gd name="T33" fmla="*/ 270 h 1157"/>
                <a:gd name="T34" fmla="*/ 477 w 693"/>
                <a:gd name="T35" fmla="*/ 270 h 1157"/>
                <a:gd name="T36" fmla="*/ 478 w 693"/>
                <a:gd name="T37" fmla="*/ 270 h 1157"/>
                <a:gd name="T38" fmla="*/ 481 w 693"/>
                <a:gd name="T39" fmla="*/ 270 h 1157"/>
                <a:gd name="T40" fmla="*/ 490 w 693"/>
                <a:gd name="T41" fmla="*/ 272 h 1157"/>
                <a:gd name="T42" fmla="*/ 513 w 693"/>
                <a:gd name="T43" fmla="*/ 284 h 1157"/>
                <a:gd name="T44" fmla="*/ 681 w 693"/>
                <a:gd name="T45" fmla="*/ 589 h 1157"/>
                <a:gd name="T46" fmla="*/ 650 w 693"/>
                <a:gd name="T47" fmla="*/ 663 h 1157"/>
                <a:gd name="T48" fmla="*/ 578 w 693"/>
                <a:gd name="T49" fmla="*/ 629 h 1157"/>
                <a:gd name="T50" fmla="*/ 508 w 693"/>
                <a:gd name="T51" fmla="*/ 464 h 1157"/>
                <a:gd name="T52" fmla="*/ 508 w 693"/>
                <a:gd name="T53" fmla="*/ 734 h 1157"/>
                <a:gd name="T54" fmla="*/ 509 w 693"/>
                <a:gd name="T55" fmla="*/ 744 h 1157"/>
                <a:gd name="T56" fmla="*/ 510 w 693"/>
                <a:gd name="T57" fmla="*/ 1156 h 1157"/>
                <a:gd name="T58" fmla="*/ 337 w 693"/>
                <a:gd name="T59" fmla="*/ 229 h 1157"/>
                <a:gd name="T60" fmla="*/ 227 w 693"/>
                <a:gd name="T61" fmla="*/ 115 h 1157"/>
                <a:gd name="T62" fmla="*/ 337 w 693"/>
                <a:gd name="T63" fmla="*/ 0 h 1157"/>
                <a:gd name="T64" fmla="*/ 447 w 693"/>
                <a:gd name="T65" fmla="*/ 115 h 1157"/>
                <a:gd name="T66" fmla="*/ 337 w 693"/>
                <a:gd name="T67" fmla="*/ 229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93" h="1157">
                  <a:moveTo>
                    <a:pt x="510" y="1156"/>
                  </a:moveTo>
                  <a:cubicBezTo>
                    <a:pt x="462" y="1146"/>
                    <a:pt x="416" y="1132"/>
                    <a:pt x="371" y="1115"/>
                  </a:cubicBezTo>
                  <a:lnTo>
                    <a:pt x="370" y="824"/>
                  </a:lnTo>
                  <a:lnTo>
                    <a:pt x="324" y="824"/>
                  </a:lnTo>
                  <a:lnTo>
                    <a:pt x="324" y="1095"/>
                  </a:lnTo>
                  <a:cubicBezTo>
                    <a:pt x="275" y="1072"/>
                    <a:pt x="229" y="1045"/>
                    <a:pt x="185" y="1014"/>
                  </a:cubicBezTo>
                  <a:lnTo>
                    <a:pt x="185" y="744"/>
                  </a:lnTo>
                  <a:cubicBezTo>
                    <a:pt x="185" y="741"/>
                    <a:pt x="185" y="737"/>
                    <a:pt x="185" y="734"/>
                  </a:cubicBezTo>
                  <a:lnTo>
                    <a:pt x="185" y="464"/>
                  </a:lnTo>
                  <a:cubicBezTo>
                    <a:pt x="163" y="507"/>
                    <a:pt x="139" y="562"/>
                    <a:pt x="115" y="629"/>
                  </a:cubicBezTo>
                  <a:cubicBezTo>
                    <a:pt x="105" y="659"/>
                    <a:pt x="73" y="675"/>
                    <a:pt x="44" y="663"/>
                  </a:cubicBezTo>
                  <a:cubicBezTo>
                    <a:pt x="15" y="652"/>
                    <a:pt x="0" y="619"/>
                    <a:pt x="11" y="589"/>
                  </a:cubicBezTo>
                  <a:cubicBezTo>
                    <a:pt x="65" y="437"/>
                    <a:pt x="120" y="335"/>
                    <a:pt x="180" y="284"/>
                  </a:cubicBezTo>
                  <a:cubicBezTo>
                    <a:pt x="187" y="277"/>
                    <a:pt x="195" y="274"/>
                    <a:pt x="203" y="272"/>
                  </a:cubicBezTo>
                  <a:cubicBezTo>
                    <a:pt x="206" y="271"/>
                    <a:pt x="209" y="270"/>
                    <a:pt x="212" y="270"/>
                  </a:cubicBezTo>
                  <a:lnTo>
                    <a:pt x="216" y="270"/>
                  </a:lnTo>
                  <a:lnTo>
                    <a:pt x="216" y="270"/>
                  </a:lnTo>
                  <a:lnTo>
                    <a:pt x="477" y="270"/>
                  </a:lnTo>
                  <a:lnTo>
                    <a:pt x="478" y="270"/>
                  </a:lnTo>
                  <a:lnTo>
                    <a:pt x="481" y="270"/>
                  </a:lnTo>
                  <a:cubicBezTo>
                    <a:pt x="484" y="270"/>
                    <a:pt x="487" y="271"/>
                    <a:pt x="490" y="272"/>
                  </a:cubicBezTo>
                  <a:cubicBezTo>
                    <a:pt x="498" y="274"/>
                    <a:pt x="506" y="277"/>
                    <a:pt x="513" y="284"/>
                  </a:cubicBezTo>
                  <a:cubicBezTo>
                    <a:pt x="573" y="335"/>
                    <a:pt x="628" y="437"/>
                    <a:pt x="681" y="589"/>
                  </a:cubicBezTo>
                  <a:cubicBezTo>
                    <a:pt x="692" y="619"/>
                    <a:pt x="678" y="652"/>
                    <a:pt x="650" y="663"/>
                  </a:cubicBezTo>
                  <a:cubicBezTo>
                    <a:pt x="621" y="675"/>
                    <a:pt x="589" y="659"/>
                    <a:pt x="578" y="629"/>
                  </a:cubicBezTo>
                  <a:cubicBezTo>
                    <a:pt x="554" y="562"/>
                    <a:pt x="531" y="507"/>
                    <a:pt x="508" y="464"/>
                  </a:cubicBezTo>
                  <a:lnTo>
                    <a:pt x="508" y="734"/>
                  </a:lnTo>
                  <a:cubicBezTo>
                    <a:pt x="508" y="737"/>
                    <a:pt x="509" y="741"/>
                    <a:pt x="509" y="744"/>
                  </a:cubicBezTo>
                  <a:lnTo>
                    <a:pt x="510" y="1156"/>
                  </a:lnTo>
                  <a:close/>
                  <a:moveTo>
                    <a:pt x="337" y="229"/>
                  </a:moveTo>
                  <a:cubicBezTo>
                    <a:pt x="276" y="229"/>
                    <a:pt x="227" y="178"/>
                    <a:pt x="227" y="115"/>
                  </a:cubicBezTo>
                  <a:cubicBezTo>
                    <a:pt x="227" y="51"/>
                    <a:pt x="276" y="0"/>
                    <a:pt x="337" y="0"/>
                  </a:cubicBezTo>
                  <a:cubicBezTo>
                    <a:pt x="398" y="0"/>
                    <a:pt x="447" y="51"/>
                    <a:pt x="447" y="115"/>
                  </a:cubicBezTo>
                  <a:cubicBezTo>
                    <a:pt x="447" y="178"/>
                    <a:pt x="398" y="229"/>
                    <a:pt x="337" y="229"/>
                  </a:cubicBezTo>
                  <a:close/>
                </a:path>
              </a:pathLst>
            </a:custGeom>
            <a:solidFill>
              <a:srgbClr val="FFFFFF"/>
            </a:solidFill>
            <a:ln w="38100" cap="rnd">
              <a:solidFill>
                <a:srgbClr val="4A90E3"/>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130" name="Freeform 8">
              <a:extLst>
                <a:ext uri="{FF2B5EF4-FFF2-40B4-BE49-F238E27FC236}">
                  <a16:creationId xmlns:a16="http://schemas.microsoft.com/office/drawing/2014/main" id="{92817CC1-C205-D54C-A13C-7C529068CE71}"/>
                </a:ext>
              </a:extLst>
            </p:cNvPr>
            <p:cNvSpPr>
              <a:spLocks noChangeArrowheads="1"/>
            </p:cNvSpPr>
            <p:nvPr/>
          </p:nvSpPr>
          <p:spPr bwMode="auto">
            <a:xfrm>
              <a:off x="7747200" y="3707167"/>
              <a:ext cx="249237" cy="415925"/>
            </a:xfrm>
            <a:custGeom>
              <a:avLst/>
              <a:gdLst>
                <a:gd name="T0" fmla="*/ 510 w 693"/>
                <a:gd name="T1" fmla="*/ 1156 h 1157"/>
                <a:gd name="T2" fmla="*/ 371 w 693"/>
                <a:gd name="T3" fmla="*/ 1115 h 1157"/>
                <a:gd name="T4" fmla="*/ 370 w 693"/>
                <a:gd name="T5" fmla="*/ 824 h 1157"/>
                <a:gd name="T6" fmla="*/ 324 w 693"/>
                <a:gd name="T7" fmla="*/ 824 h 1157"/>
                <a:gd name="T8" fmla="*/ 324 w 693"/>
                <a:gd name="T9" fmla="*/ 1095 h 1157"/>
                <a:gd name="T10" fmla="*/ 185 w 693"/>
                <a:gd name="T11" fmla="*/ 1014 h 1157"/>
                <a:gd name="T12" fmla="*/ 185 w 693"/>
                <a:gd name="T13" fmla="*/ 744 h 1157"/>
                <a:gd name="T14" fmla="*/ 185 w 693"/>
                <a:gd name="T15" fmla="*/ 734 h 1157"/>
                <a:gd name="T16" fmla="*/ 185 w 693"/>
                <a:gd name="T17" fmla="*/ 464 h 1157"/>
                <a:gd name="T18" fmla="*/ 115 w 693"/>
                <a:gd name="T19" fmla="*/ 629 h 1157"/>
                <a:gd name="T20" fmla="*/ 44 w 693"/>
                <a:gd name="T21" fmla="*/ 663 h 1157"/>
                <a:gd name="T22" fmla="*/ 11 w 693"/>
                <a:gd name="T23" fmla="*/ 589 h 1157"/>
                <a:gd name="T24" fmla="*/ 180 w 693"/>
                <a:gd name="T25" fmla="*/ 284 h 1157"/>
                <a:gd name="T26" fmla="*/ 203 w 693"/>
                <a:gd name="T27" fmla="*/ 272 h 1157"/>
                <a:gd name="T28" fmla="*/ 212 w 693"/>
                <a:gd name="T29" fmla="*/ 270 h 1157"/>
                <a:gd name="T30" fmla="*/ 216 w 693"/>
                <a:gd name="T31" fmla="*/ 270 h 1157"/>
                <a:gd name="T32" fmla="*/ 216 w 693"/>
                <a:gd name="T33" fmla="*/ 270 h 1157"/>
                <a:gd name="T34" fmla="*/ 477 w 693"/>
                <a:gd name="T35" fmla="*/ 270 h 1157"/>
                <a:gd name="T36" fmla="*/ 478 w 693"/>
                <a:gd name="T37" fmla="*/ 270 h 1157"/>
                <a:gd name="T38" fmla="*/ 481 w 693"/>
                <a:gd name="T39" fmla="*/ 270 h 1157"/>
                <a:gd name="T40" fmla="*/ 490 w 693"/>
                <a:gd name="T41" fmla="*/ 272 h 1157"/>
                <a:gd name="T42" fmla="*/ 513 w 693"/>
                <a:gd name="T43" fmla="*/ 284 h 1157"/>
                <a:gd name="T44" fmla="*/ 681 w 693"/>
                <a:gd name="T45" fmla="*/ 589 h 1157"/>
                <a:gd name="T46" fmla="*/ 650 w 693"/>
                <a:gd name="T47" fmla="*/ 663 h 1157"/>
                <a:gd name="T48" fmla="*/ 578 w 693"/>
                <a:gd name="T49" fmla="*/ 629 h 1157"/>
                <a:gd name="T50" fmla="*/ 508 w 693"/>
                <a:gd name="T51" fmla="*/ 464 h 1157"/>
                <a:gd name="T52" fmla="*/ 508 w 693"/>
                <a:gd name="T53" fmla="*/ 734 h 1157"/>
                <a:gd name="T54" fmla="*/ 509 w 693"/>
                <a:gd name="T55" fmla="*/ 744 h 1157"/>
                <a:gd name="T56" fmla="*/ 510 w 693"/>
                <a:gd name="T57" fmla="*/ 1156 h 1157"/>
                <a:gd name="T58" fmla="*/ 337 w 693"/>
                <a:gd name="T59" fmla="*/ 229 h 1157"/>
                <a:gd name="T60" fmla="*/ 227 w 693"/>
                <a:gd name="T61" fmla="*/ 115 h 1157"/>
                <a:gd name="T62" fmla="*/ 337 w 693"/>
                <a:gd name="T63" fmla="*/ 0 h 1157"/>
                <a:gd name="T64" fmla="*/ 447 w 693"/>
                <a:gd name="T65" fmla="*/ 115 h 1157"/>
                <a:gd name="T66" fmla="*/ 337 w 693"/>
                <a:gd name="T67" fmla="*/ 229 h 1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93" h="1157">
                  <a:moveTo>
                    <a:pt x="510" y="1156"/>
                  </a:moveTo>
                  <a:cubicBezTo>
                    <a:pt x="462" y="1146"/>
                    <a:pt x="416" y="1132"/>
                    <a:pt x="371" y="1115"/>
                  </a:cubicBezTo>
                  <a:lnTo>
                    <a:pt x="370" y="824"/>
                  </a:lnTo>
                  <a:lnTo>
                    <a:pt x="324" y="824"/>
                  </a:lnTo>
                  <a:lnTo>
                    <a:pt x="324" y="1095"/>
                  </a:lnTo>
                  <a:cubicBezTo>
                    <a:pt x="275" y="1072"/>
                    <a:pt x="229" y="1045"/>
                    <a:pt x="185" y="1014"/>
                  </a:cubicBezTo>
                  <a:lnTo>
                    <a:pt x="185" y="744"/>
                  </a:lnTo>
                  <a:cubicBezTo>
                    <a:pt x="185" y="741"/>
                    <a:pt x="185" y="737"/>
                    <a:pt x="185" y="734"/>
                  </a:cubicBezTo>
                  <a:lnTo>
                    <a:pt x="185" y="464"/>
                  </a:lnTo>
                  <a:cubicBezTo>
                    <a:pt x="163" y="507"/>
                    <a:pt x="139" y="562"/>
                    <a:pt x="115" y="629"/>
                  </a:cubicBezTo>
                  <a:cubicBezTo>
                    <a:pt x="105" y="659"/>
                    <a:pt x="73" y="675"/>
                    <a:pt x="44" y="663"/>
                  </a:cubicBezTo>
                  <a:cubicBezTo>
                    <a:pt x="15" y="652"/>
                    <a:pt x="0" y="619"/>
                    <a:pt x="11" y="589"/>
                  </a:cubicBezTo>
                  <a:cubicBezTo>
                    <a:pt x="65" y="437"/>
                    <a:pt x="120" y="335"/>
                    <a:pt x="180" y="284"/>
                  </a:cubicBezTo>
                  <a:cubicBezTo>
                    <a:pt x="187" y="277"/>
                    <a:pt x="195" y="274"/>
                    <a:pt x="203" y="272"/>
                  </a:cubicBezTo>
                  <a:cubicBezTo>
                    <a:pt x="206" y="271"/>
                    <a:pt x="209" y="270"/>
                    <a:pt x="212" y="270"/>
                  </a:cubicBezTo>
                  <a:lnTo>
                    <a:pt x="216" y="270"/>
                  </a:lnTo>
                  <a:lnTo>
                    <a:pt x="216" y="270"/>
                  </a:lnTo>
                  <a:lnTo>
                    <a:pt x="477" y="270"/>
                  </a:lnTo>
                  <a:lnTo>
                    <a:pt x="478" y="270"/>
                  </a:lnTo>
                  <a:lnTo>
                    <a:pt x="481" y="270"/>
                  </a:lnTo>
                  <a:cubicBezTo>
                    <a:pt x="484" y="270"/>
                    <a:pt x="487" y="271"/>
                    <a:pt x="490" y="272"/>
                  </a:cubicBezTo>
                  <a:cubicBezTo>
                    <a:pt x="498" y="274"/>
                    <a:pt x="506" y="277"/>
                    <a:pt x="513" y="284"/>
                  </a:cubicBezTo>
                  <a:cubicBezTo>
                    <a:pt x="573" y="335"/>
                    <a:pt x="628" y="437"/>
                    <a:pt x="681" y="589"/>
                  </a:cubicBezTo>
                  <a:cubicBezTo>
                    <a:pt x="692" y="619"/>
                    <a:pt x="678" y="652"/>
                    <a:pt x="650" y="663"/>
                  </a:cubicBezTo>
                  <a:cubicBezTo>
                    <a:pt x="621" y="675"/>
                    <a:pt x="589" y="659"/>
                    <a:pt x="578" y="629"/>
                  </a:cubicBezTo>
                  <a:cubicBezTo>
                    <a:pt x="554" y="562"/>
                    <a:pt x="531" y="507"/>
                    <a:pt x="508" y="464"/>
                  </a:cubicBezTo>
                  <a:lnTo>
                    <a:pt x="508" y="734"/>
                  </a:lnTo>
                  <a:cubicBezTo>
                    <a:pt x="508" y="737"/>
                    <a:pt x="509" y="741"/>
                    <a:pt x="509" y="744"/>
                  </a:cubicBezTo>
                  <a:lnTo>
                    <a:pt x="510" y="1156"/>
                  </a:lnTo>
                  <a:close/>
                  <a:moveTo>
                    <a:pt x="337" y="229"/>
                  </a:moveTo>
                  <a:cubicBezTo>
                    <a:pt x="276" y="229"/>
                    <a:pt x="227" y="178"/>
                    <a:pt x="227" y="115"/>
                  </a:cubicBezTo>
                  <a:cubicBezTo>
                    <a:pt x="227" y="51"/>
                    <a:pt x="276" y="0"/>
                    <a:pt x="337" y="0"/>
                  </a:cubicBezTo>
                  <a:cubicBezTo>
                    <a:pt x="398" y="0"/>
                    <a:pt x="447" y="51"/>
                    <a:pt x="447" y="115"/>
                  </a:cubicBezTo>
                  <a:cubicBezTo>
                    <a:pt x="447" y="178"/>
                    <a:pt x="398" y="229"/>
                    <a:pt x="337" y="229"/>
                  </a:cubicBezTo>
                  <a:close/>
                </a:path>
              </a:pathLst>
            </a:custGeom>
            <a:solidFill>
              <a:srgbClr val="FFFFFF"/>
            </a:solidFill>
            <a:ln>
              <a:noFill/>
            </a:ln>
            <a:effectLst/>
            <a:extLst>
              <a:ext uri="{91240B29-F687-4F45-9708-019B960494DF}">
                <a14:hiddenLine xmlns:a14="http://schemas.microsoft.com/office/drawing/2010/main" w="9525" cap="flat">
                  <a:solidFill>
                    <a:srgbClr val="808080"/>
                  </a:solidFill>
                  <a:bevel/>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dirty="0"/>
            </a:p>
          </p:txBody>
        </p:sp>
        <p:sp>
          <p:nvSpPr>
            <p:cNvPr id="132" name="Freeform 9">
              <a:extLst>
                <a:ext uri="{FF2B5EF4-FFF2-40B4-BE49-F238E27FC236}">
                  <a16:creationId xmlns:a16="http://schemas.microsoft.com/office/drawing/2014/main" id="{6E360771-3660-BB4F-B69A-B8C3862F3431}"/>
                </a:ext>
              </a:extLst>
            </p:cNvPr>
            <p:cNvSpPr>
              <a:spLocks noChangeArrowheads="1"/>
            </p:cNvSpPr>
            <p:nvPr/>
          </p:nvSpPr>
          <p:spPr bwMode="auto">
            <a:xfrm>
              <a:off x="7851335" y="3669638"/>
              <a:ext cx="279400" cy="457200"/>
            </a:xfrm>
            <a:custGeom>
              <a:avLst/>
              <a:gdLst>
                <a:gd name="T0" fmla="*/ 364 w 778"/>
                <a:gd name="T1" fmla="*/ 1269 h 1270"/>
                <a:gd name="T2" fmla="*/ 208 w 778"/>
                <a:gd name="T3" fmla="*/ 1250 h 1270"/>
                <a:gd name="T4" fmla="*/ 207 w 778"/>
                <a:gd name="T5" fmla="*/ 819 h 1270"/>
                <a:gd name="T6" fmla="*/ 208 w 778"/>
                <a:gd name="T7" fmla="*/ 808 h 1270"/>
                <a:gd name="T8" fmla="*/ 208 w 778"/>
                <a:gd name="T9" fmla="*/ 511 h 1270"/>
                <a:gd name="T10" fmla="*/ 129 w 778"/>
                <a:gd name="T11" fmla="*/ 692 h 1270"/>
                <a:gd name="T12" fmla="*/ 49 w 778"/>
                <a:gd name="T13" fmla="*/ 730 h 1270"/>
                <a:gd name="T14" fmla="*/ 12 w 778"/>
                <a:gd name="T15" fmla="*/ 648 h 1270"/>
                <a:gd name="T16" fmla="*/ 202 w 778"/>
                <a:gd name="T17" fmla="*/ 312 h 1270"/>
                <a:gd name="T18" fmla="*/ 228 w 778"/>
                <a:gd name="T19" fmla="*/ 299 h 1270"/>
                <a:gd name="T20" fmla="*/ 238 w 778"/>
                <a:gd name="T21" fmla="*/ 297 h 1270"/>
                <a:gd name="T22" fmla="*/ 242 w 778"/>
                <a:gd name="T23" fmla="*/ 297 h 1270"/>
                <a:gd name="T24" fmla="*/ 243 w 778"/>
                <a:gd name="T25" fmla="*/ 297 h 1270"/>
                <a:gd name="T26" fmla="*/ 534 w 778"/>
                <a:gd name="T27" fmla="*/ 297 h 1270"/>
                <a:gd name="T28" fmla="*/ 535 w 778"/>
                <a:gd name="T29" fmla="*/ 297 h 1270"/>
                <a:gd name="T30" fmla="*/ 539 w 778"/>
                <a:gd name="T31" fmla="*/ 297 h 1270"/>
                <a:gd name="T32" fmla="*/ 549 w 778"/>
                <a:gd name="T33" fmla="*/ 299 h 1270"/>
                <a:gd name="T34" fmla="*/ 575 w 778"/>
                <a:gd name="T35" fmla="*/ 312 h 1270"/>
                <a:gd name="T36" fmla="*/ 765 w 778"/>
                <a:gd name="T37" fmla="*/ 648 h 1270"/>
                <a:gd name="T38" fmla="*/ 728 w 778"/>
                <a:gd name="T39" fmla="*/ 730 h 1270"/>
                <a:gd name="T40" fmla="*/ 648 w 778"/>
                <a:gd name="T41" fmla="*/ 692 h 1270"/>
                <a:gd name="T42" fmla="*/ 569 w 778"/>
                <a:gd name="T43" fmla="*/ 511 h 1270"/>
                <a:gd name="T44" fmla="*/ 569 w 778"/>
                <a:gd name="T45" fmla="*/ 808 h 1270"/>
                <a:gd name="T46" fmla="*/ 570 w 778"/>
                <a:gd name="T47" fmla="*/ 818 h 1270"/>
                <a:gd name="T48" fmla="*/ 572 w 778"/>
                <a:gd name="T49" fmla="*/ 1249 h 1270"/>
                <a:gd name="T50" fmla="*/ 416 w 778"/>
                <a:gd name="T51" fmla="*/ 1269 h 1270"/>
                <a:gd name="T52" fmla="*/ 414 w 778"/>
                <a:gd name="T53" fmla="*/ 906 h 1270"/>
                <a:gd name="T54" fmla="*/ 363 w 778"/>
                <a:gd name="T55" fmla="*/ 906 h 1270"/>
                <a:gd name="T56" fmla="*/ 364 w 778"/>
                <a:gd name="T57" fmla="*/ 1269 h 1270"/>
                <a:gd name="T58" fmla="*/ 378 w 778"/>
                <a:gd name="T59" fmla="*/ 252 h 1270"/>
                <a:gd name="T60" fmla="*/ 255 w 778"/>
                <a:gd name="T61" fmla="*/ 126 h 1270"/>
                <a:gd name="T62" fmla="*/ 378 w 778"/>
                <a:gd name="T63" fmla="*/ 0 h 1270"/>
                <a:gd name="T64" fmla="*/ 500 w 778"/>
                <a:gd name="T65" fmla="*/ 126 h 1270"/>
                <a:gd name="T66" fmla="*/ 378 w 778"/>
                <a:gd name="T67" fmla="*/ 252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78" h="1270">
                  <a:moveTo>
                    <a:pt x="364" y="1269"/>
                  </a:moveTo>
                  <a:cubicBezTo>
                    <a:pt x="311" y="1267"/>
                    <a:pt x="258" y="1261"/>
                    <a:pt x="208" y="1250"/>
                  </a:cubicBezTo>
                  <a:lnTo>
                    <a:pt x="207" y="819"/>
                  </a:lnTo>
                  <a:cubicBezTo>
                    <a:pt x="207" y="815"/>
                    <a:pt x="208" y="811"/>
                    <a:pt x="208" y="808"/>
                  </a:cubicBezTo>
                  <a:lnTo>
                    <a:pt x="208" y="511"/>
                  </a:lnTo>
                  <a:cubicBezTo>
                    <a:pt x="182" y="558"/>
                    <a:pt x="156" y="618"/>
                    <a:pt x="129" y="692"/>
                  </a:cubicBezTo>
                  <a:cubicBezTo>
                    <a:pt x="117" y="725"/>
                    <a:pt x="81" y="742"/>
                    <a:pt x="49" y="730"/>
                  </a:cubicBezTo>
                  <a:cubicBezTo>
                    <a:pt x="17" y="718"/>
                    <a:pt x="0" y="681"/>
                    <a:pt x="12" y="648"/>
                  </a:cubicBezTo>
                  <a:cubicBezTo>
                    <a:pt x="73" y="480"/>
                    <a:pt x="135" y="370"/>
                    <a:pt x="202" y="312"/>
                  </a:cubicBezTo>
                  <a:cubicBezTo>
                    <a:pt x="210" y="305"/>
                    <a:pt x="219" y="301"/>
                    <a:pt x="228" y="299"/>
                  </a:cubicBezTo>
                  <a:cubicBezTo>
                    <a:pt x="231" y="298"/>
                    <a:pt x="234" y="297"/>
                    <a:pt x="238" y="297"/>
                  </a:cubicBezTo>
                  <a:lnTo>
                    <a:pt x="242" y="297"/>
                  </a:lnTo>
                  <a:cubicBezTo>
                    <a:pt x="242" y="297"/>
                    <a:pt x="242" y="297"/>
                    <a:pt x="243" y="297"/>
                  </a:cubicBezTo>
                  <a:lnTo>
                    <a:pt x="534" y="297"/>
                  </a:lnTo>
                  <a:cubicBezTo>
                    <a:pt x="535" y="297"/>
                    <a:pt x="535" y="297"/>
                    <a:pt x="535" y="297"/>
                  </a:cubicBezTo>
                  <a:lnTo>
                    <a:pt x="539" y="297"/>
                  </a:lnTo>
                  <a:cubicBezTo>
                    <a:pt x="543" y="297"/>
                    <a:pt x="546" y="298"/>
                    <a:pt x="549" y="299"/>
                  </a:cubicBezTo>
                  <a:cubicBezTo>
                    <a:pt x="558" y="301"/>
                    <a:pt x="567" y="305"/>
                    <a:pt x="575" y="312"/>
                  </a:cubicBezTo>
                  <a:cubicBezTo>
                    <a:pt x="642" y="370"/>
                    <a:pt x="704" y="480"/>
                    <a:pt x="765" y="648"/>
                  </a:cubicBezTo>
                  <a:cubicBezTo>
                    <a:pt x="777" y="681"/>
                    <a:pt x="760" y="718"/>
                    <a:pt x="728" y="730"/>
                  </a:cubicBezTo>
                  <a:cubicBezTo>
                    <a:pt x="696" y="742"/>
                    <a:pt x="660" y="725"/>
                    <a:pt x="648" y="692"/>
                  </a:cubicBezTo>
                  <a:cubicBezTo>
                    <a:pt x="621" y="618"/>
                    <a:pt x="595" y="558"/>
                    <a:pt x="569" y="511"/>
                  </a:cubicBezTo>
                  <a:lnTo>
                    <a:pt x="569" y="808"/>
                  </a:lnTo>
                  <a:cubicBezTo>
                    <a:pt x="569" y="811"/>
                    <a:pt x="570" y="815"/>
                    <a:pt x="570" y="818"/>
                  </a:cubicBezTo>
                  <a:lnTo>
                    <a:pt x="572" y="1249"/>
                  </a:lnTo>
                  <a:cubicBezTo>
                    <a:pt x="521" y="1261"/>
                    <a:pt x="469" y="1267"/>
                    <a:pt x="416" y="1269"/>
                  </a:cubicBezTo>
                  <a:lnTo>
                    <a:pt x="414" y="906"/>
                  </a:lnTo>
                  <a:lnTo>
                    <a:pt x="363" y="906"/>
                  </a:lnTo>
                  <a:lnTo>
                    <a:pt x="364" y="1269"/>
                  </a:lnTo>
                  <a:close/>
                  <a:moveTo>
                    <a:pt x="378" y="252"/>
                  </a:moveTo>
                  <a:cubicBezTo>
                    <a:pt x="310" y="252"/>
                    <a:pt x="255" y="196"/>
                    <a:pt x="255" y="126"/>
                  </a:cubicBezTo>
                  <a:cubicBezTo>
                    <a:pt x="255" y="56"/>
                    <a:pt x="310" y="0"/>
                    <a:pt x="378" y="0"/>
                  </a:cubicBezTo>
                  <a:cubicBezTo>
                    <a:pt x="445" y="0"/>
                    <a:pt x="500" y="56"/>
                    <a:pt x="500" y="126"/>
                  </a:cubicBezTo>
                  <a:cubicBezTo>
                    <a:pt x="500" y="196"/>
                    <a:pt x="445" y="252"/>
                    <a:pt x="378" y="252"/>
                  </a:cubicBezTo>
                  <a:close/>
                </a:path>
              </a:pathLst>
            </a:custGeom>
            <a:solidFill>
              <a:srgbClr val="FFFFFF"/>
            </a:solidFill>
            <a:ln w="38100" cap="rnd" cmpd="sng">
              <a:solidFill>
                <a:srgbClr val="4A90E3"/>
              </a:solid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a:p>
          </p:txBody>
        </p:sp>
        <p:sp>
          <p:nvSpPr>
            <p:cNvPr id="133" name="Freeform 9">
              <a:extLst>
                <a:ext uri="{FF2B5EF4-FFF2-40B4-BE49-F238E27FC236}">
                  <a16:creationId xmlns:a16="http://schemas.microsoft.com/office/drawing/2014/main" id="{2F79396A-DA80-F24D-AB87-B0B0B26BE86D}"/>
                </a:ext>
              </a:extLst>
            </p:cNvPr>
            <p:cNvSpPr>
              <a:spLocks noChangeArrowheads="1"/>
            </p:cNvSpPr>
            <p:nvPr/>
          </p:nvSpPr>
          <p:spPr bwMode="auto">
            <a:xfrm>
              <a:off x="7851335" y="3669638"/>
              <a:ext cx="279400" cy="457200"/>
            </a:xfrm>
            <a:custGeom>
              <a:avLst/>
              <a:gdLst>
                <a:gd name="T0" fmla="*/ 364 w 778"/>
                <a:gd name="T1" fmla="*/ 1269 h 1270"/>
                <a:gd name="T2" fmla="*/ 208 w 778"/>
                <a:gd name="T3" fmla="*/ 1250 h 1270"/>
                <a:gd name="T4" fmla="*/ 207 w 778"/>
                <a:gd name="T5" fmla="*/ 819 h 1270"/>
                <a:gd name="T6" fmla="*/ 208 w 778"/>
                <a:gd name="T7" fmla="*/ 808 h 1270"/>
                <a:gd name="T8" fmla="*/ 208 w 778"/>
                <a:gd name="T9" fmla="*/ 511 h 1270"/>
                <a:gd name="T10" fmla="*/ 129 w 778"/>
                <a:gd name="T11" fmla="*/ 692 h 1270"/>
                <a:gd name="T12" fmla="*/ 49 w 778"/>
                <a:gd name="T13" fmla="*/ 730 h 1270"/>
                <a:gd name="T14" fmla="*/ 12 w 778"/>
                <a:gd name="T15" fmla="*/ 648 h 1270"/>
                <a:gd name="T16" fmla="*/ 202 w 778"/>
                <a:gd name="T17" fmla="*/ 312 h 1270"/>
                <a:gd name="T18" fmla="*/ 228 w 778"/>
                <a:gd name="T19" fmla="*/ 299 h 1270"/>
                <a:gd name="T20" fmla="*/ 238 w 778"/>
                <a:gd name="T21" fmla="*/ 297 h 1270"/>
                <a:gd name="T22" fmla="*/ 242 w 778"/>
                <a:gd name="T23" fmla="*/ 297 h 1270"/>
                <a:gd name="T24" fmla="*/ 243 w 778"/>
                <a:gd name="T25" fmla="*/ 297 h 1270"/>
                <a:gd name="T26" fmla="*/ 534 w 778"/>
                <a:gd name="T27" fmla="*/ 297 h 1270"/>
                <a:gd name="T28" fmla="*/ 535 w 778"/>
                <a:gd name="T29" fmla="*/ 297 h 1270"/>
                <a:gd name="T30" fmla="*/ 539 w 778"/>
                <a:gd name="T31" fmla="*/ 297 h 1270"/>
                <a:gd name="T32" fmla="*/ 549 w 778"/>
                <a:gd name="T33" fmla="*/ 299 h 1270"/>
                <a:gd name="T34" fmla="*/ 575 w 778"/>
                <a:gd name="T35" fmla="*/ 312 h 1270"/>
                <a:gd name="T36" fmla="*/ 765 w 778"/>
                <a:gd name="T37" fmla="*/ 648 h 1270"/>
                <a:gd name="T38" fmla="*/ 728 w 778"/>
                <a:gd name="T39" fmla="*/ 730 h 1270"/>
                <a:gd name="T40" fmla="*/ 648 w 778"/>
                <a:gd name="T41" fmla="*/ 692 h 1270"/>
                <a:gd name="T42" fmla="*/ 569 w 778"/>
                <a:gd name="T43" fmla="*/ 511 h 1270"/>
                <a:gd name="T44" fmla="*/ 569 w 778"/>
                <a:gd name="T45" fmla="*/ 808 h 1270"/>
                <a:gd name="T46" fmla="*/ 570 w 778"/>
                <a:gd name="T47" fmla="*/ 818 h 1270"/>
                <a:gd name="T48" fmla="*/ 572 w 778"/>
                <a:gd name="T49" fmla="*/ 1249 h 1270"/>
                <a:gd name="T50" fmla="*/ 416 w 778"/>
                <a:gd name="T51" fmla="*/ 1269 h 1270"/>
                <a:gd name="T52" fmla="*/ 414 w 778"/>
                <a:gd name="T53" fmla="*/ 906 h 1270"/>
                <a:gd name="T54" fmla="*/ 363 w 778"/>
                <a:gd name="T55" fmla="*/ 906 h 1270"/>
                <a:gd name="T56" fmla="*/ 364 w 778"/>
                <a:gd name="T57" fmla="*/ 1269 h 1270"/>
                <a:gd name="T58" fmla="*/ 378 w 778"/>
                <a:gd name="T59" fmla="*/ 252 h 1270"/>
                <a:gd name="T60" fmla="*/ 255 w 778"/>
                <a:gd name="T61" fmla="*/ 126 h 1270"/>
                <a:gd name="T62" fmla="*/ 378 w 778"/>
                <a:gd name="T63" fmla="*/ 0 h 1270"/>
                <a:gd name="T64" fmla="*/ 500 w 778"/>
                <a:gd name="T65" fmla="*/ 126 h 1270"/>
                <a:gd name="T66" fmla="*/ 378 w 778"/>
                <a:gd name="T67" fmla="*/ 252 h 1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78" h="1270">
                  <a:moveTo>
                    <a:pt x="364" y="1269"/>
                  </a:moveTo>
                  <a:cubicBezTo>
                    <a:pt x="311" y="1267"/>
                    <a:pt x="258" y="1261"/>
                    <a:pt x="208" y="1250"/>
                  </a:cubicBezTo>
                  <a:lnTo>
                    <a:pt x="207" y="819"/>
                  </a:lnTo>
                  <a:cubicBezTo>
                    <a:pt x="207" y="815"/>
                    <a:pt x="208" y="811"/>
                    <a:pt x="208" y="808"/>
                  </a:cubicBezTo>
                  <a:lnTo>
                    <a:pt x="208" y="511"/>
                  </a:lnTo>
                  <a:cubicBezTo>
                    <a:pt x="182" y="558"/>
                    <a:pt x="156" y="618"/>
                    <a:pt x="129" y="692"/>
                  </a:cubicBezTo>
                  <a:cubicBezTo>
                    <a:pt x="117" y="725"/>
                    <a:pt x="81" y="742"/>
                    <a:pt x="49" y="730"/>
                  </a:cubicBezTo>
                  <a:cubicBezTo>
                    <a:pt x="17" y="718"/>
                    <a:pt x="0" y="681"/>
                    <a:pt x="12" y="648"/>
                  </a:cubicBezTo>
                  <a:cubicBezTo>
                    <a:pt x="73" y="480"/>
                    <a:pt x="135" y="370"/>
                    <a:pt x="202" y="312"/>
                  </a:cubicBezTo>
                  <a:cubicBezTo>
                    <a:pt x="210" y="305"/>
                    <a:pt x="219" y="301"/>
                    <a:pt x="228" y="299"/>
                  </a:cubicBezTo>
                  <a:cubicBezTo>
                    <a:pt x="231" y="298"/>
                    <a:pt x="234" y="297"/>
                    <a:pt x="238" y="297"/>
                  </a:cubicBezTo>
                  <a:lnTo>
                    <a:pt x="242" y="297"/>
                  </a:lnTo>
                  <a:cubicBezTo>
                    <a:pt x="242" y="297"/>
                    <a:pt x="242" y="297"/>
                    <a:pt x="243" y="297"/>
                  </a:cubicBezTo>
                  <a:lnTo>
                    <a:pt x="534" y="297"/>
                  </a:lnTo>
                  <a:cubicBezTo>
                    <a:pt x="535" y="297"/>
                    <a:pt x="535" y="297"/>
                    <a:pt x="535" y="297"/>
                  </a:cubicBezTo>
                  <a:lnTo>
                    <a:pt x="539" y="297"/>
                  </a:lnTo>
                  <a:cubicBezTo>
                    <a:pt x="543" y="297"/>
                    <a:pt x="546" y="298"/>
                    <a:pt x="549" y="299"/>
                  </a:cubicBezTo>
                  <a:cubicBezTo>
                    <a:pt x="558" y="301"/>
                    <a:pt x="567" y="305"/>
                    <a:pt x="575" y="312"/>
                  </a:cubicBezTo>
                  <a:cubicBezTo>
                    <a:pt x="642" y="370"/>
                    <a:pt x="704" y="480"/>
                    <a:pt x="765" y="648"/>
                  </a:cubicBezTo>
                  <a:cubicBezTo>
                    <a:pt x="777" y="681"/>
                    <a:pt x="760" y="718"/>
                    <a:pt x="728" y="730"/>
                  </a:cubicBezTo>
                  <a:cubicBezTo>
                    <a:pt x="696" y="742"/>
                    <a:pt x="660" y="725"/>
                    <a:pt x="648" y="692"/>
                  </a:cubicBezTo>
                  <a:cubicBezTo>
                    <a:pt x="621" y="618"/>
                    <a:pt x="595" y="558"/>
                    <a:pt x="569" y="511"/>
                  </a:cubicBezTo>
                  <a:lnTo>
                    <a:pt x="569" y="808"/>
                  </a:lnTo>
                  <a:cubicBezTo>
                    <a:pt x="569" y="811"/>
                    <a:pt x="570" y="815"/>
                    <a:pt x="570" y="818"/>
                  </a:cubicBezTo>
                  <a:lnTo>
                    <a:pt x="572" y="1249"/>
                  </a:lnTo>
                  <a:cubicBezTo>
                    <a:pt x="521" y="1261"/>
                    <a:pt x="469" y="1267"/>
                    <a:pt x="416" y="1269"/>
                  </a:cubicBezTo>
                  <a:lnTo>
                    <a:pt x="414" y="906"/>
                  </a:lnTo>
                  <a:lnTo>
                    <a:pt x="363" y="906"/>
                  </a:lnTo>
                  <a:lnTo>
                    <a:pt x="364" y="1269"/>
                  </a:lnTo>
                  <a:close/>
                  <a:moveTo>
                    <a:pt x="378" y="252"/>
                  </a:moveTo>
                  <a:cubicBezTo>
                    <a:pt x="310" y="252"/>
                    <a:pt x="255" y="196"/>
                    <a:pt x="255" y="126"/>
                  </a:cubicBezTo>
                  <a:cubicBezTo>
                    <a:pt x="255" y="56"/>
                    <a:pt x="310" y="0"/>
                    <a:pt x="378" y="0"/>
                  </a:cubicBezTo>
                  <a:cubicBezTo>
                    <a:pt x="445" y="0"/>
                    <a:pt x="500" y="56"/>
                    <a:pt x="500" y="126"/>
                  </a:cubicBezTo>
                  <a:cubicBezTo>
                    <a:pt x="500" y="196"/>
                    <a:pt x="445" y="252"/>
                    <a:pt x="378" y="252"/>
                  </a:cubicBezTo>
                  <a:close/>
                </a:path>
              </a:pathLst>
            </a:custGeom>
            <a:solidFill>
              <a:srgbClr val="FFFFFF"/>
            </a:solidFill>
            <a:ln w="19050" cap="rnd" cmpd="sng">
              <a:noFill/>
              <a:round/>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p>
              <a:endParaRPr lang="en-US" sz="1800" dirty="0"/>
            </a:p>
          </p:txBody>
        </p:sp>
      </p:grpSp>
    </p:spTree>
    <p:extLst>
      <p:ext uri="{BB962C8B-B14F-4D97-AF65-F5344CB8AC3E}">
        <p14:creationId xmlns:p14="http://schemas.microsoft.com/office/powerpoint/2010/main" val="290850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4872" y="284413"/>
            <a:ext cx="11362266" cy="770669"/>
          </a:xfrm>
        </p:spPr>
        <p:txBody>
          <a:bodyPr/>
          <a:lstStyle/>
          <a:p>
            <a:r>
              <a:rPr lang="en-US" dirty="0"/>
              <a:t>Ally has something for each learner  </a:t>
            </a:r>
          </a:p>
        </p:txBody>
      </p:sp>
      <p:pic>
        <p:nvPicPr>
          <p:cNvPr id="6" name="Picture Placeholder 5" descr="Flickr image showing a clothes rack with a range of cooured t-shirts indicating Ally provides learners with choice">
            <a:extLst>
              <a:ext uri="{FF2B5EF4-FFF2-40B4-BE49-F238E27FC236}">
                <a16:creationId xmlns:a16="http://schemas.microsoft.com/office/drawing/2014/main" id="{461E8306-5BC0-2155-31EF-859B6D7DA799}"/>
              </a:ext>
            </a:extLst>
          </p:cNvPr>
          <p:cNvPicPr>
            <a:picLocks noGrp="1" noChangeAspect="1"/>
          </p:cNvPicPr>
          <p:nvPr>
            <p:ph type="pic" sz="quarter" idx="10"/>
          </p:nvPr>
        </p:nvPicPr>
        <p:blipFill>
          <a:blip r:embed="rId3" cstate="hqprint">
            <a:extLst>
              <a:ext uri="{28A0092B-C50C-407E-A947-70E740481C1C}">
                <a14:useLocalDpi xmlns:a14="http://schemas.microsoft.com/office/drawing/2010/main"/>
              </a:ext>
            </a:extLst>
          </a:blip>
          <a:srcRect/>
          <a:stretch>
            <a:fillRect/>
          </a:stretch>
        </p:blipFill>
        <p:spPr/>
      </p:pic>
    </p:spTree>
    <p:extLst>
      <p:ext uri="{BB962C8B-B14F-4D97-AF65-F5344CB8AC3E}">
        <p14:creationId xmlns:p14="http://schemas.microsoft.com/office/powerpoint/2010/main" val="30822042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PRESENTATION_LANGUAGE" val="1033"/>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0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7.xml><?xml version="1.0" encoding="utf-8"?>
<p:tagLst xmlns:a="http://schemas.openxmlformats.org/drawingml/2006/main" xmlns:r="http://schemas.openxmlformats.org/officeDocument/2006/relationships" xmlns:p="http://schemas.openxmlformats.org/presentationml/2006/main">
  <p:tag name="MIO_GUID" val="7ae4a7cf-6ec1-447c-bb01-972433de68bb"/>
  <p:tag name="MIO_EKGUID" val="bcfab554-e5e7-4231-a4fb-32b0bf74f02e"/>
  <p:tag name="MIO_UPDATE" val="True"/>
  <p:tag name="MIO_VERSION" val="03.08.2021 16:14:12"/>
  <p:tag name="MIO_DBID" val="0f45b44c-9bc7-4d85-81c4-7155ee70a7b9"/>
  <p:tag name="MIO_LASTDOWNLOADED" val="07.09.2021 20:20:07"/>
  <p:tag name="MIO_OBJECTNAME" val="Discover where higher ed can go next."/>
  <p:tag name="MIO_LASTEDITORNAME" val="Eric Roberts"/>
</p:tagLst>
</file>

<file path=ppt/tags/tag1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xml><?xml version="1.0" encoding="utf-8"?>
<p:tagLst xmlns:a="http://schemas.openxmlformats.org/drawingml/2006/main" xmlns:r="http://schemas.openxmlformats.org/officeDocument/2006/relationships" xmlns:p="http://schemas.openxmlformats.org/presentationml/2006/main">
  <p:tag name="MIO_HDS" val="True"/>
  <p:tag name="MIO_SKIPVERSION" val="01.01.0001 00:00:00"/>
  <p:tag name="MIO_EKGUID" val="beaca46f-8a4f-4706-a33e-cbd045c0ef5b"/>
  <p:tag name="MIO_UPDATE" val="True"/>
  <p:tag name="MIO_VERSION" val="15.10.2021 16:07:53"/>
  <p:tag name="MIO_DBID" val="0F45B44C-9BC7-4D85-81C4-7155EE70A7B9"/>
  <p:tag name="MIO_LASTDOWNLOADED" val="15.10.2021 12:28:10.348"/>
  <p:tag name="MIO_OBJECTNAME" val="Anthology Master"/>
  <p:tag name="MIO_CDID" val="830c35f3-ff4c-4581-ac8c-15f073435a59"/>
  <p:tag name="MIO_FALLBACK_LAYOUT" val="22"/>
  <p:tag name="MIO_SHOW_DATE" val="True"/>
  <p:tag name="MIO_SHOW_FOOTER" val="True"/>
  <p:tag name="MIO_SHOW_PAGENUMBER" val="True"/>
  <p:tag name="MIO_AVOID_BLANK_LAYOUT" val="False"/>
  <p:tag name="MIO_CD_LAYOUT_VALID_AREA" val="True"/>
  <p:tag name="MIO_NUMBER_OF_VALID_LAYOUTS" val="69"/>
</p:tagLst>
</file>

<file path=ppt/tags/tag2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6.xml><?xml version="1.0" encoding="utf-8"?>
<p:tagLst xmlns:a="http://schemas.openxmlformats.org/drawingml/2006/main" xmlns:r="http://schemas.openxmlformats.org/officeDocument/2006/relationships" xmlns:p="http://schemas.openxmlformats.org/presentationml/2006/main">
  <p:tag name="MIO_SKIP_CDCHECK" val="True"/>
</p:tagLst>
</file>

<file path=ppt/tags/tag2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2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3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0.xml><?xml version="1.0" encoding="utf-8"?>
<p:tagLst xmlns:a="http://schemas.openxmlformats.org/drawingml/2006/main" xmlns:r="http://schemas.openxmlformats.org/officeDocument/2006/relationships" xmlns:p="http://schemas.openxmlformats.org/presentationml/2006/main">
  <p:tag name="MIO_SKIP_CDCHECK" val="True"/>
</p:tagLst>
</file>

<file path=ppt/tags/tag4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4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5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5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6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7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85.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7.xml><?xml version="1.0" encoding="utf-8"?>
<p:tagLst xmlns:a="http://schemas.openxmlformats.org/drawingml/2006/main" xmlns:r="http://schemas.openxmlformats.org/officeDocument/2006/relationships" xmlns:p="http://schemas.openxmlformats.org/presentationml/2006/main">
  <p:tag name="MIO_SKIP_CDCHECK" val="True"/>
</p:tagLst>
</file>

<file path=ppt/tags/tag88.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9.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0.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1.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2.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3.xml><?xml version="1.0" encoding="utf-8"?>
<p:tagLst xmlns:a="http://schemas.openxmlformats.org/drawingml/2006/main" xmlns:r="http://schemas.openxmlformats.org/officeDocument/2006/relationships" xmlns:p="http://schemas.openxmlformats.org/presentationml/2006/main">
  <p:tag name="MIO_SKIP_CDCHECK" val="True"/>
</p:tagLst>
</file>

<file path=ppt/tags/tag94.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6.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98.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99.xml><?xml version="1.0" encoding="utf-8"?>
<p:tagLst xmlns:a="http://schemas.openxmlformats.org/drawingml/2006/main" xmlns:r="http://schemas.openxmlformats.org/officeDocument/2006/relationships" xmlns:p="http://schemas.openxmlformats.org/presentationml/2006/main">
  <p:tag name="MIO_CD_LOGO_PROTECTION" val="true"/>
</p:tagLst>
</file>

<file path=ppt/theme/theme1.xml><?xml version="1.0" encoding="utf-8"?>
<a:theme xmlns:a="http://schemas.openxmlformats.org/drawingml/2006/main" name="Anthology Theme">
  <a:themeElements>
    <a:clrScheme name="Anthology Color Theme">
      <a:dk1>
        <a:srgbClr val="000000"/>
      </a:dk1>
      <a:lt1>
        <a:srgbClr val="FFFFFF"/>
      </a:lt1>
      <a:dk2>
        <a:srgbClr val="2F3039"/>
      </a:dk2>
      <a:lt2>
        <a:srgbClr val="F4F4F4"/>
      </a:lt2>
      <a:accent1>
        <a:srgbClr val="00B1EB"/>
      </a:accent1>
      <a:accent2>
        <a:srgbClr val="8CC63F"/>
      </a:accent2>
      <a:accent3>
        <a:srgbClr val="FFC20E"/>
      </a:accent3>
      <a:accent4>
        <a:srgbClr val="F15A24"/>
      </a:accent4>
      <a:accent5>
        <a:srgbClr val="662C91"/>
      </a:accent5>
      <a:accent6>
        <a:srgbClr val="000000"/>
      </a:accent6>
      <a:hlink>
        <a:srgbClr val="137DA4"/>
      </a:hlink>
      <a:folHlink>
        <a:srgbClr val="000000"/>
      </a:folHlink>
    </a:clrScheme>
    <a:fontScheme name="Anthology Font Theme">
      <a:majorFont>
        <a:latin typeface="Tiempos Headline Bold"/>
        <a:ea typeface=""/>
        <a:cs typeface=""/>
      </a:majorFont>
      <a:minorFont>
        <a:latin typeface="Nunito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solidFill>
        <a:ln>
          <a:noFill/>
        </a:ln>
      </a:spPr>
      <a:bodyPr rtlCol="0" anchor="ctr"/>
      <a:lstStyle>
        <a:defPPr algn="ctr">
          <a:defRPr dirty="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4"/>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Anthology Template.pptx" id="{3A11B435-8969-406B-B259-BEC7BA948DA6}" vid="{83721ADB-8E8F-4BA3-B66C-F4DFC1F1F686}"/>
    </a:ext>
  </a:extLst>
</a:theme>
</file>

<file path=ppt/theme/theme2.xml><?xml version="1.0" encoding="utf-8"?>
<a:theme xmlns:a="http://schemas.openxmlformats.org/drawingml/2006/main" name="Anthology V1.01">
  <a:themeElements>
    <a:clrScheme name="Anthology 2.0">
      <a:dk1>
        <a:srgbClr val="000000"/>
      </a:dk1>
      <a:lt1>
        <a:srgbClr val="FFFFFF"/>
      </a:lt1>
      <a:dk2>
        <a:srgbClr val="2F3039"/>
      </a:dk2>
      <a:lt2>
        <a:srgbClr val="E1EBF3"/>
      </a:lt2>
      <a:accent1>
        <a:srgbClr val="00AAE7"/>
      </a:accent1>
      <a:accent2>
        <a:srgbClr val="82C341"/>
      </a:accent2>
      <a:accent3>
        <a:srgbClr val="FDBD3A"/>
      </a:accent3>
      <a:accent4>
        <a:srgbClr val="F26322"/>
      </a:accent4>
      <a:accent5>
        <a:srgbClr val="7F58A5"/>
      </a:accent5>
      <a:accent6>
        <a:srgbClr val="D92632"/>
      </a:accent6>
      <a:hlink>
        <a:srgbClr val="137DA4"/>
      </a:hlink>
      <a:folHlink>
        <a:srgbClr val="000000"/>
      </a:folHlink>
    </a:clrScheme>
    <a:fontScheme name="Anthology Refresh">
      <a:majorFont>
        <a:latin typeface="Georgia"/>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lIns="182880" tIns="182880" rIns="182880" bIns="182880" rtlCol="0" anchor="ctr"/>
      <a:lstStyle>
        <a:defPPr algn="ctr">
          <a:defRPr sz="22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cap="sq">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82880" rIns="182880" bIns="182880" rtlCol="0">
        <a:spAutoFit/>
      </a:bodyPr>
      <a:lstStyle>
        <a:defPPr algn="l">
          <a:defRPr sz="2200" dirty="0" smtClean="0"/>
        </a:defPPr>
      </a:lstStyle>
    </a:txDef>
  </a:objectDefaults>
  <a:extraClrSchemeLst/>
  <a:extLst>
    <a:ext uri="{05A4C25C-085E-4340-85A3-A5531E510DB2}">
      <thm15:themeFamily xmlns:thm15="http://schemas.microsoft.com/office/thememl/2012/main" name="Presentation2" id="{C969FDDB-82AC-4B80-8909-F011E25B8860}" vid="{8DDA87C2-9FAC-485F-8937-F8CFBA5AB8DB}"/>
    </a:ext>
  </a:extLst>
</a:theme>
</file>

<file path=ppt/theme/theme3.xml><?xml version="1.0" encoding="utf-8"?>
<a:theme xmlns:a="http://schemas.openxmlformats.org/drawingml/2006/main" name="Office Theme">
  <a:themeElements>
    <a:clrScheme name="Anthology Color Theme">
      <a:dk1>
        <a:srgbClr val="000000"/>
      </a:dk1>
      <a:lt1>
        <a:srgbClr val="FFFFFF"/>
      </a:lt1>
      <a:dk2>
        <a:srgbClr val="2F3039"/>
      </a:dk2>
      <a:lt2>
        <a:srgbClr val="F4F4F4"/>
      </a:lt2>
      <a:accent1>
        <a:srgbClr val="00B1EB"/>
      </a:accent1>
      <a:accent2>
        <a:srgbClr val="8CC63F"/>
      </a:accent2>
      <a:accent3>
        <a:srgbClr val="FFC20E"/>
      </a:accent3>
      <a:accent4>
        <a:srgbClr val="F15A24"/>
      </a:accent4>
      <a:accent5>
        <a:srgbClr val="662C91"/>
      </a:accent5>
      <a:accent6>
        <a:srgbClr val="000000"/>
      </a:accent6>
      <a:hlink>
        <a:srgbClr val="137DA4"/>
      </a:hlink>
      <a:folHlink>
        <a:srgbClr val="000000"/>
      </a:folHlink>
    </a:clrScheme>
    <a:fontScheme name="Anthology Font Theme">
      <a:majorFont>
        <a:latin typeface="Tiempos Headline Bold"/>
        <a:ea typeface=""/>
        <a:cs typeface=""/>
      </a:majorFont>
      <a:minorFont>
        <a:latin typeface="Nunito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nthology Font Theme">
      <a:majorFont>
        <a:latin typeface="Tiempos Headline Bold"/>
        <a:ea typeface=""/>
        <a:cs typeface=""/>
      </a:majorFont>
      <a:minorFont>
        <a:latin typeface="Nunito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3E6766DE7D4B1242B60D5F644306D5FE" ma:contentTypeVersion="16" ma:contentTypeDescription="Create a new document." ma:contentTypeScope="" ma:versionID="99039afbebb8ec00037e00c60020e29e">
  <xsd:schema xmlns:xsd="http://www.w3.org/2001/XMLSchema" xmlns:xs="http://www.w3.org/2001/XMLSchema" xmlns:p="http://schemas.microsoft.com/office/2006/metadata/properties" xmlns:ns2="2617389f-58e4-49c5-9807-a75b64a65690" xmlns:ns3="4fbe84ba-42ff-48fc-84b2-90bec8d5fc41" xmlns:ns4="2d221494-178b-4357-bea6-3a87c5967eb4" targetNamespace="http://schemas.microsoft.com/office/2006/metadata/properties" ma:root="true" ma:fieldsID="949e9826644bee0e6eb35f9bc404b8fa" ns2:_="" ns3:_="" ns4:_="">
    <xsd:import namespace="2617389f-58e4-49c5-9807-a75b64a65690"/>
    <xsd:import namespace="4fbe84ba-42ff-48fc-84b2-90bec8d5fc41"/>
    <xsd:import namespace="2d221494-178b-4357-bea6-3a87c5967eb4"/>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LengthInSeconds" minOccurs="0"/>
                <xsd:element ref="ns2:MediaServiceLocation" minOccurs="0"/>
                <xsd:element ref="ns3:SharedWithUsers" minOccurs="0"/>
                <xsd:element ref="ns3:SharedWithDetail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17389f-58e4-49c5-9807-a75b64a6569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LengthInSeconds" ma:index="17" nillable="true" ma:displayName="Length (seconds)" ma:internalName="MediaLengthInSeconds" ma:readOnly="true">
      <xsd:simpleType>
        <xsd:restriction base="dms:Unknown"/>
      </xsd:simpleType>
    </xsd:element>
    <xsd:element name="MediaServiceLocation" ma:index="18"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3be76f96-e7f0-4e7c-b4d8-bf0f4c547e1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4fbe84ba-42ff-48fc-84b2-90bec8d5fc41"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d221494-178b-4357-bea6-3a87c5967eb4"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6749e8a7-8d61-44ed-9808-8b61a4cad994}" ma:internalName="TaxCatchAll" ma:showField="CatchAllData" ma:web="4fbe84ba-42ff-48fc-84b2-90bec8d5fc41">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haredWithUsers xmlns="4fbe84ba-42ff-48fc-84b2-90bec8d5fc41">
      <UserInfo>
        <DisplayName>Diego Cordoba</DisplayName>
        <AccountId>3776</AccountId>
        <AccountType/>
      </UserInfo>
    </SharedWithUsers>
    <lcf76f155ced4ddcb4097134ff3c332f xmlns="2617389f-58e4-49c5-9807-a75b64a65690">
      <Terms xmlns="http://schemas.microsoft.com/office/infopath/2007/PartnerControls"/>
    </lcf76f155ced4ddcb4097134ff3c332f>
    <TaxCatchAll xmlns="2d221494-178b-4357-bea6-3a87c5967eb4" xsi:nil="true"/>
  </documentManagement>
</p:properties>
</file>

<file path=customXml/itemProps1.xml><?xml version="1.0" encoding="utf-8"?>
<ds:datastoreItem xmlns:ds="http://schemas.openxmlformats.org/officeDocument/2006/customXml" ds:itemID="{C786E3D1-BA66-46DE-9247-60B2AB7648E0}">
  <ds:schemaRefs>
    <ds:schemaRef ds:uri="http://schemas.microsoft.com/sharepoint/v3/contenttype/forms"/>
  </ds:schemaRefs>
</ds:datastoreItem>
</file>

<file path=customXml/itemProps2.xml><?xml version="1.0" encoding="utf-8"?>
<ds:datastoreItem xmlns:ds="http://schemas.openxmlformats.org/officeDocument/2006/customXml" ds:itemID="{1D971309-8DDB-4D45-951D-129FD668346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617389f-58e4-49c5-9807-a75b64a65690"/>
    <ds:schemaRef ds:uri="4fbe84ba-42ff-48fc-84b2-90bec8d5fc41"/>
    <ds:schemaRef ds:uri="2d221494-178b-4357-bea6-3a87c5967eb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7C14EFF-3157-4AF5-8AE7-FBDD8B6C5D4C}">
  <ds:schemaRefs>
    <ds:schemaRef ds:uri="http://purl.org/dc/elements/1.1/"/>
    <ds:schemaRef ds:uri="http://purl.org/dc/dcmitype/"/>
    <ds:schemaRef ds:uri="http://schemas.microsoft.com/office/2006/documentManagement/types"/>
    <ds:schemaRef ds:uri="http://schemas.microsoft.com/office/2006/metadata/properties"/>
    <ds:schemaRef ds:uri="2617389f-58e4-49c5-9807-a75b64a65690"/>
    <ds:schemaRef ds:uri="2d221494-178b-4357-bea6-3a87c5967eb4"/>
    <ds:schemaRef ds:uri="http://purl.org/dc/terms/"/>
    <ds:schemaRef ds:uri="http://schemas.microsoft.com/office/infopath/2007/PartnerControls"/>
    <ds:schemaRef ds:uri="http://schemas.openxmlformats.org/package/2006/metadata/core-properties"/>
    <ds:schemaRef ds:uri="4fbe84ba-42ff-48fc-84b2-90bec8d5fc41"/>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Anthology Template</Template>
  <TotalTime>777</TotalTime>
  <Words>1142</Words>
  <Application>Microsoft Office PowerPoint</Application>
  <PresentationFormat>Widescreen</PresentationFormat>
  <Paragraphs>227</Paragraphs>
  <Slides>27</Slides>
  <Notes>27</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27</vt:i4>
      </vt:variant>
    </vt:vector>
  </HeadingPairs>
  <TitlesOfParts>
    <vt:vector size="38" baseType="lpstr">
      <vt:lpstr>Arial</vt:lpstr>
      <vt:lpstr>Calibri</vt:lpstr>
      <vt:lpstr>Georgia</vt:lpstr>
      <vt:lpstr>Helvetica</vt:lpstr>
      <vt:lpstr>Nunito Sans BOLD</vt:lpstr>
      <vt:lpstr>Nunito Sans Light</vt:lpstr>
      <vt:lpstr>Nunito Sans SemiBold</vt:lpstr>
      <vt:lpstr>Segoe UI</vt:lpstr>
      <vt:lpstr>Tiempos Headline Bold</vt:lpstr>
      <vt:lpstr>Anthology Theme</vt:lpstr>
      <vt:lpstr>Anthology V1.01</vt:lpstr>
      <vt:lpstr>A practical solution to increasing accessible content with Anthology Ally</vt:lpstr>
      <vt:lpstr>About Anthology</vt:lpstr>
      <vt:lpstr>Combining Best-in-Tech Solutions to Power Your Success</vt:lpstr>
      <vt:lpstr>Definitions – What is Accessibility and Digital Accessibility?</vt:lpstr>
      <vt:lpstr>What is Digital Accessibility?</vt:lpstr>
      <vt:lpstr>Why is it important?</vt:lpstr>
      <vt:lpstr>Diverse 21st Century Learners</vt:lpstr>
      <vt:lpstr>Challenges of building an inclusive environment</vt:lpstr>
      <vt:lpstr>Ally has something for each learner  </vt:lpstr>
      <vt:lpstr>Ally in numbers</vt:lpstr>
      <vt:lpstr>Fix your content day competition</vt:lpstr>
      <vt:lpstr>Ally Components </vt:lpstr>
      <vt:lpstr>Alternative Formats for Inclusive Environments</vt:lpstr>
      <vt:lpstr>Instructor Feedback</vt:lpstr>
      <vt:lpstr>Content Creator Feedback</vt:lpstr>
      <vt:lpstr>Ally's feedback and preview for a PDF document with contrast issues</vt:lpstr>
      <vt:lpstr>Reporting</vt:lpstr>
      <vt:lpstr>Demonstration </vt:lpstr>
      <vt:lpstr>Using Ally VS What Ally checks</vt:lpstr>
      <vt:lpstr>Ally capabilities</vt:lpstr>
      <vt:lpstr>Some Existing Ally Clients</vt:lpstr>
      <vt:lpstr>“Ally has increased awareness of accessibility, phenomenally.” </vt:lpstr>
      <vt:lpstr>In Summary </vt:lpstr>
      <vt:lpstr>Useful Resources</vt:lpstr>
      <vt:lpstr>More Useful Resources</vt:lpstr>
      <vt:lpstr>Questions</vt:lpstr>
      <vt:lpstr>Anthology Ally – The End</vt:lpstr>
    </vt:vector>
  </TitlesOfParts>
  <Manager/>
  <Company>Anthology Inc</Company>
  <LinksUpToDate>false</LinksUpToDate>
  <SharedDoc>false</SharedDoc>
  <HyperlinkBase>https://www.anthology.com/en-apac/products/teaching-and-learning/learning-effectiveness/anthology-ally</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 practical solution to increasing accessible content with Anthology Ally</dc:title>
  <dc:subject>Accessibility and creating inclusive content</dc:subject>
  <dc:creator>Michael Garner</dc:creator>
  <cp:keywords>Accessibility, Inclusive learning, Ally</cp:keywords>
  <dc:description/>
  <cp:lastModifiedBy>Kylie Geard</cp:lastModifiedBy>
  <cp:revision>23</cp:revision>
  <dcterms:created xsi:type="dcterms:W3CDTF">2022-01-19T12:13:35Z</dcterms:created>
  <dcterms:modified xsi:type="dcterms:W3CDTF">2023-05-10T01:17:36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77ADA1AD3D50E4085E1F47977DF8F59</vt:lpwstr>
  </property>
</Properties>
</file>